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heme/theme2.xml" ContentType="application/vnd.openxmlformats-officedocument.theme+xml"/>
  <Override PartName="/ppt/tags/tag30.xml" ContentType="application/vnd.openxmlformats-officedocument.presentationml.tags+xml"/>
  <Override PartName="/ppt/notesSlides/notesSlide1.xml" ContentType="application/vnd.openxmlformats-officedocument.presentationml.notesSlide+xml"/>
  <Override PartName="/ppt/tags/tag31.xml" ContentType="application/vnd.openxmlformats-officedocument.presentationml.tags+xml"/>
  <Override PartName="/ppt/notesSlides/notesSlide2.xml" ContentType="application/vnd.openxmlformats-officedocument.presentationml.notesSlide+xml"/>
  <Override PartName="/ppt/tags/tag32.xml" ContentType="application/vnd.openxmlformats-officedocument.presentationml.tags+xml"/>
  <Override PartName="/ppt/notesSlides/notesSlide3.xml" ContentType="application/vnd.openxmlformats-officedocument.presentationml.notesSlide+xml"/>
  <Override PartName="/ppt/tags/tag33.xml" ContentType="application/vnd.openxmlformats-officedocument.presentationml.tags+xml"/>
  <Override PartName="/ppt/notesSlides/notesSlide4.xml" ContentType="application/vnd.openxmlformats-officedocument.presentationml.notesSlide+xml"/>
  <Override PartName="/ppt/tags/tag34.xml" ContentType="application/vnd.openxmlformats-officedocument.presentationml.tags+xml"/>
  <Override PartName="/ppt/notesSlides/notesSlide5.xml" ContentType="application/vnd.openxmlformats-officedocument.presentationml.notesSlide+xml"/>
  <Override PartName="/ppt/tags/tag35.xml" ContentType="application/vnd.openxmlformats-officedocument.presentationml.tags+xml"/>
  <Override PartName="/ppt/notesSlides/notesSlide6.xml" ContentType="application/vnd.openxmlformats-officedocument.presentationml.notesSlide+xml"/>
  <Override PartName="/ppt/tags/tag36.xml" ContentType="application/vnd.openxmlformats-officedocument.presentationml.tags+xml"/>
  <Override PartName="/ppt/notesSlides/notesSlide7.xml" ContentType="application/vnd.openxmlformats-officedocument.presentationml.notesSlide+xml"/>
  <Override PartName="/ppt/tags/tag37.xml" ContentType="application/vnd.openxmlformats-officedocument.presentationml.tags+xml"/>
  <Override PartName="/ppt/notesSlides/notesSlide8.xml" ContentType="application/vnd.openxmlformats-officedocument.presentationml.notesSlide+xml"/>
  <Override PartName="/ppt/tags/tag38.xml" ContentType="application/vnd.openxmlformats-officedocument.presentationml.tags+xml"/>
  <Override PartName="/ppt/notesSlides/notesSlide9.xml" ContentType="application/vnd.openxmlformats-officedocument.presentationml.notesSlide+xml"/>
  <Override PartName="/ppt/tags/tag39.xml" ContentType="application/vnd.openxmlformats-officedocument.presentationml.tags+xml"/>
  <Override PartName="/ppt/notesSlides/notesSlide10.xml" ContentType="application/vnd.openxmlformats-officedocument.presentationml.notesSlide+xml"/>
  <Override PartName="/ppt/tags/tag40.xml" ContentType="application/vnd.openxmlformats-officedocument.presentationml.tags+xml"/>
  <Override PartName="/ppt/notesSlides/notesSlide11.xml" ContentType="application/vnd.openxmlformats-officedocument.presentationml.notesSlide+xml"/>
  <Override PartName="/ppt/tags/tag41.xml" ContentType="application/vnd.openxmlformats-officedocument.presentationml.tags+xml"/>
  <Override PartName="/ppt/notesSlides/notesSlide12.xml" ContentType="application/vnd.openxmlformats-officedocument.presentationml.notesSlide+xml"/>
  <Override PartName="/ppt/tags/tag42.xml" ContentType="application/vnd.openxmlformats-officedocument.presentationml.tags+xml"/>
  <Override PartName="/ppt/notesSlides/notesSlide13.xml" ContentType="application/vnd.openxmlformats-officedocument.presentationml.notesSlide+xml"/>
  <Override PartName="/ppt/tags/tag43.xml" ContentType="application/vnd.openxmlformats-officedocument.presentationml.tags+xml"/>
  <Override PartName="/ppt/notesSlides/notesSlide14.xml" ContentType="application/vnd.openxmlformats-officedocument.presentationml.notesSlide+xml"/>
  <Override PartName="/ppt/tags/tag44.xml" ContentType="application/vnd.openxmlformats-officedocument.presentationml.tags+xml"/>
  <Override PartName="/ppt/notesSlides/notesSlide15.xml" ContentType="application/vnd.openxmlformats-officedocument.presentationml.notesSlide+xml"/>
  <Override PartName="/ppt/tags/tag45.xml" ContentType="application/vnd.openxmlformats-officedocument.presentationml.tags+xml"/>
  <Override PartName="/ppt/notesSlides/notesSlide16.xml" ContentType="application/vnd.openxmlformats-officedocument.presentationml.notesSlid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835" r:id="rId4"/>
  </p:sldMasterIdLst>
  <p:notesMasterIdLst>
    <p:notesMasterId r:id="rId21"/>
  </p:notesMasterIdLst>
  <p:sldIdLst>
    <p:sldId id="2134804570" r:id="rId5"/>
    <p:sldId id="2134804572" r:id="rId6"/>
    <p:sldId id="2134804573" r:id="rId7"/>
    <p:sldId id="2134804574" r:id="rId8"/>
    <p:sldId id="2134804575" r:id="rId9"/>
    <p:sldId id="2134804576" r:id="rId10"/>
    <p:sldId id="2134804577" r:id="rId11"/>
    <p:sldId id="2134804578" r:id="rId12"/>
    <p:sldId id="2134804589" r:id="rId13"/>
    <p:sldId id="2134804591" r:id="rId14"/>
    <p:sldId id="2134804592" r:id="rId15"/>
    <p:sldId id="2134804582" r:id="rId16"/>
    <p:sldId id="2134804583" r:id="rId17"/>
    <p:sldId id="2134804584" r:id="rId18"/>
    <p:sldId id="2134804585" r:id="rId19"/>
    <p:sldId id="2134804587" r:id="rId20"/>
  </p:sldIdLst>
  <p:sldSz cx="9144000" cy="5143500" type="screen16x9"/>
  <p:notesSz cx="7099300" cy="10234613"/>
  <p:custDataLst>
    <p:tags r:id="rId22"/>
  </p:custDataLst>
  <p:defaultTextStyle>
    <a:defPPr>
      <a:defRPr lang="x-none"/>
    </a:defPPr>
    <a:lvl1pPr marL="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1pPr>
    <a:lvl2pPr marL="3429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2pPr>
    <a:lvl3pPr marL="6858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3pPr>
    <a:lvl4pPr marL="10287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4pPr>
    <a:lvl5pPr marL="13716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5pPr>
    <a:lvl6pPr marL="17145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6pPr>
    <a:lvl7pPr marL="20574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7pPr>
    <a:lvl8pPr marL="24003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8pPr>
    <a:lvl9pPr marL="27432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>
        <p15:guide id="1" orient="horz" pos="3223">
          <p15:clr>
            <a:srgbClr val="A4A3A4"/>
          </p15:clr>
        </p15:guide>
        <p15:guide id="2" pos="2236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B2C9EC"/>
    <a:srgbClr val="C1CAEA"/>
    <a:srgbClr val="7F7F7F"/>
    <a:srgbClr val="0066FF"/>
    <a:srgbClr val="007F92"/>
    <a:srgbClr val="00975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592" autoAdjust="0"/>
    <p:restoredTop sz="94688" autoAdjust="0"/>
  </p:normalViewPr>
  <p:slideViewPr>
    <p:cSldViewPr snapToGrid="0">
      <p:cViewPr varScale="1">
        <p:scale>
          <a:sx n="102" d="100"/>
          <a:sy n="102" d="100"/>
        </p:scale>
        <p:origin x="902" y="77"/>
      </p:cViewPr>
      <p:guideLst/>
    </p:cSldViewPr>
  </p:slideViewPr>
  <p:outlineViewPr>
    <p:cViewPr>
      <p:scale>
        <a:sx n="33" d="100"/>
        <a:sy n="33" d="100"/>
      </p:scale>
      <p:origin x="0" y="-30096"/>
    </p:cViewPr>
  </p:outlineViewPr>
  <p:notesTextViewPr>
    <p:cViewPr>
      <p:scale>
        <a:sx n="125" d="100"/>
        <a:sy n="125" d="100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>
      <p:cViewPr varScale="1">
        <p:scale>
          <a:sx n="66" d="100"/>
          <a:sy n="66" d="100"/>
        </p:scale>
        <p:origin x="0" y="0"/>
      </p:cViewPr>
      <p:guideLst>
        <p:guide orient="horz" pos="3223"/>
        <p:guide pos="2236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tableStyles" Target="tableStyles.xml"/><Relationship Id="rId3" Type="http://schemas.openxmlformats.org/officeDocument/2006/relationships/customXml" Target="../customXml/item3.xml"/><Relationship Id="rId21" Type="http://schemas.openxmlformats.org/officeDocument/2006/relationships/notesMaster" Target="notesMasters/notesMaster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viewProps" Target="viewProp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presProps" Target="presProp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tags" Target="tags/tag1.xml"/><Relationship Id="rId27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Griesbeck Silke - Munich-MR" userId="4517275e-6295-42e1-9310-a37c8f111dcc" providerId="ADAL" clId="{3BA60EAE-53B2-4B58-A59F-0C7B38F155AE}"/>
    <pc:docChg chg="undo custSel modSld">
      <pc:chgData name="Griesbeck Silke - Munich-MR" userId="4517275e-6295-42e1-9310-a37c8f111dcc" providerId="ADAL" clId="{3BA60EAE-53B2-4B58-A59F-0C7B38F155AE}" dt="2024-03-14T11:08:44.264" v="224" actId="20577"/>
      <pc:docMkLst>
        <pc:docMk/>
      </pc:docMkLst>
      <pc:sldChg chg="modSp mod">
        <pc:chgData name="Griesbeck Silke - Munich-MR" userId="4517275e-6295-42e1-9310-a37c8f111dcc" providerId="ADAL" clId="{3BA60EAE-53B2-4B58-A59F-0C7B38F155AE}" dt="2024-03-11T10:48:37.018" v="7" actId="20577"/>
        <pc:sldMkLst>
          <pc:docMk/>
          <pc:sldMk cId="1799551670" sldId="2134804572"/>
        </pc:sldMkLst>
        <pc:spChg chg="mod">
          <ac:chgData name="Griesbeck Silke - Munich-MR" userId="4517275e-6295-42e1-9310-a37c8f111dcc" providerId="ADAL" clId="{3BA60EAE-53B2-4B58-A59F-0C7B38F155AE}" dt="2024-03-11T10:48:37.018" v="7" actId="20577"/>
          <ac:spMkLst>
            <pc:docMk/>
            <pc:sldMk cId="1799551670" sldId="2134804572"/>
            <ac:spMk id="513" creationId="{A47F7259-93D5-86BA-97B6-A411300E09E0}"/>
          </ac:spMkLst>
        </pc:spChg>
      </pc:sldChg>
      <pc:sldChg chg="addSp delSp modSp mod">
        <pc:chgData name="Griesbeck Silke - Munich-MR" userId="4517275e-6295-42e1-9310-a37c8f111dcc" providerId="ADAL" clId="{3BA60EAE-53B2-4B58-A59F-0C7B38F155AE}" dt="2024-03-14T11:08:44.264" v="224" actId="20577"/>
        <pc:sldMkLst>
          <pc:docMk/>
          <pc:sldMk cId="2284792095" sldId="2134804575"/>
        </pc:sldMkLst>
        <pc:spChg chg="mod">
          <ac:chgData name="Griesbeck Silke - Munich-MR" userId="4517275e-6295-42e1-9310-a37c8f111dcc" providerId="ADAL" clId="{3BA60EAE-53B2-4B58-A59F-0C7B38F155AE}" dt="2024-03-11T11:29:00.711" v="147" actId="207"/>
          <ac:spMkLst>
            <pc:docMk/>
            <pc:sldMk cId="2284792095" sldId="2134804575"/>
            <ac:spMk id="11" creationId="{B8AB3DD7-61C4-A7A7-985F-228D05ABA66F}"/>
          </ac:spMkLst>
        </pc:spChg>
        <pc:spChg chg="mod">
          <ac:chgData name="Griesbeck Silke - Munich-MR" userId="4517275e-6295-42e1-9310-a37c8f111dcc" providerId="ADAL" clId="{3BA60EAE-53B2-4B58-A59F-0C7B38F155AE}" dt="2024-03-12T08:49:42.815" v="214" actId="20577"/>
          <ac:spMkLst>
            <pc:docMk/>
            <pc:sldMk cId="2284792095" sldId="2134804575"/>
            <ac:spMk id="12" creationId="{4EA35230-2F83-BAA1-A86D-8C4C2C480ACA}"/>
          </ac:spMkLst>
        </pc:spChg>
        <pc:spChg chg="del">
          <ac:chgData name="Griesbeck Silke - Munich-MR" userId="4517275e-6295-42e1-9310-a37c8f111dcc" providerId="ADAL" clId="{3BA60EAE-53B2-4B58-A59F-0C7B38F155AE}" dt="2024-03-14T11:08:33.841" v="215" actId="478"/>
          <ac:spMkLst>
            <pc:docMk/>
            <pc:sldMk cId="2284792095" sldId="2134804575"/>
            <ac:spMk id="14" creationId="{62AC6FCD-A1A0-295E-4A4B-1FBD65A96037}"/>
          </ac:spMkLst>
        </pc:spChg>
        <pc:spChg chg="mod">
          <ac:chgData name="Griesbeck Silke - Munich-MR" userId="4517275e-6295-42e1-9310-a37c8f111dcc" providerId="ADAL" clId="{3BA60EAE-53B2-4B58-A59F-0C7B38F155AE}" dt="2024-03-11T10:49:13.889" v="9" actId="20577"/>
          <ac:spMkLst>
            <pc:docMk/>
            <pc:sldMk cId="2284792095" sldId="2134804575"/>
            <ac:spMk id="23" creationId="{AA3176BB-EB1F-5749-AB05-EC0CC5876B69}"/>
          </ac:spMkLst>
        </pc:spChg>
        <pc:spChg chg="mod">
          <ac:chgData name="Griesbeck Silke - Munich-MR" userId="4517275e-6295-42e1-9310-a37c8f111dcc" providerId="ADAL" clId="{3BA60EAE-53B2-4B58-A59F-0C7B38F155AE}" dt="2024-03-11T10:49:31.834" v="19" actId="20577"/>
          <ac:spMkLst>
            <pc:docMk/>
            <pc:sldMk cId="2284792095" sldId="2134804575"/>
            <ac:spMk id="24" creationId="{30C44ACA-77A4-3C58-9CE0-C97EC2F30D3D}"/>
          </ac:spMkLst>
        </pc:spChg>
        <pc:spChg chg="mod">
          <ac:chgData name="Griesbeck Silke - Munich-MR" userId="4517275e-6295-42e1-9310-a37c8f111dcc" providerId="ADAL" clId="{3BA60EAE-53B2-4B58-A59F-0C7B38F155AE}" dt="2024-03-11T10:49:45.958" v="29" actId="20577"/>
          <ac:spMkLst>
            <pc:docMk/>
            <pc:sldMk cId="2284792095" sldId="2134804575"/>
            <ac:spMk id="25" creationId="{3CC9277B-BF67-5063-A52B-9C764E17E70D}"/>
          </ac:spMkLst>
        </pc:spChg>
        <pc:spChg chg="mod">
          <ac:chgData name="Griesbeck Silke - Munich-MR" userId="4517275e-6295-42e1-9310-a37c8f111dcc" providerId="ADAL" clId="{3BA60EAE-53B2-4B58-A59F-0C7B38F155AE}" dt="2024-03-11T10:49:52.656" v="35" actId="20577"/>
          <ac:spMkLst>
            <pc:docMk/>
            <pc:sldMk cId="2284792095" sldId="2134804575"/>
            <ac:spMk id="26" creationId="{80A27EAE-A26A-D76A-2917-CCFDAE8137C7}"/>
          </ac:spMkLst>
        </pc:spChg>
        <pc:spChg chg="mod">
          <ac:chgData name="Griesbeck Silke - Munich-MR" userId="4517275e-6295-42e1-9310-a37c8f111dcc" providerId="ADAL" clId="{3BA60EAE-53B2-4B58-A59F-0C7B38F155AE}" dt="2024-03-14T11:08:44.264" v="224" actId="20577"/>
          <ac:spMkLst>
            <pc:docMk/>
            <pc:sldMk cId="2284792095" sldId="2134804575"/>
            <ac:spMk id="27" creationId="{D1BC85ED-4096-D649-32F9-FF12EE24365C}"/>
          </ac:spMkLst>
        </pc:spChg>
        <pc:spChg chg="add del mod">
          <ac:chgData name="Griesbeck Silke - Munich-MR" userId="4517275e-6295-42e1-9310-a37c8f111dcc" providerId="ADAL" clId="{3BA60EAE-53B2-4B58-A59F-0C7B38F155AE}" dt="2024-03-12T08:49:32.760" v="212" actId="20577"/>
          <ac:spMkLst>
            <pc:docMk/>
            <pc:sldMk cId="2284792095" sldId="2134804575"/>
            <ac:spMk id="28" creationId="{122FB101-C5AF-C79E-E490-698827BE1878}"/>
          </ac:spMkLst>
        </pc:spChg>
        <pc:spChg chg="mod">
          <ac:chgData name="Griesbeck Silke - Munich-MR" userId="4517275e-6295-42e1-9310-a37c8f111dcc" providerId="ADAL" clId="{3BA60EAE-53B2-4B58-A59F-0C7B38F155AE}" dt="2024-03-11T10:50:48.984" v="81" actId="20577"/>
          <ac:spMkLst>
            <pc:docMk/>
            <pc:sldMk cId="2284792095" sldId="2134804575"/>
            <ac:spMk id="29" creationId="{40B62C07-1604-15D5-882A-55B80E305E31}"/>
          </ac:spMkLst>
        </pc:spChg>
      </pc:sldChg>
      <pc:sldChg chg="modSp mod">
        <pc:chgData name="Griesbeck Silke - Munich-MR" userId="4517275e-6295-42e1-9310-a37c8f111dcc" providerId="ADAL" clId="{3BA60EAE-53B2-4B58-A59F-0C7B38F155AE}" dt="2024-03-11T10:53:06.104" v="120" actId="20577"/>
        <pc:sldMkLst>
          <pc:docMk/>
          <pc:sldMk cId="1118208628" sldId="2134804584"/>
        </pc:sldMkLst>
        <pc:spChg chg="mod">
          <ac:chgData name="Griesbeck Silke - Munich-MR" userId="4517275e-6295-42e1-9310-a37c8f111dcc" providerId="ADAL" clId="{3BA60EAE-53B2-4B58-A59F-0C7B38F155AE}" dt="2024-03-11T10:52:44.116" v="85" actId="20577"/>
          <ac:spMkLst>
            <pc:docMk/>
            <pc:sldMk cId="1118208628" sldId="2134804584"/>
            <ac:spMk id="15" creationId="{63A236E4-BA21-5C9C-D9E7-4FA0CEAD52CD}"/>
          </ac:spMkLst>
        </pc:spChg>
        <pc:spChg chg="mod">
          <ac:chgData name="Griesbeck Silke - Munich-MR" userId="4517275e-6295-42e1-9310-a37c8f111dcc" providerId="ADAL" clId="{3BA60EAE-53B2-4B58-A59F-0C7B38F155AE}" dt="2024-03-11T10:53:06.104" v="120" actId="20577"/>
          <ac:spMkLst>
            <pc:docMk/>
            <pc:sldMk cId="1118208628" sldId="2134804584"/>
            <ac:spMk id="106" creationId="{CC4145DC-9CC2-0726-09FF-FE10B8EA5F23}"/>
          </ac:spMkLst>
        </pc:sp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6575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/>
            </a:lvl1pPr>
          </a:lstStyle>
          <a:p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021138" y="0"/>
            <a:ext cx="3076575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/>
            </a:lvl1pPr>
          </a:lstStyle>
          <a:p>
            <a:fld id="{91DD4393-35E8-4AC3-96D6-E590D578C518}" type="datetimeFigureOut">
              <a:rPr lang="en-GB" smtClean="0"/>
              <a:pPr/>
              <a:t>14/03/2024</a:t>
            </a:fld>
            <a:endParaRPr lang="en-GB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79425" y="1279525"/>
            <a:ext cx="6140450" cy="34544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9613" y="4926013"/>
            <a:ext cx="5680075" cy="402907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6575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/>
            </a:lvl1pPr>
          </a:lstStyle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021138" y="9721850"/>
            <a:ext cx="3076575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/>
            </a:lvl1pPr>
          </a:lstStyle>
          <a:p>
            <a:fld id="{71236F6F-EC19-4674-9DBA-1D112EC7E139}" type="slidenum">
              <a:rPr lang="en-GB" smtClean="0"/>
              <a:pPr/>
              <a:t>‹Nr.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14579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1236F6F-EC19-4674-9DBA-1D112EC7E139}" type="slidenum">
              <a:rPr lang="en-GB" smtClean="0"/>
              <a:pPr/>
              <a:t>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07629036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1236F6F-EC19-4674-9DBA-1D112EC7E139}" type="slidenum">
              <a:rPr lang="en-GB" smtClean="0"/>
              <a:pPr/>
              <a:t>10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3756953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1236F6F-EC19-4674-9DBA-1D112EC7E139}" type="slidenum">
              <a:rPr lang="en-GB" smtClean="0"/>
              <a:pPr/>
              <a:t>1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31201086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1236F6F-EC19-4674-9DBA-1D112EC7E139}" type="slidenum">
              <a:rPr lang="en-GB" smtClean="0"/>
              <a:pPr/>
              <a:t>12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10644183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1236F6F-EC19-4674-9DBA-1D112EC7E139}" type="slidenum">
              <a:rPr lang="en-GB" smtClean="0"/>
              <a:pPr/>
              <a:t>1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92073802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1236F6F-EC19-4674-9DBA-1D112EC7E139}" type="slidenum">
              <a:rPr lang="en-GB" smtClean="0"/>
              <a:pPr/>
              <a:t>14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22431749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1236F6F-EC19-4674-9DBA-1D112EC7E139}" type="slidenum">
              <a:rPr lang="en-GB" smtClean="0"/>
              <a:pPr/>
              <a:t>15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50003947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1236F6F-EC19-4674-9DBA-1D112EC7E139}" type="slidenum">
              <a:rPr lang="en-GB" smtClean="0"/>
              <a:pPr/>
              <a:t>16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2832643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1236F6F-EC19-4674-9DBA-1D112EC7E139}" type="slidenum">
              <a:rPr lang="en-GB" smtClean="0"/>
              <a:pPr/>
              <a:t>2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7452988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1236F6F-EC19-4674-9DBA-1D112EC7E139}" type="slidenum">
              <a:rPr lang="en-GB" smtClean="0"/>
              <a:pPr/>
              <a:t>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723172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1236F6F-EC19-4674-9DBA-1D112EC7E139}" type="slidenum">
              <a:rPr lang="en-GB" smtClean="0"/>
              <a:pPr/>
              <a:t>4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3323068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1236F6F-EC19-4674-9DBA-1D112EC7E139}" type="slidenum">
              <a:rPr lang="en-GB" smtClean="0"/>
              <a:pPr/>
              <a:t>5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7810954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1236F6F-EC19-4674-9DBA-1D112EC7E139}" type="slidenum">
              <a:rPr lang="en-GB" smtClean="0"/>
              <a:pPr/>
              <a:t>6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2733477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1236F6F-EC19-4674-9DBA-1D112EC7E139}" type="slidenum">
              <a:rPr lang="en-GB" smtClean="0"/>
              <a:pPr/>
              <a:t>7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6498299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1236F6F-EC19-4674-9DBA-1D112EC7E139}" type="slidenum">
              <a:rPr lang="en-GB" smtClean="0"/>
              <a:pPr/>
              <a:t>8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1834278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1236F6F-EC19-4674-9DBA-1D112EC7E139}" type="slidenum">
              <a:rPr lang="en-GB" smtClean="0"/>
              <a:pPr/>
              <a:t>9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8603170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5" Type="http://schemas.openxmlformats.org/officeDocument/2006/relationships/image" Target="../media/image4.emf"/><Relationship Id="rId4" Type="http://schemas.openxmlformats.org/officeDocument/2006/relationships/image" Target="../media/image3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5" Type="http://schemas.openxmlformats.org/officeDocument/2006/relationships/image" Target="../media/image4.emf"/><Relationship Id="rId4" Type="http://schemas.openxmlformats.org/officeDocument/2006/relationships/image" Target="../media/image3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4" Type="http://schemas.openxmlformats.org/officeDocument/2006/relationships/image" Target="../media/image3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4" Type="http://schemas.openxmlformats.org/officeDocument/2006/relationships/image" Target="../media/image3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4" Type="http://schemas.openxmlformats.org/officeDocument/2006/relationships/image" Target="../media/image3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4" Type="http://schemas.openxmlformats.org/officeDocument/2006/relationships/image" Target="../media/image3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Relationship Id="rId4" Type="http://schemas.openxmlformats.org/officeDocument/2006/relationships/image" Target="../media/image3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Relationship Id="rId4" Type="http://schemas.openxmlformats.org/officeDocument/2006/relationships/image" Target="../media/image3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Relationship Id="rId4" Type="http://schemas.openxmlformats.org/officeDocument/2006/relationships/image" Target="../media/image3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Relationship Id="rId4" Type="http://schemas.openxmlformats.org/officeDocument/2006/relationships/image" Target="../media/image3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Relationship Id="rId4" Type="http://schemas.openxmlformats.org/officeDocument/2006/relationships/image" Target="../media/image3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5" Type="http://schemas.openxmlformats.org/officeDocument/2006/relationships/image" Target="../media/image2.emf"/><Relationship Id="rId4" Type="http://schemas.openxmlformats.org/officeDocument/2006/relationships/image" Target="../media/image3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.xml"/><Relationship Id="rId4" Type="http://schemas.openxmlformats.org/officeDocument/2006/relationships/image" Target="../media/image3.emf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3.xml"/><Relationship Id="rId4" Type="http://schemas.openxmlformats.org/officeDocument/2006/relationships/image" Target="../media/image3.emf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4.xml"/><Relationship Id="rId4" Type="http://schemas.openxmlformats.org/officeDocument/2006/relationships/image" Target="../media/image3.emf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5.xml"/><Relationship Id="rId4" Type="http://schemas.openxmlformats.org/officeDocument/2006/relationships/image" Target="../media/image3.emf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6.xml"/><Relationship Id="rId4" Type="http://schemas.openxmlformats.org/officeDocument/2006/relationships/image" Target="../media/image3.emf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7.xml"/><Relationship Id="rId4" Type="http://schemas.openxmlformats.org/officeDocument/2006/relationships/image" Target="../media/image3.emf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8.xml"/><Relationship Id="rId4" Type="http://schemas.openxmlformats.org/officeDocument/2006/relationships/image" Target="../media/image3.emf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9.xml"/><Relationship Id="rId4" Type="http://schemas.openxmlformats.org/officeDocument/2006/relationships/image" Target="../media/image3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5" Type="http://schemas.openxmlformats.org/officeDocument/2006/relationships/image" Target="../media/image4.emf"/><Relationship Id="rId4" Type="http://schemas.openxmlformats.org/officeDocument/2006/relationships/image" Target="../media/image3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5" Type="http://schemas.openxmlformats.org/officeDocument/2006/relationships/image" Target="../media/image2.emf"/><Relationship Id="rId4" Type="http://schemas.openxmlformats.org/officeDocument/2006/relationships/image" Target="../media/image3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5" Type="http://schemas.openxmlformats.org/officeDocument/2006/relationships/image" Target="../media/image4.emf"/><Relationship Id="rId4" Type="http://schemas.openxmlformats.org/officeDocument/2006/relationships/image" Target="../media/image3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5" Type="http://schemas.openxmlformats.org/officeDocument/2006/relationships/image" Target="../media/image2.emf"/><Relationship Id="rId4" Type="http://schemas.openxmlformats.org/officeDocument/2006/relationships/image" Target="../media/image3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3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3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4" Type="http://schemas.openxmlformats.org/officeDocument/2006/relationships/image" Target="../media/image3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32179DBE-3F8C-A20C-22F8-8F154667682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259574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32179DBE-3F8C-A20C-22F8-8F154667682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icture Placeholder 1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9144000" cy="5143500"/>
          </a:xfrm>
          <a:solidFill>
            <a:schemeClr val="accent1"/>
          </a:solidFill>
        </p:spPr>
        <p:txBody>
          <a:bodyPr lIns="540000" tIns="792000" rIns="540000" anchor="t" anchorCtr="1"/>
          <a:lstStyle>
            <a:lvl1pPr marL="0" marR="0" indent="0" algn="l" defTabSz="2700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Wingdings" pitchFamily="2" charset="2"/>
              <a:buNone/>
              <a:tabLst/>
              <a:defRPr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2700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Wingdings" pitchFamily="2" charset="2"/>
              <a:buNone/>
              <a:tabLst/>
              <a:defRPr/>
            </a:pPr>
            <a:r>
              <a:rPr lang="en-GB" dirty="0"/>
              <a:t>To insert a picture, click on the icon in the middle.</a:t>
            </a:r>
            <a:br>
              <a:rPr lang="en-GB" dirty="0"/>
            </a:br>
            <a:r>
              <a:rPr lang="en-GB" dirty="0"/>
              <a:t>Don’t move the Logo! Please use &gt;Home &gt;Reset 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0" y="2556000"/>
            <a:ext cx="9144000" cy="2592000"/>
          </a:xfrm>
          <a:gradFill>
            <a:gsLst>
              <a:gs pos="0">
                <a:schemeClr val="tx1">
                  <a:alpha val="75000"/>
                </a:schemeClr>
              </a:gs>
              <a:gs pos="50000">
                <a:schemeClr val="tx1">
                  <a:alpha val="45000"/>
                </a:schemeClr>
              </a:gs>
              <a:gs pos="25000">
                <a:schemeClr val="tx1">
                  <a:alpha val="58000"/>
                </a:schemeClr>
              </a:gs>
              <a:gs pos="85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 vert="horz" lIns="252000" tIns="1080000" rIns="2412000" bIns="2232000" rtlCol="0" anchor="t" anchorCtr="0">
            <a:noAutofit/>
          </a:bodyPr>
          <a:lstStyle>
            <a:lvl1pPr rtl="0">
              <a:lnSpc>
                <a:spcPct val="10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Title 24 pt,</a:t>
            </a:r>
            <a:br>
              <a:rPr lang="en-GB" dirty="0"/>
            </a:br>
            <a:r>
              <a:rPr lang="en-GB" dirty="0"/>
              <a:t>two lines max.</a:t>
            </a:r>
          </a:p>
        </p:txBody>
      </p:sp>
      <p:sp>
        <p:nvSpPr>
          <p:cNvPr id="3" name="Subtitle 1"/>
          <p:cNvSpPr>
            <a:spLocks noGrp="1"/>
          </p:cNvSpPr>
          <p:nvPr>
            <p:ph type="subTitle" idx="1" hasCustomPrompt="1"/>
          </p:nvPr>
        </p:nvSpPr>
        <p:spPr>
          <a:xfrm>
            <a:off x="252000" y="4284000"/>
            <a:ext cx="4320000" cy="432000"/>
          </a:xfrm>
        </p:spPr>
        <p:txBody>
          <a:bodyPr anchor="t" anchorCtr="0">
            <a:noAutofit/>
          </a:bodyPr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Wingdings" pitchFamily="2" charset="2"/>
              <a:buNone/>
              <a:tabLst/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Date: DD/MM/YYYY</a:t>
            </a:r>
          </a:p>
          <a:p>
            <a:r>
              <a:rPr lang="en-GB" dirty="0"/>
              <a:t>Name of speaker</a:t>
            </a:r>
          </a:p>
        </p:txBody>
      </p:sp>
      <p:sp>
        <p:nvSpPr>
          <p:cNvPr id="7" name="Source 1"/>
          <p:cNvSpPr>
            <a:spLocks noGrp="1"/>
          </p:cNvSpPr>
          <p:nvPr>
            <p:ph type="body" sz="quarter" idx="12" hasCustomPrompt="1"/>
          </p:nvPr>
        </p:nvSpPr>
        <p:spPr>
          <a:xfrm>
            <a:off x="0" y="0"/>
            <a:ext cx="2376000" cy="216000"/>
          </a:xfrm>
        </p:spPr>
        <p:txBody>
          <a:bodyPr wrap="none" lIns="108000" tIns="72000" rIns="0" bIns="72000" anchor="ctr"/>
          <a:lstStyle>
            <a:lvl1pPr mar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6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Image: Please quote the image / source / name of  photographer</a:t>
            </a:r>
          </a:p>
        </p:txBody>
      </p:sp>
      <p:sp>
        <p:nvSpPr>
          <p:cNvPr id="10" name="Text Placeholder  with Logo 2">
            <a:extLst>
              <a:ext uri="{FF2B5EF4-FFF2-40B4-BE49-F238E27FC236}">
                <a16:creationId xmlns:a16="http://schemas.microsoft.com/office/drawing/2014/main" id="{C3D18020-2119-D248-A7CE-18ACC8307F0F}"/>
              </a:ext>
            </a:extLst>
          </p:cNvPr>
          <p:cNvSpPr>
            <a:spLocks noGrp="1" noRot="1" noChangeAspect="1" noMove="1" noResize="1" noEditPoints="1" noAdjustHandles="1" noChangeArrowheads="1" noChangeShapeType="1"/>
          </p:cNvSpPr>
          <p:nvPr>
            <p:ph type="body" sz="quarter" idx="14" hasCustomPrompt="1"/>
          </p:nvPr>
        </p:nvSpPr>
        <p:spPr>
          <a:xfrm>
            <a:off x="7059600" y="4363200"/>
            <a:ext cx="1512000" cy="349200"/>
          </a:xfrm>
          <a:blipFill>
            <a:blip r:embed="rId5"/>
            <a:stretch>
              <a:fillRect/>
            </a:stretch>
          </a:blipFill>
        </p:spPr>
        <p:txBody>
          <a:bodyPr/>
          <a:lstStyle>
            <a:lvl1pPr marL="0" indent="0" rtl="0">
              <a:buNone/>
              <a:defRPr/>
            </a:lvl1pPr>
          </a:lstStyle>
          <a:p>
            <a:pPr lvl="0"/>
            <a:r>
              <a:rPr lang="en-GB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025057430"/>
      </p:ext>
    </p:extLst>
  </p:cSld>
  <p:clrMapOvr>
    <a:masterClrMapping/>
  </p:clrMapOvr>
  <p:transition spd="slow">
    <p:fade thruBlk="1"/>
  </p:transition>
  <p:extLst>
    <p:ext uri="{DCECCB84-F9BA-43D5-87BE-67443E8EF086}">
      <p15:sldGuideLst xmlns:p15="http://schemas.microsoft.com/office/powerpoint/2012/main">
        <p15:guide id="1" pos="159">
          <p15:clr>
            <a:srgbClr val="F26B43"/>
          </p15:clr>
        </p15:guide>
        <p15:guide id="3" pos="499">
          <p15:clr>
            <a:srgbClr val="A4A3A4"/>
          </p15:clr>
        </p15:guide>
        <p15:guide id="4" pos="839">
          <p15:clr>
            <a:srgbClr val="A4A3A4"/>
          </p15:clr>
        </p15:guide>
        <p15:guide id="5" pos="1179">
          <p15:clr>
            <a:srgbClr val="A4A3A4"/>
          </p15:clr>
        </p15:guide>
        <p15:guide id="6" pos="1519">
          <p15:clr>
            <a:srgbClr val="A4A3A4"/>
          </p15:clr>
        </p15:guide>
        <p15:guide id="7" pos="1860">
          <p15:clr>
            <a:srgbClr val="A4A3A4"/>
          </p15:clr>
        </p15:guide>
        <p15:guide id="8" pos="2200">
          <p15:clr>
            <a:srgbClr val="A4A3A4"/>
          </p15:clr>
        </p15:guide>
        <p15:guide id="9" pos="2540">
          <p15:clr>
            <a:srgbClr val="A4A3A4"/>
          </p15:clr>
        </p15:guide>
        <p15:guide id="10" pos="2880">
          <p15:clr>
            <a:srgbClr val="A4A3A4"/>
          </p15:clr>
        </p15:guide>
        <p15:guide id="11" pos="3220">
          <p15:clr>
            <a:srgbClr val="A4A3A4"/>
          </p15:clr>
        </p15:guide>
        <p15:guide id="12" pos="3560">
          <p15:clr>
            <a:srgbClr val="A4A3A4"/>
          </p15:clr>
        </p15:guide>
        <p15:guide id="13" pos="3900">
          <p15:clr>
            <a:srgbClr val="A4A3A4"/>
          </p15:clr>
        </p15:guide>
        <p15:guide id="14" pos="4241">
          <p15:clr>
            <a:srgbClr val="A4A3A4"/>
          </p15:clr>
        </p15:guide>
        <p15:guide id="15" pos="4581">
          <p15:clr>
            <a:srgbClr val="A4A3A4"/>
          </p15:clr>
        </p15:guide>
        <p15:guide id="16" pos="4921">
          <p15:clr>
            <a:srgbClr val="A4A3A4"/>
          </p15:clr>
        </p15:guide>
        <p15:guide id="17" pos="5261">
          <p15:clr>
            <a:srgbClr val="A4A3A4"/>
          </p15:clr>
        </p15:guide>
        <p15:guide id="18" pos="5601">
          <p15:clr>
            <a:srgbClr val="F26B43"/>
          </p15:clr>
        </p15:guide>
        <p15:guide id="19" orient="horz" pos="159">
          <p15:clr>
            <a:srgbClr val="F26B43"/>
          </p15:clr>
        </p15:guide>
        <p15:guide id="20" orient="horz" pos="340">
          <p15:clr>
            <a:srgbClr val="A4A3A4"/>
          </p15:clr>
        </p15:guide>
        <p15:guide id="21" orient="horz" pos="522">
          <p15:clr>
            <a:srgbClr val="A4A3A4"/>
          </p15:clr>
        </p15:guide>
        <p15:guide id="22" orient="horz" pos="703">
          <p15:clr>
            <a:srgbClr val="F26B43"/>
          </p15:clr>
        </p15:guide>
        <p15:guide id="23" orient="horz" pos="884">
          <p15:clr>
            <a:srgbClr val="A4A3A4"/>
          </p15:clr>
        </p15:guide>
        <p15:guide id="24" orient="horz" pos="1066">
          <p15:clr>
            <a:srgbClr val="A4A3A4"/>
          </p15:clr>
        </p15:guide>
        <p15:guide id="25" orient="horz" pos="1247">
          <p15:clr>
            <a:srgbClr val="A4A3A4"/>
          </p15:clr>
        </p15:guide>
        <p15:guide id="26" orient="horz" pos="1429">
          <p15:clr>
            <a:srgbClr val="A4A3A4"/>
          </p15:clr>
        </p15:guide>
        <p15:guide id="27" orient="horz" pos="1610">
          <p15:clr>
            <a:srgbClr val="A4A3A4"/>
          </p15:clr>
        </p15:guide>
        <p15:guide id="28" orient="horz" pos="1791">
          <p15:clr>
            <a:srgbClr val="A4A3A4"/>
          </p15:clr>
        </p15:guide>
        <p15:guide id="29" orient="horz" pos="1973">
          <p15:clr>
            <a:srgbClr val="A4A3A4"/>
          </p15:clr>
        </p15:guide>
        <p15:guide id="30" orient="horz" pos="2154">
          <p15:clr>
            <a:srgbClr val="A4A3A4"/>
          </p15:clr>
        </p15:guide>
        <p15:guide id="31" orient="horz" pos="2336">
          <p15:clr>
            <a:srgbClr val="A4A3A4"/>
          </p15:clr>
        </p15:guide>
        <p15:guide id="32" orient="horz" pos="2517">
          <p15:clr>
            <a:srgbClr val="A4A3A4"/>
          </p15:clr>
        </p15:guide>
        <p15:guide id="33" orient="horz" pos="2699">
          <p15:clr>
            <a:srgbClr val="A4A3A4"/>
          </p15:clr>
        </p15:guide>
        <p15:guide id="34" orient="horz" pos="2880">
          <p15:clr>
            <a:srgbClr val="A4A3A4"/>
          </p15:clr>
        </p15:guide>
        <p15:guide id="35" orient="horz" pos="3061">
          <p15:clr>
            <a:srgbClr val="F26B43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and bulleted list 2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604CA091-B7A6-E14F-A463-F2AF9C875DA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502576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604CA091-B7A6-E14F-A463-F2AF9C875D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3D9A8677-8724-4D26-9C67-E092606A7EDB}" type="datetime4">
              <a:rPr lang="en-GB" smtClean="0"/>
              <a:pPr/>
              <a:t>14 March 2024</a:t>
            </a:fld>
            <a:endParaRPr lang="en-GB" dirty="0"/>
          </a:p>
        </p:txBody>
      </p:sp>
      <p:sp>
        <p:nvSpPr>
          <p:cNvPr id="8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fld id="{D94909C6-CC71-4962-A18E-AF0515723D95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9" name="Footer Placeholder 1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GB" dirty="0"/>
              <a:t>Munich Re Group – Company Presentation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Title 20 pt, two lines max. and bulleted list</a:t>
            </a:r>
            <a:endParaRPr lang="en-GB" noProof="0" dirty="0"/>
          </a:p>
        </p:txBody>
      </p:sp>
      <p:sp>
        <p:nvSpPr>
          <p:cNvPr id="3" name="Content Placeholder 1"/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1pPr rtl="0"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 rtl="0"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 rtl="0"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 rtl="0"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 rtl="0"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  <a:lvl6pPr rtl="0">
              <a:buClr>
                <a:schemeClr val="bg1"/>
              </a:buClr>
              <a:defRPr>
                <a:solidFill>
                  <a:schemeClr val="bg1"/>
                </a:solidFill>
              </a:defRPr>
            </a:lvl6pPr>
            <a:lvl7pPr rtl="0">
              <a:buClr>
                <a:schemeClr val="bg1"/>
              </a:buClr>
              <a:defRPr>
                <a:solidFill>
                  <a:schemeClr val="bg1"/>
                </a:solidFill>
              </a:defRPr>
            </a:lvl7pPr>
            <a:lvl8pPr rtl="0">
              <a:buClr>
                <a:schemeClr val="bg1"/>
              </a:buClr>
              <a:defRPr>
                <a:solidFill>
                  <a:schemeClr val="bg1"/>
                </a:solidFill>
              </a:defRPr>
            </a:lvl8pPr>
            <a:lvl9pPr rtl="0">
              <a:buClr>
                <a:schemeClr val="bg1"/>
              </a:buCl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GB" dirty="0"/>
              <a:t>To customise the hierarchy of points, use Start &gt; Paragraph &gt; Decrease / Increase List Level. Alternatively, insert table, chart, SmartArt graphic, picture or online graphic.</a:t>
            </a:r>
            <a:br>
              <a:rPr lang="en-GB" dirty="0"/>
            </a:br>
            <a:r>
              <a:rPr lang="en-GB" dirty="0"/>
              <a:t>Formatting charts: You can use all Monochromatic colors and Colorful Palette 1 (Ribbon Chart Design &gt; Change Colors). Please use only Style 1, 2, 6 or 11. (Ribbon Chart Design &gt; Chart Styles)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  <a:p>
            <a:pPr lvl="5"/>
            <a:r>
              <a:rPr lang="en-GB" dirty="0"/>
              <a:t>Sixth level</a:t>
            </a:r>
          </a:p>
          <a:p>
            <a:pPr lvl="6"/>
            <a:r>
              <a:rPr lang="en-GB" dirty="0"/>
              <a:t>Seventh level</a:t>
            </a:r>
          </a:p>
          <a:p>
            <a:pPr lvl="7"/>
            <a:r>
              <a:rPr lang="en-GB" dirty="0"/>
              <a:t>Eighth level</a:t>
            </a:r>
          </a:p>
          <a:p>
            <a:pPr lvl="8"/>
            <a:r>
              <a:rPr lang="en-GB" dirty="0"/>
              <a:t>Ninth level</a:t>
            </a:r>
          </a:p>
        </p:txBody>
      </p:sp>
      <p:pic>
        <p:nvPicPr>
          <p:cNvPr id="11" name="MR Logo white 1">
            <a:extLst>
              <a:ext uri="{FF2B5EF4-FFF2-40B4-BE49-F238E27FC236}">
                <a16:creationId xmlns:a16="http://schemas.microsoft.com/office/drawing/2014/main" id="{73239E3D-E608-2590-0877-7720691D5A3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585200" y="306000"/>
            <a:ext cx="1306800" cy="302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863847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159">
          <p15:clr>
            <a:srgbClr val="F26B43"/>
          </p15:clr>
        </p15:guide>
        <p15:guide id="3" pos="499">
          <p15:clr>
            <a:srgbClr val="A4A3A4"/>
          </p15:clr>
        </p15:guide>
        <p15:guide id="4" pos="839">
          <p15:clr>
            <a:srgbClr val="A4A3A4"/>
          </p15:clr>
        </p15:guide>
        <p15:guide id="5" pos="1179">
          <p15:clr>
            <a:srgbClr val="A4A3A4"/>
          </p15:clr>
        </p15:guide>
        <p15:guide id="6" pos="1519">
          <p15:clr>
            <a:srgbClr val="A4A3A4"/>
          </p15:clr>
        </p15:guide>
        <p15:guide id="7" pos="1860">
          <p15:clr>
            <a:srgbClr val="A4A3A4"/>
          </p15:clr>
        </p15:guide>
        <p15:guide id="8" pos="2200">
          <p15:clr>
            <a:srgbClr val="A4A3A4"/>
          </p15:clr>
        </p15:guide>
        <p15:guide id="9" pos="2540">
          <p15:clr>
            <a:srgbClr val="A4A3A4"/>
          </p15:clr>
        </p15:guide>
        <p15:guide id="10" pos="2880">
          <p15:clr>
            <a:srgbClr val="A4A3A4"/>
          </p15:clr>
        </p15:guide>
        <p15:guide id="11" pos="3220">
          <p15:clr>
            <a:srgbClr val="A4A3A4"/>
          </p15:clr>
        </p15:guide>
        <p15:guide id="12" pos="3560">
          <p15:clr>
            <a:srgbClr val="A4A3A4"/>
          </p15:clr>
        </p15:guide>
        <p15:guide id="13" pos="3900">
          <p15:clr>
            <a:srgbClr val="A4A3A4"/>
          </p15:clr>
        </p15:guide>
        <p15:guide id="14" pos="4241">
          <p15:clr>
            <a:srgbClr val="A4A3A4"/>
          </p15:clr>
        </p15:guide>
        <p15:guide id="15" pos="4581">
          <p15:clr>
            <a:srgbClr val="A4A3A4"/>
          </p15:clr>
        </p15:guide>
        <p15:guide id="16" pos="4921">
          <p15:clr>
            <a:srgbClr val="A4A3A4"/>
          </p15:clr>
        </p15:guide>
        <p15:guide id="17" pos="5261">
          <p15:clr>
            <a:srgbClr val="A4A3A4"/>
          </p15:clr>
        </p15:guide>
        <p15:guide id="18" pos="5601">
          <p15:clr>
            <a:srgbClr val="F26B43"/>
          </p15:clr>
        </p15:guide>
        <p15:guide id="19" orient="horz" pos="159">
          <p15:clr>
            <a:srgbClr val="F26B43"/>
          </p15:clr>
        </p15:guide>
        <p15:guide id="20" orient="horz" pos="340">
          <p15:clr>
            <a:srgbClr val="A4A3A4"/>
          </p15:clr>
        </p15:guide>
        <p15:guide id="21" orient="horz" pos="522">
          <p15:clr>
            <a:srgbClr val="A4A3A4"/>
          </p15:clr>
        </p15:guide>
        <p15:guide id="22" orient="horz" pos="703">
          <p15:clr>
            <a:srgbClr val="F26B43"/>
          </p15:clr>
        </p15:guide>
        <p15:guide id="23" orient="horz" pos="884">
          <p15:clr>
            <a:srgbClr val="A4A3A4"/>
          </p15:clr>
        </p15:guide>
        <p15:guide id="24" orient="horz" pos="1066">
          <p15:clr>
            <a:srgbClr val="A4A3A4"/>
          </p15:clr>
        </p15:guide>
        <p15:guide id="25" orient="horz" pos="1247">
          <p15:clr>
            <a:srgbClr val="A4A3A4"/>
          </p15:clr>
        </p15:guide>
        <p15:guide id="26" orient="horz" pos="1429">
          <p15:clr>
            <a:srgbClr val="A4A3A4"/>
          </p15:clr>
        </p15:guide>
        <p15:guide id="27" orient="horz" pos="1610">
          <p15:clr>
            <a:srgbClr val="A4A3A4"/>
          </p15:clr>
        </p15:guide>
        <p15:guide id="28" orient="horz" pos="1791">
          <p15:clr>
            <a:srgbClr val="A4A3A4"/>
          </p15:clr>
        </p15:guide>
        <p15:guide id="29" orient="horz" pos="1973">
          <p15:clr>
            <a:srgbClr val="A4A3A4"/>
          </p15:clr>
        </p15:guide>
        <p15:guide id="30" orient="horz" pos="2154">
          <p15:clr>
            <a:srgbClr val="A4A3A4"/>
          </p15:clr>
        </p15:guide>
        <p15:guide id="31" orient="horz" pos="2336">
          <p15:clr>
            <a:srgbClr val="A4A3A4"/>
          </p15:clr>
        </p15:guide>
        <p15:guide id="32" orient="horz" pos="2517">
          <p15:clr>
            <a:srgbClr val="A4A3A4"/>
          </p15:clr>
        </p15:guide>
        <p15:guide id="33" orient="horz" pos="2699">
          <p15:clr>
            <a:srgbClr val="A4A3A4"/>
          </p15:clr>
        </p15:guide>
        <p15:guide id="34" orient="horz" pos="2880">
          <p15:clr>
            <a:srgbClr val="A4A3A4"/>
          </p15:clr>
        </p15:guide>
        <p15:guide id="35" orient="horz" pos="3061">
          <p15:clr>
            <a:srgbClr val="F26B43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number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70D15E6F-2897-EA64-260F-DFE676195EE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652845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70D15E6F-2897-EA64-260F-DFE676195EE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fld id="{D94909C6-CC71-4962-A18E-AF0515723D95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7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91D244FB-DA93-4786-8DF3-E1DD91508DCC}" type="datetime4">
              <a:rPr lang="en-GB" smtClean="0"/>
              <a:pPr/>
              <a:t>14 March 2024</a:t>
            </a:fld>
            <a:endParaRPr lang="en-GB" dirty="0"/>
          </a:p>
        </p:txBody>
      </p:sp>
      <p:sp>
        <p:nvSpPr>
          <p:cNvPr id="9" name="Footer Placeholder 1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GB" dirty="0"/>
              <a:t>Munich Re Group – Company Presentation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GB" dirty="0"/>
              <a:t>Title 20 pt, two lines max. and numbering</a:t>
            </a:r>
            <a:endParaRPr lang="en-GB" noProof="0" dirty="0"/>
          </a:p>
        </p:txBody>
      </p:sp>
      <p:sp>
        <p:nvSpPr>
          <p:cNvPr id="3" name="Content Placeholder 1"/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1pPr rtl="0">
              <a:buAutoNum type="arabicPeriod"/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  <a:lvl6pPr rtl="0">
              <a:defRPr/>
            </a:lvl6pPr>
            <a:lvl7pPr rtl="0">
              <a:defRPr/>
            </a:lvl7pPr>
            <a:lvl8pPr rtl="0">
              <a:defRPr/>
            </a:lvl8pPr>
            <a:lvl9pPr rtl="0">
              <a:defRPr/>
            </a:lvl9pPr>
          </a:lstStyle>
          <a:p>
            <a:pPr lvl="0"/>
            <a:r>
              <a:rPr lang="en-GB" dirty="0"/>
              <a:t>To customise the hierarchy of points, use Start &gt; Paragraph &gt; Decrease / Increase List Level. Alternatively, insert table, chart, SmartArt graphic, picture or online graphic.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  <a:p>
            <a:pPr lvl="5"/>
            <a:r>
              <a:rPr lang="en-GB" dirty="0"/>
              <a:t>Sixth level</a:t>
            </a:r>
          </a:p>
          <a:p>
            <a:pPr lvl="6"/>
            <a:r>
              <a:rPr lang="en-GB" dirty="0"/>
              <a:t>Seventh level</a:t>
            </a:r>
          </a:p>
          <a:p>
            <a:pPr lvl="7"/>
            <a:r>
              <a:rPr lang="en-GB" dirty="0"/>
              <a:t>Eighth level</a:t>
            </a:r>
          </a:p>
          <a:p>
            <a:pPr lvl="8"/>
            <a:r>
              <a:rPr lang="en-GB" dirty="0"/>
              <a:t>Ninth level</a:t>
            </a:r>
          </a:p>
        </p:txBody>
      </p:sp>
    </p:spTree>
    <p:extLst>
      <p:ext uri="{BB962C8B-B14F-4D97-AF65-F5344CB8AC3E}">
        <p14:creationId xmlns:p14="http://schemas.microsoft.com/office/powerpoint/2010/main" val="13370139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159">
          <p15:clr>
            <a:srgbClr val="F26B43"/>
          </p15:clr>
        </p15:guide>
        <p15:guide id="3" pos="499">
          <p15:clr>
            <a:srgbClr val="A4A3A4"/>
          </p15:clr>
        </p15:guide>
        <p15:guide id="4" pos="839">
          <p15:clr>
            <a:srgbClr val="A4A3A4"/>
          </p15:clr>
        </p15:guide>
        <p15:guide id="5" pos="1179">
          <p15:clr>
            <a:srgbClr val="A4A3A4"/>
          </p15:clr>
        </p15:guide>
        <p15:guide id="6" pos="1519">
          <p15:clr>
            <a:srgbClr val="A4A3A4"/>
          </p15:clr>
        </p15:guide>
        <p15:guide id="7" pos="1860">
          <p15:clr>
            <a:srgbClr val="A4A3A4"/>
          </p15:clr>
        </p15:guide>
        <p15:guide id="8" pos="2200">
          <p15:clr>
            <a:srgbClr val="A4A3A4"/>
          </p15:clr>
        </p15:guide>
        <p15:guide id="9" pos="2540">
          <p15:clr>
            <a:srgbClr val="A4A3A4"/>
          </p15:clr>
        </p15:guide>
        <p15:guide id="10" pos="2880">
          <p15:clr>
            <a:srgbClr val="A4A3A4"/>
          </p15:clr>
        </p15:guide>
        <p15:guide id="11" pos="3220">
          <p15:clr>
            <a:srgbClr val="A4A3A4"/>
          </p15:clr>
        </p15:guide>
        <p15:guide id="12" pos="3560">
          <p15:clr>
            <a:srgbClr val="A4A3A4"/>
          </p15:clr>
        </p15:guide>
        <p15:guide id="13" pos="3900">
          <p15:clr>
            <a:srgbClr val="A4A3A4"/>
          </p15:clr>
        </p15:guide>
        <p15:guide id="14" pos="4241">
          <p15:clr>
            <a:srgbClr val="A4A3A4"/>
          </p15:clr>
        </p15:guide>
        <p15:guide id="15" pos="4581">
          <p15:clr>
            <a:srgbClr val="A4A3A4"/>
          </p15:clr>
        </p15:guide>
        <p15:guide id="16" pos="4921">
          <p15:clr>
            <a:srgbClr val="A4A3A4"/>
          </p15:clr>
        </p15:guide>
        <p15:guide id="17" pos="5261">
          <p15:clr>
            <a:srgbClr val="A4A3A4"/>
          </p15:clr>
        </p15:guide>
        <p15:guide id="18" pos="5601">
          <p15:clr>
            <a:srgbClr val="F26B43"/>
          </p15:clr>
        </p15:guide>
        <p15:guide id="19" orient="horz" pos="159">
          <p15:clr>
            <a:srgbClr val="F26B43"/>
          </p15:clr>
        </p15:guide>
        <p15:guide id="20" orient="horz" pos="340">
          <p15:clr>
            <a:srgbClr val="A4A3A4"/>
          </p15:clr>
        </p15:guide>
        <p15:guide id="21" orient="horz" pos="522">
          <p15:clr>
            <a:srgbClr val="A4A3A4"/>
          </p15:clr>
        </p15:guide>
        <p15:guide id="22" orient="horz" pos="703">
          <p15:clr>
            <a:srgbClr val="F26B43"/>
          </p15:clr>
        </p15:guide>
        <p15:guide id="23" orient="horz" pos="884">
          <p15:clr>
            <a:srgbClr val="A4A3A4"/>
          </p15:clr>
        </p15:guide>
        <p15:guide id="24" orient="horz" pos="1066">
          <p15:clr>
            <a:srgbClr val="A4A3A4"/>
          </p15:clr>
        </p15:guide>
        <p15:guide id="25" orient="horz" pos="1247">
          <p15:clr>
            <a:srgbClr val="A4A3A4"/>
          </p15:clr>
        </p15:guide>
        <p15:guide id="26" orient="horz" pos="1429">
          <p15:clr>
            <a:srgbClr val="A4A3A4"/>
          </p15:clr>
        </p15:guide>
        <p15:guide id="27" orient="horz" pos="1610">
          <p15:clr>
            <a:srgbClr val="A4A3A4"/>
          </p15:clr>
        </p15:guide>
        <p15:guide id="28" orient="horz" pos="1791">
          <p15:clr>
            <a:srgbClr val="A4A3A4"/>
          </p15:clr>
        </p15:guide>
        <p15:guide id="29" orient="horz" pos="1973">
          <p15:clr>
            <a:srgbClr val="A4A3A4"/>
          </p15:clr>
        </p15:guide>
        <p15:guide id="30" orient="horz" pos="2154">
          <p15:clr>
            <a:srgbClr val="A4A3A4"/>
          </p15:clr>
        </p15:guide>
        <p15:guide id="31" orient="horz" pos="2336">
          <p15:clr>
            <a:srgbClr val="A4A3A4"/>
          </p15:clr>
        </p15:guide>
        <p15:guide id="32" orient="horz" pos="2517">
          <p15:clr>
            <a:srgbClr val="A4A3A4"/>
          </p15:clr>
        </p15:guide>
        <p15:guide id="33" orient="horz" pos="2699">
          <p15:clr>
            <a:srgbClr val="A4A3A4"/>
          </p15:clr>
        </p15:guide>
        <p15:guide id="34" orient="horz" pos="2880">
          <p15:clr>
            <a:srgbClr val="A4A3A4"/>
          </p15:clr>
        </p15:guide>
        <p15:guide id="35" orient="horz" pos="3061">
          <p15:clr>
            <a:srgbClr val="F26B43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CAB124C2-CCC5-3122-3E7A-5AE29769466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124992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CAB124C2-CCC5-3122-3E7A-5AE2976946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1"/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1pPr marL="0" indent="0" rtl="0">
              <a:buNone/>
              <a:defRPr/>
            </a:lvl1pPr>
            <a:lvl2pPr marL="270000" indent="0" rtl="0">
              <a:buNone/>
              <a:defRPr/>
            </a:lvl2pPr>
            <a:lvl3pPr marL="540000" indent="0" rtl="0">
              <a:buNone/>
              <a:defRPr/>
            </a:lvl3pPr>
            <a:lvl4pPr marL="810000" indent="0" rtl="0">
              <a:buNone/>
              <a:defRPr/>
            </a:lvl4pPr>
            <a:lvl5pPr marL="1080000" indent="0" rtl="0">
              <a:buNone/>
              <a:defRPr/>
            </a:lvl5pPr>
            <a:lvl6pPr marL="1350000" indent="0" rtl="0">
              <a:buNone/>
              <a:defRPr/>
            </a:lvl6pPr>
            <a:lvl7pPr marL="1620000" indent="0" rtl="0">
              <a:buNone/>
              <a:defRPr/>
            </a:lvl7pPr>
            <a:lvl8pPr marL="1890000" indent="0" rtl="0">
              <a:buNone/>
              <a:defRPr/>
            </a:lvl8pPr>
            <a:lvl9pPr marL="2160000" indent="0" rtl="0">
              <a:buNone/>
              <a:defRPr/>
            </a:lvl9pPr>
          </a:lstStyle>
          <a:p>
            <a:pPr lvl="0"/>
            <a:r>
              <a:rPr lang="en-GB" dirty="0"/>
              <a:t>To customise the hierarchy of points, use Start &gt; Paragraph &gt; Decrease / Increase List Level. Alternatively, insert table, chart, SmartArt graphic, picture or online graphic.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  <a:p>
            <a:pPr lvl="5"/>
            <a:r>
              <a:rPr lang="en-GB" dirty="0"/>
              <a:t>Sixth level</a:t>
            </a:r>
          </a:p>
          <a:p>
            <a:pPr lvl="6"/>
            <a:r>
              <a:rPr lang="en-GB" dirty="0"/>
              <a:t>Seventh level</a:t>
            </a:r>
          </a:p>
          <a:p>
            <a:pPr lvl="7"/>
            <a:r>
              <a:rPr lang="en-GB" dirty="0"/>
              <a:t>Eighth level</a:t>
            </a:r>
          </a:p>
          <a:p>
            <a:pPr lvl="8"/>
            <a:r>
              <a:rPr lang="en-GB" dirty="0"/>
              <a:t>Nin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GB" dirty="0"/>
              <a:t>Title 20 pt, two lines max. and text</a:t>
            </a:r>
            <a:endParaRPr lang="en-GB" noProof="0" dirty="0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E58A3988-BED6-46DE-ABD4-8F94671E20DA}" type="datetime4">
              <a:rPr lang="en-GB" smtClean="0"/>
              <a:pPr/>
              <a:t>14 March 2024</a:t>
            </a:fld>
            <a:endParaRPr lang="en-GB" dirty="0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fld id="{D94909C6-CC71-4962-A18E-AF0515723D95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GB" dirty="0"/>
              <a:t>Munich Re Group – Company Presentation</a:t>
            </a:r>
          </a:p>
        </p:txBody>
      </p:sp>
    </p:spTree>
    <p:extLst>
      <p:ext uri="{BB962C8B-B14F-4D97-AF65-F5344CB8AC3E}">
        <p14:creationId xmlns:p14="http://schemas.microsoft.com/office/powerpoint/2010/main" val="2730714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159">
          <p15:clr>
            <a:srgbClr val="F26B43"/>
          </p15:clr>
        </p15:guide>
        <p15:guide id="3" pos="499">
          <p15:clr>
            <a:srgbClr val="A4A3A4"/>
          </p15:clr>
        </p15:guide>
        <p15:guide id="4" pos="839">
          <p15:clr>
            <a:srgbClr val="A4A3A4"/>
          </p15:clr>
        </p15:guide>
        <p15:guide id="5" pos="1179">
          <p15:clr>
            <a:srgbClr val="A4A3A4"/>
          </p15:clr>
        </p15:guide>
        <p15:guide id="6" pos="1519">
          <p15:clr>
            <a:srgbClr val="A4A3A4"/>
          </p15:clr>
        </p15:guide>
        <p15:guide id="7" pos="1860">
          <p15:clr>
            <a:srgbClr val="A4A3A4"/>
          </p15:clr>
        </p15:guide>
        <p15:guide id="8" pos="2200">
          <p15:clr>
            <a:srgbClr val="A4A3A4"/>
          </p15:clr>
        </p15:guide>
        <p15:guide id="9" pos="2540">
          <p15:clr>
            <a:srgbClr val="A4A3A4"/>
          </p15:clr>
        </p15:guide>
        <p15:guide id="10" pos="2880">
          <p15:clr>
            <a:srgbClr val="A4A3A4"/>
          </p15:clr>
        </p15:guide>
        <p15:guide id="11" pos="3220">
          <p15:clr>
            <a:srgbClr val="A4A3A4"/>
          </p15:clr>
        </p15:guide>
        <p15:guide id="12" pos="3560">
          <p15:clr>
            <a:srgbClr val="A4A3A4"/>
          </p15:clr>
        </p15:guide>
        <p15:guide id="13" pos="3900">
          <p15:clr>
            <a:srgbClr val="A4A3A4"/>
          </p15:clr>
        </p15:guide>
        <p15:guide id="14" pos="4241">
          <p15:clr>
            <a:srgbClr val="A4A3A4"/>
          </p15:clr>
        </p15:guide>
        <p15:guide id="15" pos="4581">
          <p15:clr>
            <a:srgbClr val="A4A3A4"/>
          </p15:clr>
        </p15:guide>
        <p15:guide id="16" pos="4921">
          <p15:clr>
            <a:srgbClr val="A4A3A4"/>
          </p15:clr>
        </p15:guide>
        <p15:guide id="17" pos="5261">
          <p15:clr>
            <a:srgbClr val="A4A3A4"/>
          </p15:clr>
        </p15:guide>
        <p15:guide id="18" pos="5601">
          <p15:clr>
            <a:srgbClr val="F26B43"/>
          </p15:clr>
        </p15:guide>
        <p15:guide id="19" orient="horz" pos="159">
          <p15:clr>
            <a:srgbClr val="F26B43"/>
          </p15:clr>
        </p15:guide>
        <p15:guide id="20" orient="horz" pos="340">
          <p15:clr>
            <a:srgbClr val="A4A3A4"/>
          </p15:clr>
        </p15:guide>
        <p15:guide id="21" orient="horz" pos="522">
          <p15:clr>
            <a:srgbClr val="A4A3A4"/>
          </p15:clr>
        </p15:guide>
        <p15:guide id="22" orient="horz" pos="703">
          <p15:clr>
            <a:srgbClr val="F26B43"/>
          </p15:clr>
        </p15:guide>
        <p15:guide id="23" orient="horz" pos="884">
          <p15:clr>
            <a:srgbClr val="A4A3A4"/>
          </p15:clr>
        </p15:guide>
        <p15:guide id="24" orient="horz" pos="1066">
          <p15:clr>
            <a:srgbClr val="A4A3A4"/>
          </p15:clr>
        </p15:guide>
        <p15:guide id="25" orient="horz" pos="1247">
          <p15:clr>
            <a:srgbClr val="A4A3A4"/>
          </p15:clr>
        </p15:guide>
        <p15:guide id="26" orient="horz" pos="1429">
          <p15:clr>
            <a:srgbClr val="A4A3A4"/>
          </p15:clr>
        </p15:guide>
        <p15:guide id="27" orient="horz" pos="1610">
          <p15:clr>
            <a:srgbClr val="A4A3A4"/>
          </p15:clr>
        </p15:guide>
        <p15:guide id="28" orient="horz" pos="1791">
          <p15:clr>
            <a:srgbClr val="A4A3A4"/>
          </p15:clr>
        </p15:guide>
        <p15:guide id="29" orient="horz" pos="1973">
          <p15:clr>
            <a:srgbClr val="A4A3A4"/>
          </p15:clr>
        </p15:guide>
        <p15:guide id="30" orient="horz" pos="2154">
          <p15:clr>
            <a:srgbClr val="A4A3A4"/>
          </p15:clr>
        </p15:guide>
        <p15:guide id="31" orient="horz" pos="2336">
          <p15:clr>
            <a:srgbClr val="A4A3A4"/>
          </p15:clr>
        </p15:guide>
        <p15:guide id="32" orient="horz" pos="2517">
          <p15:clr>
            <a:srgbClr val="A4A3A4"/>
          </p15:clr>
        </p15:guide>
        <p15:guide id="33" orient="horz" pos="2699">
          <p15:clr>
            <a:srgbClr val="A4A3A4"/>
          </p15:clr>
        </p15:guide>
        <p15:guide id="34" orient="horz" pos="2880">
          <p15:clr>
            <a:srgbClr val="A4A3A4"/>
          </p15:clr>
        </p15:guide>
        <p15:guide id="35" orient="horz" pos="3061">
          <p15:clr>
            <a:srgbClr val="F26B43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heading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7F66A1C7-7316-05D5-AB5E-49F44567DE3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328776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7F66A1C7-7316-05D5-AB5E-49F44567DE3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fld id="{D56DB8AA-803C-49D2-90AA-1140CE72DCD7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11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1486F023-BC46-467C-A82B-C19CF4001979}" type="datetime4">
              <a:rPr lang="en-GB" smtClean="0"/>
              <a:pPr/>
              <a:t>14 March 2024</a:t>
            </a:fld>
            <a:endParaRPr lang="en-GB" dirty="0"/>
          </a:p>
        </p:txBody>
      </p:sp>
      <p:sp>
        <p:nvSpPr>
          <p:cNvPr id="14" name="Footer Placeholder 1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GB" dirty="0"/>
              <a:t>Munich Re Group – Company Presentation</a:t>
            </a:r>
          </a:p>
        </p:txBody>
      </p:sp>
      <p:sp>
        <p:nvSpPr>
          <p:cNvPr id="16" name="Titel 1"/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GB" dirty="0"/>
              <a:t>Title 20 pt, two lines max. and chart</a:t>
            </a:r>
          </a:p>
        </p:txBody>
      </p:sp>
      <p:sp>
        <p:nvSpPr>
          <p:cNvPr id="18" name="Content Placeholder 1"/>
          <p:cNvSpPr>
            <a:spLocks noGrp="1"/>
          </p:cNvSpPr>
          <p:nvPr>
            <p:ph sz="quarter" idx="13" hasCustomPrompt="1"/>
          </p:nvPr>
        </p:nvSpPr>
        <p:spPr>
          <a:xfrm>
            <a:off x="252000" y="1548000"/>
            <a:ext cx="8640000" cy="3312000"/>
          </a:xfrm>
        </p:spPr>
        <p:txBody>
          <a:bodyPr/>
          <a:lstStyle>
            <a:lvl1pPr rtl="0">
              <a:defRPr/>
            </a:lvl1pPr>
          </a:lstStyle>
          <a:p>
            <a:pPr marL="216000" marR="0" lvl="0" indent="-216000" algn="l" defTabSz="2700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lang="en-GB" dirty="0"/>
              <a:t>To customise the hierarchy of points, use Start &gt; Paragraph &gt; Decrease / Increase List Level. Alternatively, insert table, chart, SmartArt graphic, picture or online graphic.</a:t>
            </a:r>
            <a:br>
              <a:rPr lang="en-GB" dirty="0"/>
            </a:br>
            <a:r>
              <a:rPr lang="en-GB" dirty="0"/>
              <a:t>Formatting charts: You can use all Monochromatic colors and Colorful Palette 1 (Ribbon Chart Design &gt; Change Colors). Please use only Style 1, 2, 6 or 11. (Ribbon Chart Design &gt; Chart Styles)</a:t>
            </a:r>
          </a:p>
        </p:txBody>
      </p:sp>
      <p:sp>
        <p:nvSpPr>
          <p:cNvPr id="8" name="Heading Placeholder 1"/>
          <p:cNvSpPr>
            <a:spLocks noGrp="1"/>
          </p:cNvSpPr>
          <p:nvPr>
            <p:ph type="body" idx="1" hasCustomPrompt="1"/>
          </p:nvPr>
        </p:nvSpPr>
        <p:spPr>
          <a:xfrm>
            <a:off x="252000" y="1116000"/>
            <a:ext cx="8640000" cy="288000"/>
          </a:xfrm>
        </p:spPr>
        <p:txBody>
          <a:bodyPr wrap="square" lIns="0" tIns="0" rIns="0" bIns="0" anchor="t"/>
          <a:lstStyle>
            <a:lvl1pPr marL="0" indent="0" rtl="0">
              <a:lnSpc>
                <a:spcPct val="100000"/>
              </a:lnSpc>
              <a:spcAft>
                <a:spcPts val="0"/>
              </a:spcAft>
              <a:buFontTx/>
              <a:buNone/>
              <a:defRPr sz="16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dirty="0"/>
              <a:t>Heading 16 pt, single line</a:t>
            </a:r>
          </a:p>
        </p:txBody>
      </p:sp>
    </p:spTree>
    <p:extLst>
      <p:ext uri="{BB962C8B-B14F-4D97-AF65-F5344CB8AC3E}">
        <p14:creationId xmlns:p14="http://schemas.microsoft.com/office/powerpoint/2010/main" val="2724643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159">
          <p15:clr>
            <a:srgbClr val="F26B43"/>
          </p15:clr>
        </p15:guide>
        <p15:guide id="3" pos="499">
          <p15:clr>
            <a:srgbClr val="A4A3A4"/>
          </p15:clr>
        </p15:guide>
        <p15:guide id="4" pos="839">
          <p15:clr>
            <a:srgbClr val="A4A3A4"/>
          </p15:clr>
        </p15:guide>
        <p15:guide id="5" pos="1179">
          <p15:clr>
            <a:srgbClr val="A4A3A4"/>
          </p15:clr>
        </p15:guide>
        <p15:guide id="6" pos="1519">
          <p15:clr>
            <a:srgbClr val="A4A3A4"/>
          </p15:clr>
        </p15:guide>
        <p15:guide id="7" pos="1860">
          <p15:clr>
            <a:srgbClr val="A4A3A4"/>
          </p15:clr>
        </p15:guide>
        <p15:guide id="8" pos="2200">
          <p15:clr>
            <a:srgbClr val="A4A3A4"/>
          </p15:clr>
        </p15:guide>
        <p15:guide id="9" pos="2540">
          <p15:clr>
            <a:srgbClr val="A4A3A4"/>
          </p15:clr>
        </p15:guide>
        <p15:guide id="10" pos="2880">
          <p15:clr>
            <a:srgbClr val="A4A3A4"/>
          </p15:clr>
        </p15:guide>
        <p15:guide id="11" pos="3220">
          <p15:clr>
            <a:srgbClr val="A4A3A4"/>
          </p15:clr>
        </p15:guide>
        <p15:guide id="12" pos="3560">
          <p15:clr>
            <a:srgbClr val="A4A3A4"/>
          </p15:clr>
        </p15:guide>
        <p15:guide id="13" pos="3900">
          <p15:clr>
            <a:srgbClr val="A4A3A4"/>
          </p15:clr>
        </p15:guide>
        <p15:guide id="14" pos="4241">
          <p15:clr>
            <a:srgbClr val="A4A3A4"/>
          </p15:clr>
        </p15:guide>
        <p15:guide id="15" pos="4581">
          <p15:clr>
            <a:srgbClr val="A4A3A4"/>
          </p15:clr>
        </p15:guide>
        <p15:guide id="16" pos="4921">
          <p15:clr>
            <a:srgbClr val="A4A3A4"/>
          </p15:clr>
        </p15:guide>
        <p15:guide id="17" pos="5261">
          <p15:clr>
            <a:srgbClr val="A4A3A4"/>
          </p15:clr>
        </p15:guide>
        <p15:guide id="18" pos="5601">
          <p15:clr>
            <a:srgbClr val="F26B43"/>
          </p15:clr>
        </p15:guide>
        <p15:guide id="19" orient="horz" pos="159">
          <p15:clr>
            <a:srgbClr val="F26B43"/>
          </p15:clr>
        </p15:guide>
        <p15:guide id="20" orient="horz" pos="340">
          <p15:clr>
            <a:srgbClr val="A4A3A4"/>
          </p15:clr>
        </p15:guide>
        <p15:guide id="21" orient="horz" pos="522">
          <p15:clr>
            <a:srgbClr val="A4A3A4"/>
          </p15:clr>
        </p15:guide>
        <p15:guide id="22" orient="horz" pos="703">
          <p15:clr>
            <a:srgbClr val="F26B43"/>
          </p15:clr>
        </p15:guide>
        <p15:guide id="23" orient="horz" pos="884">
          <p15:clr>
            <a:srgbClr val="FBAE40"/>
          </p15:clr>
        </p15:guide>
        <p15:guide id="24" orient="horz" pos="1066">
          <p15:clr>
            <a:srgbClr val="A4A3A4"/>
          </p15:clr>
        </p15:guide>
        <p15:guide id="25" orient="horz" pos="1247">
          <p15:clr>
            <a:srgbClr val="A4A3A4"/>
          </p15:clr>
        </p15:guide>
        <p15:guide id="26" orient="horz" pos="1429">
          <p15:clr>
            <a:srgbClr val="A4A3A4"/>
          </p15:clr>
        </p15:guide>
        <p15:guide id="27" orient="horz" pos="1610">
          <p15:clr>
            <a:srgbClr val="A4A3A4"/>
          </p15:clr>
        </p15:guide>
        <p15:guide id="28" orient="horz" pos="1791">
          <p15:clr>
            <a:srgbClr val="A4A3A4"/>
          </p15:clr>
        </p15:guide>
        <p15:guide id="29" orient="horz" pos="1973">
          <p15:clr>
            <a:srgbClr val="A4A3A4"/>
          </p15:clr>
        </p15:guide>
        <p15:guide id="30" orient="horz" pos="2154">
          <p15:clr>
            <a:srgbClr val="A4A3A4"/>
          </p15:clr>
        </p15:guide>
        <p15:guide id="31" orient="horz" pos="2336">
          <p15:clr>
            <a:srgbClr val="A4A3A4"/>
          </p15:clr>
        </p15:guide>
        <p15:guide id="32" orient="horz" pos="2517">
          <p15:clr>
            <a:srgbClr val="A4A3A4"/>
          </p15:clr>
        </p15:guide>
        <p15:guide id="33" orient="horz" pos="2699">
          <p15:clr>
            <a:srgbClr val="A4A3A4"/>
          </p15:clr>
        </p15:guide>
        <p15:guide id="34" orient="horz" pos="2880">
          <p15:clr>
            <a:srgbClr val="A4A3A4"/>
          </p15:clr>
        </p15:guide>
        <p15:guide id="35" orient="horz" pos="3061">
          <p15:clr>
            <a:srgbClr val="F26B43"/>
          </p15:clr>
        </p15:guide>
        <p15:guide id="36" orient="horz" pos="975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9044ED88-8579-79F7-9A47-C661A67E92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374066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9044ED88-8579-79F7-9A47-C661A67E92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fld id="{D56DB8AA-803C-49D2-90AA-1140CE72DCD7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13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58D0456F-6513-4017-A348-E313773756E1}" type="datetime4">
              <a:rPr lang="en-GB" smtClean="0"/>
              <a:pPr/>
              <a:t>14 March 2024</a:t>
            </a:fld>
            <a:endParaRPr lang="en-GB" dirty="0"/>
          </a:p>
        </p:txBody>
      </p:sp>
      <p:sp>
        <p:nvSpPr>
          <p:cNvPr id="15" name="Footer Placeholder 1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GB" dirty="0"/>
              <a:t>Munich Re Group – Company Presentation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GB" dirty="0"/>
              <a:t>Title 20 pt, two lines max. and two content blocks</a:t>
            </a:r>
          </a:p>
        </p:txBody>
      </p:sp>
      <p:sp>
        <p:nvSpPr>
          <p:cNvPr id="20" name="Content Placeholder 1"/>
          <p:cNvSpPr>
            <a:spLocks noGrp="1"/>
          </p:cNvSpPr>
          <p:nvPr>
            <p:ph sz="quarter" idx="13" hasCustomPrompt="1"/>
          </p:nvPr>
        </p:nvSpPr>
        <p:spPr>
          <a:xfrm>
            <a:off x="252000" y="1548000"/>
            <a:ext cx="4185000" cy="3312000"/>
          </a:xfrm>
        </p:spPr>
        <p:txBody>
          <a:bodyPr lIns="0" tIns="0" rIns="0" bIns="0"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  <a:lvl6pPr rtl="0">
              <a:defRPr/>
            </a:lvl6pPr>
            <a:lvl7pPr rtl="0">
              <a:defRPr/>
            </a:lvl7pPr>
            <a:lvl8pPr rtl="0">
              <a:defRPr/>
            </a:lvl8pPr>
            <a:lvl9pPr rtl="0">
              <a:defRPr/>
            </a:lvl9pPr>
          </a:lstStyle>
          <a:p>
            <a:pPr lvl="0"/>
            <a:r>
              <a:rPr lang="en-GB" dirty="0"/>
              <a:t>To customise the hierarchy of points, use Start &gt; Paragraph &gt; Decrease / Increase List Level.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  <a:p>
            <a:pPr lvl="5"/>
            <a:r>
              <a:rPr lang="en-GB" dirty="0"/>
              <a:t>Sixth level</a:t>
            </a:r>
          </a:p>
          <a:p>
            <a:pPr lvl="6"/>
            <a:r>
              <a:rPr lang="en-GB" dirty="0"/>
              <a:t>Seventh level</a:t>
            </a:r>
          </a:p>
          <a:p>
            <a:pPr lvl="7"/>
            <a:r>
              <a:rPr lang="en-GB" dirty="0"/>
              <a:t>Eighth level</a:t>
            </a:r>
          </a:p>
          <a:p>
            <a:pPr lvl="8"/>
            <a:r>
              <a:rPr lang="en-GB" dirty="0"/>
              <a:t>Ninth level</a:t>
            </a:r>
          </a:p>
        </p:txBody>
      </p:sp>
      <p:sp>
        <p:nvSpPr>
          <p:cNvPr id="22" name="Content Placeholder 2"/>
          <p:cNvSpPr>
            <a:spLocks noGrp="1"/>
          </p:cNvSpPr>
          <p:nvPr>
            <p:ph sz="quarter" idx="14" hasCustomPrompt="1"/>
          </p:nvPr>
        </p:nvSpPr>
        <p:spPr>
          <a:xfrm>
            <a:off x="4707000" y="1543050"/>
            <a:ext cx="4185000" cy="3312000"/>
          </a:xfrm>
        </p:spPr>
        <p:txBody>
          <a:bodyPr lIns="0" tIns="0" rIns="0" bIns="0"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  <a:lvl6pPr rtl="0">
              <a:defRPr/>
            </a:lvl6pPr>
            <a:lvl7pPr rtl="0">
              <a:defRPr/>
            </a:lvl7pPr>
            <a:lvl8pPr rtl="0">
              <a:defRPr/>
            </a:lvl8pPr>
            <a:lvl9pPr rtl="0">
              <a:defRPr/>
            </a:lvl9pPr>
          </a:lstStyle>
          <a:p>
            <a:pPr lvl="0"/>
            <a:r>
              <a:rPr lang="en-GB" dirty="0"/>
              <a:t>To customise the hierarchy of points, use Start &gt; Paragraph &gt; Decrease / Increase List Level.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  <a:p>
            <a:pPr lvl="5"/>
            <a:r>
              <a:rPr lang="en-GB" dirty="0"/>
              <a:t>Sixth level</a:t>
            </a:r>
          </a:p>
          <a:p>
            <a:pPr lvl="6"/>
            <a:r>
              <a:rPr lang="en-GB" dirty="0"/>
              <a:t>Seventh level</a:t>
            </a:r>
          </a:p>
          <a:p>
            <a:pPr lvl="7"/>
            <a:r>
              <a:rPr lang="en-GB" dirty="0"/>
              <a:t>Eighth level</a:t>
            </a:r>
          </a:p>
          <a:p>
            <a:pPr lvl="8"/>
            <a:r>
              <a:rPr lang="en-GB" dirty="0"/>
              <a:t>Ninth level</a:t>
            </a:r>
          </a:p>
        </p:txBody>
      </p:sp>
      <p:sp>
        <p:nvSpPr>
          <p:cNvPr id="3" name="Heading Placeholder 1"/>
          <p:cNvSpPr>
            <a:spLocks noGrp="1"/>
          </p:cNvSpPr>
          <p:nvPr>
            <p:ph type="body" idx="1" hasCustomPrompt="1"/>
          </p:nvPr>
        </p:nvSpPr>
        <p:spPr>
          <a:xfrm>
            <a:off x="252000" y="1116000"/>
            <a:ext cx="4185000" cy="288000"/>
          </a:xfrm>
        </p:spPr>
        <p:txBody>
          <a:bodyPr wrap="square" lIns="0" tIns="0" rIns="0" bIns="0" anchor="t"/>
          <a:lstStyle>
            <a:lvl1pPr marL="0" indent="0" rtl="0">
              <a:lnSpc>
                <a:spcPct val="100000"/>
              </a:lnSpc>
              <a:spcAft>
                <a:spcPts val="0"/>
              </a:spcAft>
              <a:buFontTx/>
              <a:buNone/>
              <a:defRPr sz="16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dirty="0"/>
              <a:t>Heading 16 pt, single line</a:t>
            </a:r>
          </a:p>
        </p:txBody>
      </p:sp>
      <p:sp>
        <p:nvSpPr>
          <p:cNvPr id="5" name="Heading Placeholder 2"/>
          <p:cNvSpPr>
            <a:spLocks noGrp="1"/>
          </p:cNvSpPr>
          <p:nvPr>
            <p:ph type="body" sz="quarter" idx="3" hasCustomPrompt="1"/>
          </p:nvPr>
        </p:nvSpPr>
        <p:spPr>
          <a:xfrm>
            <a:off x="4707000" y="1116000"/>
            <a:ext cx="4185000" cy="288000"/>
          </a:xfrm>
        </p:spPr>
        <p:txBody>
          <a:bodyPr wrap="square" lIns="0" tIns="0" rIns="0" bIns="0" anchor="t"/>
          <a:lstStyle>
            <a:lvl1pPr marL="0" indent="0" rtl="0">
              <a:lnSpc>
                <a:spcPct val="100000"/>
              </a:lnSpc>
              <a:spcAft>
                <a:spcPts val="0"/>
              </a:spcAft>
              <a:buFontTx/>
              <a:buNone/>
              <a:defRPr sz="16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dirty="0"/>
              <a:t>Heading 16 pt, single line</a:t>
            </a:r>
          </a:p>
        </p:txBody>
      </p:sp>
    </p:spTree>
    <p:extLst>
      <p:ext uri="{BB962C8B-B14F-4D97-AF65-F5344CB8AC3E}">
        <p14:creationId xmlns:p14="http://schemas.microsoft.com/office/powerpoint/2010/main" val="40541318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159">
          <p15:clr>
            <a:srgbClr val="F26B43"/>
          </p15:clr>
        </p15:guide>
        <p15:guide id="3" pos="499">
          <p15:clr>
            <a:srgbClr val="A4A3A4"/>
          </p15:clr>
        </p15:guide>
        <p15:guide id="4" pos="839">
          <p15:clr>
            <a:srgbClr val="A4A3A4"/>
          </p15:clr>
        </p15:guide>
        <p15:guide id="5" pos="1179">
          <p15:clr>
            <a:srgbClr val="A4A3A4"/>
          </p15:clr>
        </p15:guide>
        <p15:guide id="6" pos="1519">
          <p15:clr>
            <a:srgbClr val="A4A3A4"/>
          </p15:clr>
        </p15:guide>
        <p15:guide id="7" pos="1860">
          <p15:clr>
            <a:srgbClr val="A4A3A4"/>
          </p15:clr>
        </p15:guide>
        <p15:guide id="8" pos="2200">
          <p15:clr>
            <a:srgbClr val="A4A3A4"/>
          </p15:clr>
        </p15:guide>
        <p15:guide id="9" pos="2540">
          <p15:clr>
            <a:srgbClr val="A4A3A4"/>
          </p15:clr>
        </p15:guide>
        <p15:guide id="10" pos="2880">
          <p15:clr>
            <a:srgbClr val="A4A3A4"/>
          </p15:clr>
        </p15:guide>
        <p15:guide id="11" pos="3220">
          <p15:clr>
            <a:srgbClr val="A4A3A4"/>
          </p15:clr>
        </p15:guide>
        <p15:guide id="12" pos="3560">
          <p15:clr>
            <a:srgbClr val="A4A3A4"/>
          </p15:clr>
        </p15:guide>
        <p15:guide id="13" pos="3900">
          <p15:clr>
            <a:srgbClr val="A4A3A4"/>
          </p15:clr>
        </p15:guide>
        <p15:guide id="14" pos="4241">
          <p15:clr>
            <a:srgbClr val="A4A3A4"/>
          </p15:clr>
        </p15:guide>
        <p15:guide id="15" pos="4581">
          <p15:clr>
            <a:srgbClr val="A4A3A4"/>
          </p15:clr>
        </p15:guide>
        <p15:guide id="16" pos="4921">
          <p15:clr>
            <a:srgbClr val="A4A3A4"/>
          </p15:clr>
        </p15:guide>
        <p15:guide id="17" pos="5261">
          <p15:clr>
            <a:srgbClr val="A4A3A4"/>
          </p15:clr>
        </p15:guide>
        <p15:guide id="18" pos="5601">
          <p15:clr>
            <a:srgbClr val="F26B43"/>
          </p15:clr>
        </p15:guide>
        <p15:guide id="19" orient="horz" pos="159">
          <p15:clr>
            <a:srgbClr val="F26B43"/>
          </p15:clr>
        </p15:guide>
        <p15:guide id="20" orient="horz" pos="340">
          <p15:clr>
            <a:srgbClr val="A4A3A4"/>
          </p15:clr>
        </p15:guide>
        <p15:guide id="21" orient="horz" pos="522">
          <p15:clr>
            <a:srgbClr val="A4A3A4"/>
          </p15:clr>
        </p15:guide>
        <p15:guide id="22" orient="horz" pos="703">
          <p15:clr>
            <a:srgbClr val="F26B43"/>
          </p15:clr>
        </p15:guide>
        <p15:guide id="23" orient="horz" pos="884">
          <p15:clr>
            <a:srgbClr val="FBAE40"/>
          </p15:clr>
        </p15:guide>
        <p15:guide id="24" orient="horz" pos="1066">
          <p15:clr>
            <a:srgbClr val="A4A3A4"/>
          </p15:clr>
        </p15:guide>
        <p15:guide id="25" orient="horz" pos="1247">
          <p15:clr>
            <a:srgbClr val="A4A3A4"/>
          </p15:clr>
        </p15:guide>
        <p15:guide id="26" orient="horz" pos="1429">
          <p15:clr>
            <a:srgbClr val="A4A3A4"/>
          </p15:clr>
        </p15:guide>
        <p15:guide id="27" orient="horz" pos="1610">
          <p15:clr>
            <a:srgbClr val="A4A3A4"/>
          </p15:clr>
        </p15:guide>
        <p15:guide id="28" orient="horz" pos="1791">
          <p15:clr>
            <a:srgbClr val="A4A3A4"/>
          </p15:clr>
        </p15:guide>
        <p15:guide id="29" orient="horz" pos="1973">
          <p15:clr>
            <a:srgbClr val="A4A3A4"/>
          </p15:clr>
        </p15:guide>
        <p15:guide id="30" orient="horz" pos="2154">
          <p15:clr>
            <a:srgbClr val="A4A3A4"/>
          </p15:clr>
        </p15:guide>
        <p15:guide id="31" orient="horz" pos="2336">
          <p15:clr>
            <a:srgbClr val="A4A3A4"/>
          </p15:clr>
        </p15:guide>
        <p15:guide id="32" orient="horz" pos="2517">
          <p15:clr>
            <a:srgbClr val="A4A3A4"/>
          </p15:clr>
        </p15:guide>
        <p15:guide id="33" orient="horz" pos="2699">
          <p15:clr>
            <a:srgbClr val="A4A3A4"/>
          </p15:clr>
        </p15:guide>
        <p15:guide id="34" orient="horz" pos="2880">
          <p15:clr>
            <a:srgbClr val="A4A3A4"/>
          </p15:clr>
        </p15:guide>
        <p15:guide id="35" orient="horz" pos="3061">
          <p15:clr>
            <a:srgbClr val="F26B43"/>
          </p15:clr>
        </p15:guide>
        <p15:guide id="36" pos="2795">
          <p15:clr>
            <a:srgbClr val="FBAE40"/>
          </p15:clr>
        </p15:guide>
        <p15:guide id="37" pos="2965">
          <p15:clr>
            <a:srgbClr val="FBAE40"/>
          </p15:clr>
        </p15:guide>
        <p15:guide id="38" orient="horz" pos="975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hree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92FE2FDE-BA9E-3DDC-55EF-5C7DA250BB4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086211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92FE2FDE-BA9E-3DDC-55EF-5C7DA250BB4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6192000" y="1116000"/>
            <a:ext cx="2700000" cy="2160000"/>
          </a:xfrm>
          <a:solidFill>
            <a:schemeClr val="bg1">
              <a:lumMod val="85000"/>
            </a:schemeClr>
          </a:solidFill>
        </p:spPr>
        <p:txBody>
          <a:bodyPr>
            <a:normAutofit/>
          </a:bodyPr>
          <a:lstStyle>
            <a:lvl1pPr marL="0" indent="0" algn="ctr" rtl="0">
              <a:buFontTx/>
              <a:buNone/>
              <a:defRPr/>
            </a:lvl1pPr>
          </a:lstStyle>
          <a:p>
            <a:r>
              <a:rPr lang="en-GB" noProof="0" dirty="0"/>
              <a:t>To insert a picture, click on the icon in the middle.</a:t>
            </a:r>
          </a:p>
        </p:txBody>
      </p:sp>
      <p:sp>
        <p:nvSpPr>
          <p:cNvPr id="19" name="Picture Placeholder 1"/>
          <p:cNvSpPr>
            <a:spLocks noGrp="1"/>
          </p:cNvSpPr>
          <p:nvPr>
            <p:ph type="pic" sz="quarter" idx="13" hasCustomPrompt="1"/>
          </p:nvPr>
        </p:nvSpPr>
        <p:spPr>
          <a:xfrm>
            <a:off x="252000" y="1116000"/>
            <a:ext cx="2700000" cy="2160000"/>
          </a:xfrm>
          <a:solidFill>
            <a:schemeClr val="bg1">
              <a:lumMod val="85000"/>
            </a:schemeClr>
          </a:solidFill>
        </p:spPr>
        <p:txBody>
          <a:bodyPr>
            <a:noAutofit/>
          </a:bodyPr>
          <a:lstStyle>
            <a:lvl1pPr marL="0" indent="0" algn="ctr" rtl="0">
              <a:buFontTx/>
              <a:buNone/>
              <a:defRPr/>
            </a:lvl1pPr>
          </a:lstStyle>
          <a:p>
            <a:r>
              <a:rPr lang="en-GB" noProof="0" dirty="0"/>
              <a:t>To insert a picture, click on the icon in the middle.</a:t>
            </a:r>
          </a:p>
        </p:txBody>
      </p:sp>
      <p:sp>
        <p:nvSpPr>
          <p:cNvPr id="17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fld id="{D56DB8AA-803C-49D2-90AA-1140CE72DCD7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16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3FA6674A-379C-44BF-AFC3-B54927CC5D08}" type="datetime4">
              <a:rPr lang="en-GB" smtClean="0"/>
              <a:pPr/>
              <a:t>14 March 2024</a:t>
            </a:fld>
            <a:endParaRPr lang="en-GB" dirty="0"/>
          </a:p>
        </p:txBody>
      </p:sp>
      <p:sp>
        <p:nvSpPr>
          <p:cNvPr id="18" name="Footer Placeholder 1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GB" dirty="0"/>
              <a:t>Munich Re Group – Company Presentation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GB" noProof="0" dirty="0"/>
              <a:t>Title 20 pt, two lines max. and three pictures with text</a:t>
            </a:r>
          </a:p>
        </p:txBody>
      </p:sp>
      <p:sp>
        <p:nvSpPr>
          <p:cNvPr id="20" name="Picture Placeholder 2"/>
          <p:cNvSpPr>
            <a:spLocks noGrp="1"/>
          </p:cNvSpPr>
          <p:nvPr>
            <p:ph type="pic" sz="quarter" idx="14" hasCustomPrompt="1"/>
          </p:nvPr>
        </p:nvSpPr>
        <p:spPr>
          <a:xfrm>
            <a:off x="3222000" y="1116000"/>
            <a:ext cx="2700000" cy="2160000"/>
          </a:xfrm>
          <a:solidFill>
            <a:schemeClr val="bg1">
              <a:lumMod val="85000"/>
            </a:schemeClr>
          </a:solidFill>
        </p:spPr>
        <p:txBody>
          <a:bodyPr>
            <a:noAutofit/>
          </a:bodyPr>
          <a:lstStyle>
            <a:lvl1pPr marL="0" indent="0" algn="ctr" rtl="0">
              <a:buFontTx/>
              <a:buNone/>
              <a:tabLst/>
              <a:defRPr/>
            </a:lvl1pPr>
          </a:lstStyle>
          <a:p>
            <a:r>
              <a:rPr lang="en-GB" noProof="0" dirty="0"/>
              <a:t>To insert a picture, click on the icon in the middle.</a:t>
            </a:r>
          </a:p>
        </p:txBody>
      </p:sp>
      <p:sp>
        <p:nvSpPr>
          <p:cNvPr id="23" name="Text  Placeholder 1"/>
          <p:cNvSpPr>
            <a:spLocks noGrp="1"/>
          </p:cNvSpPr>
          <p:nvPr>
            <p:ph type="body" sz="quarter" idx="16" hasCustomPrompt="1"/>
          </p:nvPr>
        </p:nvSpPr>
        <p:spPr>
          <a:xfrm>
            <a:off x="252000" y="3420000"/>
            <a:ext cx="2700000" cy="1440000"/>
          </a:xfrm>
        </p:spPr>
        <p:txBody>
          <a:bodyPr vert="horz" lIns="0" tIns="0" rIns="0" bIns="0" rtlCol="0">
            <a:noAutofit/>
          </a:bodyPr>
          <a:lstStyle>
            <a:lvl1pPr rtl="0">
              <a:spcAft>
                <a:spcPts val="0"/>
              </a:spcAft>
              <a:defRPr/>
            </a:lvl1pPr>
            <a:lvl2pPr rtl="0">
              <a:spcAft>
                <a:spcPts val="0"/>
              </a:spcAft>
              <a:defRPr/>
            </a:lvl2pPr>
            <a:lvl3pPr>
              <a:spcAft>
                <a:spcPts val="0"/>
              </a:spcAft>
              <a:defRPr/>
            </a:lvl3pPr>
            <a:lvl4pPr>
              <a:spcAft>
                <a:spcPts val="0"/>
              </a:spcAft>
              <a:defRPr/>
            </a:lvl4pPr>
            <a:lvl5pPr>
              <a:spcAft>
                <a:spcPts val="0"/>
              </a:spcAft>
              <a:defRPr/>
            </a:lvl5pPr>
            <a:lvl6pPr>
              <a:spcAft>
                <a:spcPts val="0"/>
              </a:spcAft>
              <a:defRPr/>
            </a:lvl6pPr>
            <a:lvl7pPr>
              <a:spcAft>
                <a:spcPts val="0"/>
              </a:spcAft>
            </a:lvl7pPr>
            <a:lvl8pPr>
              <a:spcAft>
                <a:spcPts val="0"/>
              </a:spcAft>
            </a:lvl8pPr>
            <a:lvl9pPr>
              <a:spcAft>
                <a:spcPts val="0"/>
              </a:spcAft>
            </a:lvl9pPr>
          </a:lstStyle>
          <a:p>
            <a:pPr lvl="0"/>
            <a:r>
              <a:rPr lang="en-GB" noProof="0" dirty="0"/>
              <a:t>To customise the hierarchy of points, use Start &gt; Paragraph &gt; Decrease / Increase List Level</a:t>
            </a:r>
          </a:p>
          <a:p>
            <a:pPr lvl="1"/>
            <a:r>
              <a:rPr lang="en-GB" noProof="0" dirty="0"/>
              <a:t>Second level</a:t>
            </a:r>
          </a:p>
        </p:txBody>
      </p:sp>
      <p:sp>
        <p:nvSpPr>
          <p:cNvPr id="24" name="Text Placeholder 2"/>
          <p:cNvSpPr>
            <a:spLocks noGrp="1"/>
          </p:cNvSpPr>
          <p:nvPr>
            <p:ph type="body" sz="quarter" idx="17" hasCustomPrompt="1"/>
          </p:nvPr>
        </p:nvSpPr>
        <p:spPr>
          <a:xfrm>
            <a:off x="3222000" y="3420000"/>
            <a:ext cx="2700000" cy="1440000"/>
          </a:xfrm>
        </p:spPr>
        <p:txBody>
          <a:bodyPr vert="horz" lIns="0" tIns="0" rIns="0" bIns="0" rtlCol="0">
            <a:noAutofit/>
          </a:bodyPr>
          <a:lstStyle>
            <a:lvl1pPr rtl="0">
              <a:defRPr lang="en-GB" noProof="0" dirty="0"/>
            </a:lvl1pPr>
            <a:lvl2pPr rtl="0">
              <a:defRPr lang="en-GB" noProof="0" dirty="0"/>
            </a:lvl2pPr>
          </a:lstStyle>
          <a:p>
            <a:pPr lvl="0">
              <a:spcAft>
                <a:spcPts val="0"/>
              </a:spcAft>
            </a:pPr>
            <a:r>
              <a:rPr lang="en-GB" noProof="0" dirty="0"/>
              <a:t>To customise the hierarchy of points, use Start &gt; Paragraph &gt; Decrease / Increase List Level.</a:t>
            </a:r>
          </a:p>
          <a:p>
            <a:pPr lvl="1">
              <a:spcAft>
                <a:spcPts val="0"/>
              </a:spcAft>
            </a:pPr>
            <a:r>
              <a:rPr lang="en-GB" noProof="0" dirty="0"/>
              <a:t>Second level</a:t>
            </a:r>
          </a:p>
        </p:txBody>
      </p:sp>
      <p:sp>
        <p:nvSpPr>
          <p:cNvPr id="25" name="Text Placeholder 3"/>
          <p:cNvSpPr>
            <a:spLocks noGrp="1"/>
          </p:cNvSpPr>
          <p:nvPr>
            <p:ph type="body" sz="quarter" idx="18" hasCustomPrompt="1"/>
          </p:nvPr>
        </p:nvSpPr>
        <p:spPr>
          <a:xfrm>
            <a:off x="6192000" y="3420000"/>
            <a:ext cx="2700000" cy="1440000"/>
          </a:xfrm>
        </p:spPr>
        <p:txBody>
          <a:bodyPr vert="horz" lIns="0" tIns="0" rIns="0" bIns="0" rtlCol="0">
            <a:noAutofit/>
          </a:bodyPr>
          <a:lstStyle>
            <a:lvl1pPr rtl="0">
              <a:spcAft>
                <a:spcPts val="0"/>
              </a:spcAft>
              <a:defRPr/>
            </a:lvl1pPr>
            <a:lvl2pPr rtl="0">
              <a:spcAft>
                <a:spcPts val="0"/>
              </a:spcAft>
              <a:defRPr/>
            </a:lvl2pPr>
            <a:lvl3pPr>
              <a:spcAft>
                <a:spcPts val="0"/>
              </a:spcAft>
              <a:defRPr/>
            </a:lvl3pPr>
            <a:lvl4pPr>
              <a:spcAft>
                <a:spcPts val="0"/>
              </a:spcAft>
              <a:defRPr/>
            </a:lvl4pPr>
            <a:lvl5pPr>
              <a:spcAft>
                <a:spcPts val="0"/>
              </a:spcAft>
              <a:defRPr/>
            </a:lvl5pPr>
            <a:lvl6pPr>
              <a:spcAft>
                <a:spcPts val="0"/>
              </a:spcAft>
              <a:defRPr/>
            </a:lvl6pPr>
            <a:lvl7pPr>
              <a:spcAft>
                <a:spcPts val="0"/>
              </a:spcAft>
            </a:lvl7pPr>
            <a:lvl8pPr>
              <a:spcAft>
                <a:spcPts val="0"/>
              </a:spcAft>
            </a:lvl8pPr>
            <a:lvl9pPr>
              <a:spcAft>
                <a:spcPts val="0"/>
              </a:spcAft>
            </a:lvl9pPr>
          </a:lstStyle>
          <a:p>
            <a:pPr lvl="0">
              <a:spcAft>
                <a:spcPts val="0"/>
              </a:spcAft>
            </a:pPr>
            <a:r>
              <a:rPr lang="en-GB" noProof="0" dirty="0"/>
              <a:t>To customise the hierarchy of points, use Start &gt; Paragraph &gt; Decrease / Increase List Level.</a:t>
            </a:r>
          </a:p>
          <a:p>
            <a:pPr lvl="1"/>
            <a:r>
              <a:rPr lang="en-GB" noProof="0" dirty="0"/>
              <a:t>Second level</a:t>
            </a:r>
          </a:p>
        </p:txBody>
      </p:sp>
      <p:sp>
        <p:nvSpPr>
          <p:cNvPr id="15" name="Source 1"/>
          <p:cNvSpPr>
            <a:spLocks noGrp="1"/>
          </p:cNvSpPr>
          <p:nvPr>
            <p:ph type="body" sz="quarter" idx="23" hasCustomPrompt="1"/>
          </p:nvPr>
        </p:nvSpPr>
        <p:spPr>
          <a:xfrm>
            <a:off x="576413" y="3114012"/>
            <a:ext cx="2376000" cy="162000"/>
          </a:xfrm>
        </p:spPr>
        <p:txBody>
          <a:bodyPr wrap="none" tIns="72000" rIns="36000" bIns="72000" anchor="ctr"/>
          <a:lstStyle>
            <a:lvl1pPr mar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6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Image: Please quote the image / source / name of  photographer</a:t>
            </a:r>
          </a:p>
        </p:txBody>
      </p:sp>
      <p:sp>
        <p:nvSpPr>
          <p:cNvPr id="14" name="Source 2"/>
          <p:cNvSpPr>
            <a:spLocks noGrp="1"/>
          </p:cNvSpPr>
          <p:nvPr>
            <p:ph type="body" sz="quarter" idx="22" hasCustomPrompt="1"/>
          </p:nvPr>
        </p:nvSpPr>
        <p:spPr>
          <a:xfrm>
            <a:off x="3528000" y="3114013"/>
            <a:ext cx="2376000" cy="162000"/>
          </a:xfrm>
        </p:spPr>
        <p:txBody>
          <a:bodyPr wrap="none" tIns="72000" rIns="36000" bIns="72000" anchor="ctr"/>
          <a:lstStyle>
            <a:lvl1pPr mar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6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Image: Please quote the image / source / name of  photographer</a:t>
            </a:r>
          </a:p>
        </p:txBody>
      </p:sp>
      <p:sp>
        <p:nvSpPr>
          <p:cNvPr id="13" name="Source 3"/>
          <p:cNvSpPr>
            <a:spLocks noGrp="1"/>
          </p:cNvSpPr>
          <p:nvPr>
            <p:ph type="body" sz="quarter" idx="12" hasCustomPrompt="1"/>
          </p:nvPr>
        </p:nvSpPr>
        <p:spPr>
          <a:xfrm>
            <a:off x="6515588" y="3112425"/>
            <a:ext cx="2376000" cy="162000"/>
          </a:xfrm>
        </p:spPr>
        <p:txBody>
          <a:bodyPr wrap="none" tIns="72000" rIns="36000" bIns="72000" anchor="ctr"/>
          <a:lstStyle>
            <a:lvl1pPr mar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6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Image: Please quote the image / source / name of  photographer</a:t>
            </a:r>
          </a:p>
        </p:txBody>
      </p:sp>
    </p:spTree>
    <p:extLst>
      <p:ext uri="{BB962C8B-B14F-4D97-AF65-F5344CB8AC3E}">
        <p14:creationId xmlns:p14="http://schemas.microsoft.com/office/powerpoint/2010/main" val="3058572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159">
          <p15:clr>
            <a:srgbClr val="F26B43"/>
          </p15:clr>
        </p15:guide>
        <p15:guide id="3" pos="499">
          <p15:clr>
            <a:srgbClr val="A4A3A4"/>
          </p15:clr>
        </p15:guide>
        <p15:guide id="4" pos="839">
          <p15:clr>
            <a:srgbClr val="A4A3A4"/>
          </p15:clr>
        </p15:guide>
        <p15:guide id="5" pos="1179">
          <p15:clr>
            <a:srgbClr val="A4A3A4"/>
          </p15:clr>
        </p15:guide>
        <p15:guide id="6" pos="1519">
          <p15:clr>
            <a:srgbClr val="A4A3A4"/>
          </p15:clr>
        </p15:guide>
        <p15:guide id="7" pos="1860">
          <p15:clr>
            <a:srgbClr val="FBAE40"/>
          </p15:clr>
        </p15:guide>
        <p15:guide id="8" pos="2200">
          <p15:clr>
            <a:srgbClr val="A4A3A4"/>
          </p15:clr>
        </p15:guide>
        <p15:guide id="9" pos="2540">
          <p15:clr>
            <a:srgbClr val="A4A3A4"/>
          </p15:clr>
        </p15:guide>
        <p15:guide id="10" pos="2880">
          <p15:clr>
            <a:srgbClr val="A4A3A4"/>
          </p15:clr>
        </p15:guide>
        <p15:guide id="11" pos="3220">
          <p15:clr>
            <a:srgbClr val="A4A3A4"/>
          </p15:clr>
        </p15:guide>
        <p15:guide id="12" pos="3560">
          <p15:clr>
            <a:srgbClr val="A4A3A4"/>
          </p15:clr>
        </p15:guide>
        <p15:guide id="13" pos="3900">
          <p15:clr>
            <a:srgbClr val="FBAE40"/>
          </p15:clr>
        </p15:guide>
        <p15:guide id="14" pos="4241">
          <p15:clr>
            <a:srgbClr val="A4A3A4"/>
          </p15:clr>
        </p15:guide>
        <p15:guide id="15" pos="4581">
          <p15:clr>
            <a:srgbClr val="A4A3A4"/>
          </p15:clr>
        </p15:guide>
        <p15:guide id="16" pos="4921">
          <p15:clr>
            <a:srgbClr val="A4A3A4"/>
          </p15:clr>
        </p15:guide>
        <p15:guide id="17" pos="5261">
          <p15:clr>
            <a:srgbClr val="A4A3A4"/>
          </p15:clr>
        </p15:guide>
        <p15:guide id="18" pos="5601">
          <p15:clr>
            <a:srgbClr val="F26B43"/>
          </p15:clr>
        </p15:guide>
        <p15:guide id="19" orient="horz" pos="159">
          <p15:clr>
            <a:srgbClr val="F26B43"/>
          </p15:clr>
        </p15:guide>
        <p15:guide id="20" orient="horz" pos="340">
          <p15:clr>
            <a:srgbClr val="A4A3A4"/>
          </p15:clr>
        </p15:guide>
        <p15:guide id="21" orient="horz" pos="522">
          <p15:clr>
            <a:srgbClr val="A4A3A4"/>
          </p15:clr>
        </p15:guide>
        <p15:guide id="22" orient="horz" pos="703">
          <p15:clr>
            <a:srgbClr val="F26B43"/>
          </p15:clr>
        </p15:guide>
        <p15:guide id="23" orient="horz" pos="884">
          <p15:clr>
            <a:srgbClr val="A4A3A4"/>
          </p15:clr>
        </p15:guide>
        <p15:guide id="24" orient="horz" pos="1066">
          <p15:clr>
            <a:srgbClr val="A4A3A4"/>
          </p15:clr>
        </p15:guide>
        <p15:guide id="25" orient="horz" pos="1247">
          <p15:clr>
            <a:srgbClr val="A4A3A4"/>
          </p15:clr>
        </p15:guide>
        <p15:guide id="26" orient="horz" pos="1429">
          <p15:clr>
            <a:srgbClr val="A4A3A4"/>
          </p15:clr>
        </p15:guide>
        <p15:guide id="27" orient="horz" pos="1610">
          <p15:clr>
            <a:srgbClr val="A4A3A4"/>
          </p15:clr>
        </p15:guide>
        <p15:guide id="28" orient="horz" pos="1791">
          <p15:clr>
            <a:srgbClr val="A4A3A4"/>
          </p15:clr>
        </p15:guide>
        <p15:guide id="29" orient="horz" pos="1973">
          <p15:clr>
            <a:srgbClr val="A4A3A4"/>
          </p15:clr>
        </p15:guide>
        <p15:guide id="30" orient="horz" pos="2154">
          <p15:clr>
            <a:srgbClr val="FBAE40"/>
          </p15:clr>
        </p15:guide>
        <p15:guide id="31" orient="horz" pos="2336">
          <p15:clr>
            <a:srgbClr val="A4A3A4"/>
          </p15:clr>
        </p15:guide>
        <p15:guide id="32" orient="horz" pos="2517">
          <p15:clr>
            <a:srgbClr val="A4A3A4"/>
          </p15:clr>
        </p15:guide>
        <p15:guide id="33" orient="horz" pos="2699">
          <p15:clr>
            <a:srgbClr val="A4A3A4"/>
          </p15:clr>
        </p15:guide>
        <p15:guide id="34" orient="horz" pos="2880">
          <p15:clr>
            <a:srgbClr val="A4A3A4"/>
          </p15:clr>
        </p15:guide>
        <p15:guide id="35" orient="horz" pos="3061">
          <p15:clr>
            <a:srgbClr val="F26B43"/>
          </p15:clr>
        </p15:guide>
        <p15:guide id="36" pos="2030">
          <p15:clr>
            <a:srgbClr val="FBAE40"/>
          </p15:clr>
        </p15:guide>
        <p15:guide id="37" pos="3730">
          <p15:clr>
            <a:srgbClr val="FBAE40"/>
          </p15:clr>
        </p15:guide>
        <p15:guide id="39" orient="horz" pos="2064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B23D2D16-EFE7-764A-4A59-80EC702BA78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604600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B23D2D16-EFE7-764A-4A59-80EC702BA78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fld id="{D56DB8AA-803C-49D2-90AA-1140CE72DCD7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16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64024573-0DE0-458A-B011-9B07A136B01F}" type="datetime4">
              <a:rPr lang="en-GB" smtClean="0"/>
              <a:pPr/>
              <a:t>14 March 2024</a:t>
            </a:fld>
            <a:endParaRPr lang="en-GB" dirty="0"/>
          </a:p>
        </p:txBody>
      </p:sp>
      <p:sp>
        <p:nvSpPr>
          <p:cNvPr id="18" name="Footer Placeholder 1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GB" dirty="0"/>
              <a:t>Munich Re Group – Company Presentation</a:t>
            </a:r>
          </a:p>
        </p:txBody>
      </p:sp>
      <p:sp>
        <p:nvSpPr>
          <p:cNvPr id="12" name="Titel 1"/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GB" noProof="0" dirty="0"/>
              <a:t>Title 20 pt, two lines max. and three pictures with text</a:t>
            </a:r>
          </a:p>
        </p:txBody>
      </p:sp>
      <p:sp>
        <p:nvSpPr>
          <p:cNvPr id="5" name="Content Placeholder 1"/>
          <p:cNvSpPr>
            <a:spLocks noGrp="1"/>
          </p:cNvSpPr>
          <p:nvPr>
            <p:ph sz="quarter" idx="13" hasCustomPrompt="1"/>
          </p:nvPr>
        </p:nvSpPr>
        <p:spPr>
          <a:xfrm>
            <a:off x="252000" y="1116000"/>
            <a:ext cx="2700000" cy="3744000"/>
          </a:xfrm>
        </p:spPr>
        <p:txBody>
          <a:bodyPr lIns="0" tIns="0" rIns="0" bIns="0"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GB" dirty="0"/>
              <a:t>To customise the hierarchy of points, use Start &gt; Paragraph &gt; Decrease / Increase List Level.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6" name="Content Placeholder 3"/>
          <p:cNvSpPr>
            <a:spLocks noGrp="1"/>
          </p:cNvSpPr>
          <p:nvPr>
            <p:ph sz="quarter" idx="15" hasCustomPrompt="1"/>
          </p:nvPr>
        </p:nvSpPr>
        <p:spPr>
          <a:xfrm>
            <a:off x="6192000" y="1116000"/>
            <a:ext cx="2700000" cy="3744000"/>
          </a:xfrm>
        </p:spPr>
        <p:txBody>
          <a:bodyPr lIns="0" tIns="0" rIns="0" bIns="0"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GB" dirty="0"/>
              <a:t>To customise the hierarchy of points, use Start &gt; Paragraph &gt; Decrease / Increase List Level.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sz="quarter" idx="14" hasCustomPrompt="1"/>
          </p:nvPr>
        </p:nvSpPr>
        <p:spPr>
          <a:xfrm>
            <a:off x="3222000" y="1116000"/>
            <a:ext cx="2700000" cy="3744000"/>
          </a:xfrm>
        </p:spPr>
        <p:txBody>
          <a:bodyPr lIns="0" tIns="0" rIns="0" bIns="0"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GB" dirty="0"/>
              <a:t>To customise the hierarchy of points, use Start &gt; Paragraph &gt; Decrease / Increase List Level.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3301912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159">
          <p15:clr>
            <a:srgbClr val="F26B43"/>
          </p15:clr>
        </p15:guide>
        <p15:guide id="3" pos="499">
          <p15:clr>
            <a:srgbClr val="A4A3A4"/>
          </p15:clr>
        </p15:guide>
        <p15:guide id="4" pos="839">
          <p15:clr>
            <a:srgbClr val="A4A3A4"/>
          </p15:clr>
        </p15:guide>
        <p15:guide id="5" pos="1179">
          <p15:clr>
            <a:srgbClr val="A4A3A4"/>
          </p15:clr>
        </p15:guide>
        <p15:guide id="6" pos="1519">
          <p15:clr>
            <a:srgbClr val="A4A3A4"/>
          </p15:clr>
        </p15:guide>
        <p15:guide id="7" pos="1860">
          <p15:clr>
            <a:srgbClr val="FBAE40"/>
          </p15:clr>
        </p15:guide>
        <p15:guide id="8" pos="2200">
          <p15:clr>
            <a:srgbClr val="A4A3A4"/>
          </p15:clr>
        </p15:guide>
        <p15:guide id="9" pos="2540">
          <p15:clr>
            <a:srgbClr val="A4A3A4"/>
          </p15:clr>
        </p15:guide>
        <p15:guide id="10" pos="2880">
          <p15:clr>
            <a:srgbClr val="A4A3A4"/>
          </p15:clr>
        </p15:guide>
        <p15:guide id="11" pos="3220">
          <p15:clr>
            <a:srgbClr val="A4A3A4"/>
          </p15:clr>
        </p15:guide>
        <p15:guide id="12" pos="3560">
          <p15:clr>
            <a:srgbClr val="A4A3A4"/>
          </p15:clr>
        </p15:guide>
        <p15:guide id="13" pos="3900">
          <p15:clr>
            <a:srgbClr val="FBAE40"/>
          </p15:clr>
        </p15:guide>
        <p15:guide id="14" pos="4241">
          <p15:clr>
            <a:srgbClr val="A4A3A4"/>
          </p15:clr>
        </p15:guide>
        <p15:guide id="15" pos="4581">
          <p15:clr>
            <a:srgbClr val="A4A3A4"/>
          </p15:clr>
        </p15:guide>
        <p15:guide id="16" pos="4921">
          <p15:clr>
            <a:srgbClr val="A4A3A4"/>
          </p15:clr>
        </p15:guide>
        <p15:guide id="17" pos="5261">
          <p15:clr>
            <a:srgbClr val="A4A3A4"/>
          </p15:clr>
        </p15:guide>
        <p15:guide id="18" pos="5601">
          <p15:clr>
            <a:srgbClr val="F26B43"/>
          </p15:clr>
        </p15:guide>
        <p15:guide id="19" orient="horz" pos="159">
          <p15:clr>
            <a:srgbClr val="F26B43"/>
          </p15:clr>
        </p15:guide>
        <p15:guide id="20" orient="horz" pos="340">
          <p15:clr>
            <a:srgbClr val="A4A3A4"/>
          </p15:clr>
        </p15:guide>
        <p15:guide id="21" orient="horz" pos="522">
          <p15:clr>
            <a:srgbClr val="A4A3A4"/>
          </p15:clr>
        </p15:guide>
        <p15:guide id="22" orient="horz" pos="703">
          <p15:clr>
            <a:srgbClr val="F26B43"/>
          </p15:clr>
        </p15:guide>
        <p15:guide id="23" orient="horz" pos="884">
          <p15:clr>
            <a:srgbClr val="A4A3A4"/>
          </p15:clr>
        </p15:guide>
        <p15:guide id="24" orient="horz" pos="1066">
          <p15:clr>
            <a:srgbClr val="A4A3A4"/>
          </p15:clr>
        </p15:guide>
        <p15:guide id="25" orient="horz" pos="1247">
          <p15:clr>
            <a:srgbClr val="A4A3A4"/>
          </p15:clr>
        </p15:guide>
        <p15:guide id="26" orient="horz" pos="1429">
          <p15:clr>
            <a:srgbClr val="A4A3A4"/>
          </p15:clr>
        </p15:guide>
        <p15:guide id="27" orient="horz" pos="1610">
          <p15:clr>
            <a:srgbClr val="A4A3A4"/>
          </p15:clr>
        </p15:guide>
        <p15:guide id="28" orient="horz" pos="1791">
          <p15:clr>
            <a:srgbClr val="A4A3A4"/>
          </p15:clr>
        </p15:guide>
        <p15:guide id="29" orient="horz" pos="1973">
          <p15:clr>
            <a:srgbClr val="A4A3A4"/>
          </p15:clr>
        </p15:guide>
        <p15:guide id="30" orient="horz" pos="2154">
          <p15:clr>
            <a:srgbClr val="A4A3A4"/>
          </p15:clr>
        </p15:guide>
        <p15:guide id="31" orient="horz" pos="2336">
          <p15:clr>
            <a:srgbClr val="A4A3A4"/>
          </p15:clr>
        </p15:guide>
        <p15:guide id="32" orient="horz" pos="2517">
          <p15:clr>
            <a:srgbClr val="A4A3A4"/>
          </p15:clr>
        </p15:guide>
        <p15:guide id="33" orient="horz" pos="2699">
          <p15:clr>
            <a:srgbClr val="A4A3A4"/>
          </p15:clr>
        </p15:guide>
        <p15:guide id="34" orient="horz" pos="2880">
          <p15:clr>
            <a:srgbClr val="A4A3A4"/>
          </p15:clr>
        </p15:guide>
        <p15:guide id="35" orient="horz" pos="3061">
          <p15:clr>
            <a:srgbClr val="F26B43"/>
          </p15:clr>
        </p15:guide>
        <p15:guide id="36" pos="2030">
          <p15:clr>
            <a:srgbClr val="FBAE40"/>
          </p15:clr>
        </p15:guide>
        <p15:guide id="37" pos="3730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91C5DF98-EEA9-5914-F5EB-CF1E47F1BAB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974857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91C5DF98-EEA9-5914-F5EB-CF1E47F1BAB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fld id="{D56DB8AA-803C-49D2-90AA-1140CE72DCD7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13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6AD28CF3-5B40-4C38-860F-1811D570CA58}" type="datetime4">
              <a:rPr lang="en-GB" smtClean="0"/>
              <a:pPr/>
              <a:t>14 March 2024</a:t>
            </a:fld>
            <a:endParaRPr lang="en-GB" dirty="0"/>
          </a:p>
        </p:txBody>
      </p:sp>
      <p:sp>
        <p:nvSpPr>
          <p:cNvPr id="15" name="Footer Placeholder 1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GB" dirty="0"/>
              <a:t>Munich Re Group – Company Presentation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GB" dirty="0"/>
              <a:t>Title 20 pt, two lines max. and four content blocks</a:t>
            </a:r>
          </a:p>
        </p:txBody>
      </p:sp>
      <p:sp>
        <p:nvSpPr>
          <p:cNvPr id="5" name="Content Placeholder 1"/>
          <p:cNvSpPr>
            <a:spLocks noGrp="1"/>
          </p:cNvSpPr>
          <p:nvPr>
            <p:ph sz="quarter" idx="13" hasCustomPrompt="1"/>
          </p:nvPr>
        </p:nvSpPr>
        <p:spPr>
          <a:xfrm>
            <a:off x="252000" y="1116000"/>
            <a:ext cx="4185000" cy="1728000"/>
          </a:xfrm>
        </p:spPr>
        <p:txBody>
          <a:bodyPr lIns="0" tIns="0" rIns="0" bIns="0"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GB" dirty="0"/>
              <a:t>To customise the hierarchy of points, use </a:t>
            </a:r>
            <a:br>
              <a:rPr lang="en-GB" dirty="0"/>
            </a:br>
            <a:r>
              <a:rPr lang="en-GB" dirty="0"/>
              <a:t>Start &gt; Paragraph &gt; Decrease/Increase List Level.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sz="quarter" idx="14" hasCustomPrompt="1"/>
          </p:nvPr>
        </p:nvSpPr>
        <p:spPr>
          <a:xfrm>
            <a:off x="252000" y="3132000"/>
            <a:ext cx="4185000" cy="1728000"/>
          </a:xfrm>
        </p:spPr>
        <p:txBody>
          <a:bodyPr lIns="0" tIns="0" rIns="0" bIns="0"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GB" dirty="0"/>
              <a:t>To customise the hierarchy of points, use </a:t>
            </a:r>
            <a:br>
              <a:rPr lang="en-GB" dirty="0"/>
            </a:br>
            <a:r>
              <a:rPr lang="en-GB" dirty="0"/>
              <a:t>Start &gt; Paragraph &gt; Decrease/Increase List Level.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76" name="Content Placeholder 3"/>
          <p:cNvSpPr>
            <a:spLocks noGrp="1"/>
          </p:cNvSpPr>
          <p:nvPr>
            <p:ph sz="quarter" idx="15" hasCustomPrompt="1"/>
          </p:nvPr>
        </p:nvSpPr>
        <p:spPr>
          <a:xfrm>
            <a:off x="4707000" y="1116000"/>
            <a:ext cx="4185000" cy="1728000"/>
          </a:xfrm>
        </p:spPr>
        <p:txBody>
          <a:bodyPr lIns="0" tIns="0" rIns="0" bIns="0"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GB" dirty="0"/>
              <a:t>To customise the hierarchy of points, use </a:t>
            </a:r>
            <a:br>
              <a:rPr lang="en-GB" dirty="0"/>
            </a:br>
            <a:r>
              <a:rPr lang="en-GB" dirty="0"/>
              <a:t>Start &gt; Paragraph &gt; Decrease/Increase List Level.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77" name="Content Placeholder 4">
            <a:extLst>
              <a:ext uri="{FF2B5EF4-FFF2-40B4-BE49-F238E27FC236}">
                <a16:creationId xmlns:a16="http://schemas.microsoft.com/office/drawing/2014/main" id="{4900E005-09BF-4AA0-A122-10A29CE35E41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707000" y="3132000"/>
            <a:ext cx="4185000" cy="1728000"/>
          </a:xfrm>
        </p:spPr>
        <p:txBody>
          <a:bodyPr lIns="0" tIns="0" rIns="0" bIns="0"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GB" dirty="0"/>
              <a:t>To customise the hierarchy of points, use </a:t>
            </a:r>
            <a:br>
              <a:rPr lang="en-GB" dirty="0"/>
            </a:br>
            <a:r>
              <a:rPr lang="en-GB" dirty="0"/>
              <a:t>Start &gt; Paragraph &gt; Decrease/Increase List Level.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4090442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159">
          <p15:clr>
            <a:srgbClr val="F26B43"/>
          </p15:clr>
        </p15:guide>
        <p15:guide id="3" pos="499">
          <p15:clr>
            <a:srgbClr val="A4A3A4"/>
          </p15:clr>
        </p15:guide>
        <p15:guide id="4" pos="839">
          <p15:clr>
            <a:srgbClr val="A4A3A4"/>
          </p15:clr>
        </p15:guide>
        <p15:guide id="5" pos="1179">
          <p15:clr>
            <a:srgbClr val="A4A3A4"/>
          </p15:clr>
        </p15:guide>
        <p15:guide id="6" pos="1519">
          <p15:clr>
            <a:srgbClr val="A4A3A4"/>
          </p15:clr>
        </p15:guide>
        <p15:guide id="7" pos="1860">
          <p15:clr>
            <a:srgbClr val="A4A3A4"/>
          </p15:clr>
        </p15:guide>
        <p15:guide id="8" pos="2200">
          <p15:clr>
            <a:srgbClr val="A4A3A4"/>
          </p15:clr>
        </p15:guide>
        <p15:guide id="9" pos="2540">
          <p15:clr>
            <a:srgbClr val="A4A3A4"/>
          </p15:clr>
        </p15:guide>
        <p15:guide id="10" pos="2880">
          <p15:clr>
            <a:srgbClr val="A4A3A4"/>
          </p15:clr>
        </p15:guide>
        <p15:guide id="11" pos="3220">
          <p15:clr>
            <a:srgbClr val="A4A3A4"/>
          </p15:clr>
        </p15:guide>
        <p15:guide id="12" pos="3560">
          <p15:clr>
            <a:srgbClr val="A4A3A4"/>
          </p15:clr>
        </p15:guide>
        <p15:guide id="13" pos="3900">
          <p15:clr>
            <a:srgbClr val="A4A3A4"/>
          </p15:clr>
        </p15:guide>
        <p15:guide id="14" pos="4241">
          <p15:clr>
            <a:srgbClr val="A4A3A4"/>
          </p15:clr>
        </p15:guide>
        <p15:guide id="15" pos="4581">
          <p15:clr>
            <a:srgbClr val="A4A3A4"/>
          </p15:clr>
        </p15:guide>
        <p15:guide id="16" pos="4921">
          <p15:clr>
            <a:srgbClr val="A4A3A4"/>
          </p15:clr>
        </p15:guide>
        <p15:guide id="17" pos="5261">
          <p15:clr>
            <a:srgbClr val="A4A3A4"/>
          </p15:clr>
        </p15:guide>
        <p15:guide id="18" pos="5601">
          <p15:clr>
            <a:srgbClr val="F26B43"/>
          </p15:clr>
        </p15:guide>
        <p15:guide id="19" orient="horz" pos="159">
          <p15:clr>
            <a:srgbClr val="F26B43"/>
          </p15:clr>
        </p15:guide>
        <p15:guide id="20" orient="horz" pos="340">
          <p15:clr>
            <a:srgbClr val="A4A3A4"/>
          </p15:clr>
        </p15:guide>
        <p15:guide id="21" orient="horz" pos="522">
          <p15:clr>
            <a:srgbClr val="A4A3A4"/>
          </p15:clr>
        </p15:guide>
        <p15:guide id="22" orient="horz" pos="703">
          <p15:clr>
            <a:srgbClr val="F26B43"/>
          </p15:clr>
        </p15:guide>
        <p15:guide id="23" orient="horz" pos="884">
          <p15:clr>
            <a:srgbClr val="A4A3A4"/>
          </p15:clr>
        </p15:guide>
        <p15:guide id="24" orient="horz" pos="1066">
          <p15:clr>
            <a:srgbClr val="A4A3A4"/>
          </p15:clr>
        </p15:guide>
        <p15:guide id="25" orient="horz" pos="1247">
          <p15:clr>
            <a:srgbClr val="A4A3A4"/>
          </p15:clr>
        </p15:guide>
        <p15:guide id="26" orient="horz" pos="1429">
          <p15:clr>
            <a:srgbClr val="A4A3A4"/>
          </p15:clr>
        </p15:guide>
        <p15:guide id="27" orient="horz" pos="1610">
          <p15:clr>
            <a:srgbClr val="A4A3A4"/>
          </p15:clr>
        </p15:guide>
        <p15:guide id="28" orient="horz" pos="1791">
          <p15:clr>
            <a:srgbClr val="FBAE40"/>
          </p15:clr>
        </p15:guide>
        <p15:guide id="29" orient="horz" pos="1973">
          <p15:clr>
            <a:srgbClr val="FBAE40"/>
          </p15:clr>
        </p15:guide>
        <p15:guide id="30" orient="horz" pos="2154">
          <p15:clr>
            <a:srgbClr val="A4A3A4"/>
          </p15:clr>
        </p15:guide>
        <p15:guide id="31" orient="horz" pos="2336">
          <p15:clr>
            <a:srgbClr val="A4A3A4"/>
          </p15:clr>
        </p15:guide>
        <p15:guide id="32" orient="horz" pos="2517">
          <p15:clr>
            <a:srgbClr val="A4A3A4"/>
          </p15:clr>
        </p15:guide>
        <p15:guide id="33" orient="horz" pos="2699">
          <p15:clr>
            <a:srgbClr val="A4A3A4"/>
          </p15:clr>
        </p15:guide>
        <p15:guide id="34" orient="horz" pos="2880">
          <p15:clr>
            <a:srgbClr val="A4A3A4"/>
          </p15:clr>
        </p15:guide>
        <p15:guide id="35" orient="horz" pos="3061">
          <p15:clr>
            <a:srgbClr val="F26B43"/>
          </p15:clr>
        </p15:guide>
        <p15:guide id="36" pos="2965">
          <p15:clr>
            <a:srgbClr val="FBAE40"/>
          </p15:clr>
        </p15:guide>
        <p15:guide id="37" pos="2795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Title and content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04139DA5-E2D2-91C3-9F0E-96FE7CE63E2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213790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04139DA5-E2D2-91C3-9F0E-96FE7CE63E2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fld id="{D56DB8AA-803C-49D2-90AA-1140CE72DCD7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1C90FDEB-B63C-43B9-8D64-A24FAB6DE3A7}" type="datetime4">
              <a:rPr lang="en-GB" smtClean="0"/>
              <a:pPr/>
              <a:t>14 March 2024</a:t>
            </a:fld>
            <a:endParaRPr lang="en-GB" dirty="0"/>
          </a:p>
        </p:txBody>
      </p:sp>
      <p:sp>
        <p:nvSpPr>
          <p:cNvPr id="16" name="Footer Placeholder 1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GB" dirty="0"/>
              <a:t>Munich Re Group – Company Presentation</a:t>
            </a:r>
          </a:p>
        </p:txBody>
      </p:sp>
      <p:sp>
        <p:nvSpPr>
          <p:cNvPr id="8" name="Titel 1"/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GB" noProof="0" dirty="0"/>
              <a:t>Title 20 pt, two lines max. and contents with comments column</a:t>
            </a:r>
          </a:p>
        </p:txBody>
      </p:sp>
      <p:sp>
        <p:nvSpPr>
          <p:cNvPr id="12" name="Heading Placeholder 1"/>
          <p:cNvSpPr>
            <a:spLocks noGrp="1"/>
          </p:cNvSpPr>
          <p:nvPr>
            <p:ph type="body" sz="quarter" idx="1" hasCustomPrompt="1"/>
          </p:nvPr>
        </p:nvSpPr>
        <p:spPr>
          <a:xfrm>
            <a:off x="252000" y="1116000"/>
            <a:ext cx="8640000" cy="288000"/>
          </a:xfrm>
        </p:spPr>
        <p:txBody>
          <a:bodyPr wrap="square" lIns="0" tIns="0" rIns="0" bIns="0" anchor="t">
            <a:noAutofit/>
          </a:bodyPr>
          <a:lstStyle>
            <a:lvl1pPr marL="0" indent="0" rtl="0">
              <a:lnSpc>
                <a:spcPct val="100000"/>
              </a:lnSpc>
              <a:spcAft>
                <a:spcPts val="0"/>
              </a:spcAft>
              <a:buFontTx/>
              <a:buNone/>
              <a:defRPr sz="16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noProof="0" dirty="0"/>
              <a:t>Heading 16 pt, single line</a:t>
            </a:r>
          </a:p>
        </p:txBody>
      </p:sp>
      <p:sp>
        <p:nvSpPr>
          <p:cNvPr id="14" name="Content Placeholder 1"/>
          <p:cNvSpPr>
            <a:spLocks noGrp="1"/>
          </p:cNvSpPr>
          <p:nvPr>
            <p:ph sz="quarter" idx="19" hasCustomPrompt="1"/>
          </p:nvPr>
        </p:nvSpPr>
        <p:spPr>
          <a:xfrm>
            <a:off x="252000" y="1548000"/>
            <a:ext cx="5400000" cy="3312000"/>
          </a:xfrm>
          <a:effectLst/>
        </p:spPr>
        <p:txBody>
          <a:bodyPr lIns="0" tIns="0">
            <a:noAutofit/>
          </a:bodyPr>
          <a:lstStyle>
            <a:lvl1pPr marL="0" indent="0" rtl="0">
              <a:spcAft>
                <a:spcPts val="0"/>
              </a:spcAft>
              <a:buFontTx/>
              <a:buNone/>
              <a:defRPr/>
            </a:lvl1pPr>
          </a:lstStyle>
          <a:p>
            <a:pPr lvl="0"/>
            <a:r>
              <a:rPr lang="en-GB" dirty="0"/>
              <a:t>To insert a table, chart, SmartArt graphic, picture or online graphic, click on the icon in the </a:t>
            </a:r>
            <a:r>
              <a:rPr lang="en-GB"/>
              <a:t>middle.</a:t>
            </a:r>
            <a:endParaRPr lang="en-GB" dirty="0"/>
          </a:p>
        </p:txBody>
      </p:sp>
      <p:sp>
        <p:nvSpPr>
          <p:cNvPr id="13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5922000" y="1548000"/>
            <a:ext cx="2970000" cy="3312000"/>
          </a:xfrm>
          <a:effectLst/>
        </p:spPr>
        <p:txBody>
          <a:bodyPr lIns="0" tIns="0" rIns="108000" bIns="0">
            <a:noAutofit/>
          </a:bodyPr>
          <a:lstStyle>
            <a:lvl1pPr algn="l" rtl="0">
              <a:defRPr/>
            </a:lvl1pPr>
            <a:lvl2pPr algn="l" rtl="0">
              <a:defRPr/>
            </a:lvl2pPr>
            <a:lvl3pPr algn="l" rtl="0">
              <a:defRPr/>
            </a:lvl3pPr>
            <a:lvl4pPr algn="l" rtl="0">
              <a:defRPr/>
            </a:lvl4pPr>
          </a:lstStyle>
          <a:p>
            <a:pPr lvl="0"/>
            <a:r>
              <a:rPr lang="en-GB" noProof="0" dirty="0"/>
              <a:t>To customise the hierarchy of points, use Start &gt; Paragraph &gt; Decrease / Increase List Level.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0978228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159">
          <p15:clr>
            <a:srgbClr val="F26B43"/>
          </p15:clr>
        </p15:guide>
        <p15:guide id="3" pos="499">
          <p15:clr>
            <a:srgbClr val="A4A3A4"/>
          </p15:clr>
        </p15:guide>
        <p15:guide id="4" pos="839">
          <p15:clr>
            <a:srgbClr val="A4A3A4"/>
          </p15:clr>
        </p15:guide>
        <p15:guide id="5" pos="1179">
          <p15:clr>
            <a:srgbClr val="A4A3A4"/>
          </p15:clr>
        </p15:guide>
        <p15:guide id="6" pos="1519">
          <p15:clr>
            <a:srgbClr val="A4A3A4"/>
          </p15:clr>
        </p15:guide>
        <p15:guide id="7" pos="1860">
          <p15:clr>
            <a:srgbClr val="A4A3A4"/>
          </p15:clr>
        </p15:guide>
        <p15:guide id="8" pos="2200">
          <p15:clr>
            <a:srgbClr val="A4A3A4"/>
          </p15:clr>
        </p15:guide>
        <p15:guide id="9" pos="2540">
          <p15:clr>
            <a:srgbClr val="A4A3A4"/>
          </p15:clr>
        </p15:guide>
        <p15:guide id="10" pos="2880">
          <p15:clr>
            <a:srgbClr val="A4A3A4"/>
          </p15:clr>
        </p15:guide>
        <p15:guide id="11" pos="3220">
          <p15:clr>
            <a:srgbClr val="A4A3A4"/>
          </p15:clr>
        </p15:guide>
        <p15:guide id="12" pos="3560">
          <p15:clr>
            <a:srgbClr val="FBAE40"/>
          </p15:clr>
        </p15:guide>
        <p15:guide id="13" pos="3900">
          <p15:clr>
            <a:srgbClr val="A4A3A4"/>
          </p15:clr>
        </p15:guide>
        <p15:guide id="14" pos="4241">
          <p15:clr>
            <a:srgbClr val="A4A3A4"/>
          </p15:clr>
        </p15:guide>
        <p15:guide id="15" pos="4581">
          <p15:clr>
            <a:srgbClr val="A4A3A4"/>
          </p15:clr>
        </p15:guide>
        <p15:guide id="16" pos="4921">
          <p15:clr>
            <a:srgbClr val="A4A3A4"/>
          </p15:clr>
        </p15:guide>
        <p15:guide id="17" pos="5261">
          <p15:clr>
            <a:srgbClr val="A4A3A4"/>
          </p15:clr>
        </p15:guide>
        <p15:guide id="18" pos="5601">
          <p15:clr>
            <a:srgbClr val="F26B43"/>
          </p15:clr>
        </p15:guide>
        <p15:guide id="19" orient="horz" pos="159">
          <p15:clr>
            <a:srgbClr val="F26B43"/>
          </p15:clr>
        </p15:guide>
        <p15:guide id="20" orient="horz" pos="340">
          <p15:clr>
            <a:srgbClr val="A4A3A4"/>
          </p15:clr>
        </p15:guide>
        <p15:guide id="21" orient="horz" pos="522">
          <p15:clr>
            <a:srgbClr val="A4A3A4"/>
          </p15:clr>
        </p15:guide>
        <p15:guide id="22" orient="horz" pos="703">
          <p15:clr>
            <a:srgbClr val="F26B43"/>
          </p15:clr>
        </p15:guide>
        <p15:guide id="23" orient="horz" pos="884">
          <p15:clr>
            <a:srgbClr val="FBAE40"/>
          </p15:clr>
        </p15:guide>
        <p15:guide id="24" orient="horz" pos="1066">
          <p15:clr>
            <a:srgbClr val="A4A3A4"/>
          </p15:clr>
        </p15:guide>
        <p15:guide id="25" orient="horz" pos="1247">
          <p15:clr>
            <a:srgbClr val="A4A3A4"/>
          </p15:clr>
        </p15:guide>
        <p15:guide id="26" orient="horz" pos="1429">
          <p15:clr>
            <a:srgbClr val="A4A3A4"/>
          </p15:clr>
        </p15:guide>
        <p15:guide id="27" orient="horz" pos="1610">
          <p15:clr>
            <a:srgbClr val="A4A3A4"/>
          </p15:clr>
        </p15:guide>
        <p15:guide id="28" orient="horz" pos="1791">
          <p15:clr>
            <a:srgbClr val="A4A3A4"/>
          </p15:clr>
        </p15:guide>
        <p15:guide id="29" orient="horz" pos="1973">
          <p15:clr>
            <a:srgbClr val="A4A3A4"/>
          </p15:clr>
        </p15:guide>
        <p15:guide id="30" orient="horz" pos="2154">
          <p15:clr>
            <a:srgbClr val="A4A3A4"/>
          </p15:clr>
        </p15:guide>
        <p15:guide id="31" orient="horz" pos="2336">
          <p15:clr>
            <a:srgbClr val="A4A3A4"/>
          </p15:clr>
        </p15:guide>
        <p15:guide id="32" orient="horz" pos="2517">
          <p15:clr>
            <a:srgbClr val="A4A3A4"/>
          </p15:clr>
        </p15:guide>
        <p15:guide id="33" orient="horz" pos="2699">
          <p15:clr>
            <a:srgbClr val="A4A3A4"/>
          </p15:clr>
        </p15:guide>
        <p15:guide id="34" orient="horz" pos="2880">
          <p15:clr>
            <a:srgbClr val="A4A3A4"/>
          </p15:clr>
        </p15:guide>
        <p15:guide id="35" orient="horz" pos="3061">
          <p15:clr>
            <a:srgbClr val="F26B43"/>
          </p15:clr>
        </p15:guide>
        <p15:guide id="36" orient="horz" pos="975">
          <p15:clr>
            <a:srgbClr val="FBAE40"/>
          </p15:clr>
        </p15:guide>
        <p15:guide id="37" pos="3730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paration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1488C8B8-9EAB-95AB-B706-CBC99516A5B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872075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1488C8B8-9EAB-95AB-B706-CBC99516A5B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Picture Placeholder 1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9144000" cy="3995738"/>
          </a:xfrm>
          <a:solidFill>
            <a:schemeClr val="tx2"/>
          </a:solidFill>
        </p:spPr>
        <p:txBody>
          <a:bodyPr tIns="1080000" anchor="t" anchorCtr="1"/>
          <a:lstStyle>
            <a:lvl1pPr rtl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To insert a picture, click on the icon in the middle.</a:t>
            </a:r>
          </a:p>
        </p:txBody>
      </p:sp>
      <p:sp>
        <p:nvSpPr>
          <p:cNvPr id="13" name="Text Placeholder 1"/>
          <p:cNvSpPr>
            <a:spLocks noGrp="1"/>
          </p:cNvSpPr>
          <p:nvPr>
            <p:ph type="subTitle" idx="1" hasCustomPrompt="1"/>
          </p:nvPr>
        </p:nvSpPr>
        <p:spPr>
          <a:xfrm>
            <a:off x="0" y="3996000"/>
            <a:ext cx="9144000" cy="1147680"/>
          </a:xfrm>
          <a:solidFill>
            <a:schemeClr val="bg1"/>
          </a:solidFill>
        </p:spPr>
        <p:txBody>
          <a:bodyPr wrap="none" lIns="252000" tIns="72000" bIns="72000" anchor="b" anchorCtr="0">
            <a:noAutofit/>
          </a:bodyPr>
          <a:lstStyle>
            <a:lvl1pPr marL="0" indent="0" algn="dist" rtl="0">
              <a:lnSpc>
                <a:spcPts val="8000"/>
              </a:lnSpc>
              <a:spcAft>
                <a:spcPts val="0"/>
              </a:spcAft>
              <a:buFontTx/>
              <a:buNone/>
              <a:defRPr sz="7500" baseline="0">
                <a:solidFill>
                  <a:schemeClr val="accent1"/>
                </a:solidFill>
              </a:defRPr>
            </a:lvl1pPr>
          </a:lstStyle>
          <a:p>
            <a:r>
              <a:rPr lang="en-GB" dirty="0"/>
              <a:t>“01”</a:t>
            </a:r>
          </a:p>
        </p:txBody>
      </p:sp>
      <p:sp>
        <p:nvSpPr>
          <p:cNvPr id="4" name="Titel 1"/>
          <p:cNvSpPr>
            <a:spLocks noGrp="1"/>
          </p:cNvSpPr>
          <p:nvPr>
            <p:ph type="title" hasCustomPrompt="1"/>
          </p:nvPr>
        </p:nvSpPr>
        <p:spPr>
          <a:xfrm>
            <a:off x="2412000" y="4284000"/>
            <a:ext cx="6480000" cy="576000"/>
          </a:xfrm>
        </p:spPr>
        <p:txBody>
          <a:bodyPr vert="horz" anchor="ctr" anchorCtr="0"/>
          <a:lstStyle>
            <a:lvl1pPr rtl="0">
              <a:defRPr>
                <a:solidFill>
                  <a:schemeClr val="tx2"/>
                </a:solidFill>
              </a:defRPr>
            </a:lvl1pPr>
          </a:lstStyle>
          <a:p>
            <a:r>
              <a:rPr lang="en-GB" dirty="0"/>
              <a:t>Separating slide 20 pt, two lines max. with picture</a:t>
            </a:r>
          </a:p>
        </p:txBody>
      </p:sp>
      <p:sp>
        <p:nvSpPr>
          <p:cNvPr id="5" name="Source 1"/>
          <p:cNvSpPr>
            <a:spLocks noGrp="1"/>
          </p:cNvSpPr>
          <p:nvPr>
            <p:ph type="body" sz="quarter" idx="12" hasCustomPrompt="1"/>
          </p:nvPr>
        </p:nvSpPr>
        <p:spPr>
          <a:xfrm>
            <a:off x="6768000" y="3828089"/>
            <a:ext cx="2376000" cy="167649"/>
          </a:xfrm>
        </p:spPr>
        <p:txBody>
          <a:bodyPr wrap="none" tIns="72000" rIns="108000" bIns="72000" anchor="ctr"/>
          <a:lstStyle>
            <a:lvl1pPr mar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6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Image: Please quote the image / source / name of  photographer</a:t>
            </a:r>
          </a:p>
        </p:txBody>
      </p:sp>
    </p:spTree>
    <p:extLst>
      <p:ext uri="{BB962C8B-B14F-4D97-AF65-F5344CB8AC3E}">
        <p14:creationId xmlns:p14="http://schemas.microsoft.com/office/powerpoint/2010/main" val="10627636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159">
          <p15:clr>
            <a:srgbClr val="F26B43"/>
          </p15:clr>
        </p15:guide>
        <p15:guide id="3" pos="499">
          <p15:clr>
            <a:srgbClr val="A4A3A4"/>
          </p15:clr>
        </p15:guide>
        <p15:guide id="4" pos="839">
          <p15:clr>
            <a:srgbClr val="A4A3A4"/>
          </p15:clr>
        </p15:guide>
        <p15:guide id="5" pos="1179">
          <p15:clr>
            <a:srgbClr val="A4A3A4"/>
          </p15:clr>
        </p15:guide>
        <p15:guide id="6" pos="1519">
          <p15:clr>
            <a:srgbClr val="A4A3A4"/>
          </p15:clr>
        </p15:guide>
        <p15:guide id="7" pos="1860">
          <p15:clr>
            <a:srgbClr val="A4A3A4"/>
          </p15:clr>
        </p15:guide>
        <p15:guide id="8" pos="2200">
          <p15:clr>
            <a:srgbClr val="A4A3A4"/>
          </p15:clr>
        </p15:guide>
        <p15:guide id="9" pos="2540">
          <p15:clr>
            <a:srgbClr val="A4A3A4"/>
          </p15:clr>
        </p15:guide>
        <p15:guide id="10" pos="2880">
          <p15:clr>
            <a:srgbClr val="A4A3A4"/>
          </p15:clr>
        </p15:guide>
        <p15:guide id="11" pos="3220">
          <p15:clr>
            <a:srgbClr val="A4A3A4"/>
          </p15:clr>
        </p15:guide>
        <p15:guide id="12" pos="3560">
          <p15:clr>
            <a:srgbClr val="A4A3A4"/>
          </p15:clr>
        </p15:guide>
        <p15:guide id="13" pos="3900">
          <p15:clr>
            <a:srgbClr val="A4A3A4"/>
          </p15:clr>
        </p15:guide>
        <p15:guide id="14" pos="4241">
          <p15:clr>
            <a:srgbClr val="A4A3A4"/>
          </p15:clr>
        </p15:guide>
        <p15:guide id="15" pos="4581">
          <p15:clr>
            <a:srgbClr val="A4A3A4"/>
          </p15:clr>
        </p15:guide>
        <p15:guide id="16" pos="4921">
          <p15:clr>
            <a:srgbClr val="A4A3A4"/>
          </p15:clr>
        </p15:guide>
        <p15:guide id="17" pos="5261">
          <p15:clr>
            <a:srgbClr val="A4A3A4"/>
          </p15:clr>
        </p15:guide>
        <p15:guide id="18" pos="5601">
          <p15:clr>
            <a:srgbClr val="F26B43"/>
          </p15:clr>
        </p15:guide>
        <p15:guide id="19" orient="horz" pos="159">
          <p15:clr>
            <a:srgbClr val="F26B43"/>
          </p15:clr>
        </p15:guide>
        <p15:guide id="20" orient="horz" pos="340">
          <p15:clr>
            <a:srgbClr val="A4A3A4"/>
          </p15:clr>
        </p15:guide>
        <p15:guide id="21" orient="horz" pos="522">
          <p15:clr>
            <a:srgbClr val="A4A3A4"/>
          </p15:clr>
        </p15:guide>
        <p15:guide id="22" orient="horz" pos="703">
          <p15:clr>
            <a:srgbClr val="F26B43"/>
          </p15:clr>
        </p15:guide>
        <p15:guide id="23" orient="horz" pos="884">
          <p15:clr>
            <a:srgbClr val="A4A3A4"/>
          </p15:clr>
        </p15:guide>
        <p15:guide id="24" orient="horz" pos="1066">
          <p15:clr>
            <a:srgbClr val="A4A3A4"/>
          </p15:clr>
        </p15:guide>
        <p15:guide id="25" orient="horz" pos="1247">
          <p15:clr>
            <a:srgbClr val="A4A3A4"/>
          </p15:clr>
        </p15:guide>
        <p15:guide id="26" orient="horz" pos="1429">
          <p15:clr>
            <a:srgbClr val="A4A3A4"/>
          </p15:clr>
        </p15:guide>
        <p15:guide id="27" orient="horz" pos="1610">
          <p15:clr>
            <a:srgbClr val="A4A3A4"/>
          </p15:clr>
        </p15:guide>
        <p15:guide id="28" orient="horz" pos="1791">
          <p15:clr>
            <a:srgbClr val="A4A3A4"/>
          </p15:clr>
        </p15:guide>
        <p15:guide id="29" orient="horz" pos="1973">
          <p15:clr>
            <a:srgbClr val="A4A3A4"/>
          </p15:clr>
        </p15:guide>
        <p15:guide id="30" orient="horz" pos="2154">
          <p15:clr>
            <a:srgbClr val="A4A3A4"/>
          </p15:clr>
        </p15:guide>
        <p15:guide id="31" orient="horz" pos="2336">
          <p15:clr>
            <a:srgbClr val="A4A3A4"/>
          </p15:clr>
        </p15:guide>
        <p15:guide id="32" orient="horz" pos="2517">
          <p15:clr>
            <a:srgbClr val="A4A3A4"/>
          </p15:clr>
        </p15:guide>
        <p15:guide id="33" orient="horz" pos="2699">
          <p15:clr>
            <a:srgbClr val="A4A3A4"/>
          </p15:clr>
        </p15:guide>
        <p15:guide id="34" orient="horz" pos="2880">
          <p15:clr>
            <a:srgbClr val="A4A3A4"/>
          </p15:clr>
        </p15:guide>
        <p15:guide id="35" orient="horz" pos="3061">
          <p15:clr>
            <a:srgbClr val="F26B43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38FC3F7C-F1C2-EA5B-D1D5-A76605F4E3E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163830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38FC3F7C-F1C2-EA5B-D1D5-A76605F4E3E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icture Placeholder 1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9144000" cy="3132000"/>
          </a:xfrm>
          <a:solidFill>
            <a:schemeClr val="tx2"/>
          </a:solidFill>
        </p:spPr>
        <p:txBody>
          <a:bodyPr lIns="540000" tIns="792000" rIns="540000" anchor="t" anchorCtr="1"/>
          <a:lstStyle>
            <a:lvl1pPr marL="0" marR="0" indent="0" algn="l" defTabSz="2700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Wingdings" pitchFamily="2" charset="2"/>
              <a:buNone/>
              <a:tabLst/>
              <a:defRPr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2700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Wingdings" pitchFamily="2" charset="2"/>
              <a:buNone/>
              <a:tabLst/>
              <a:defRPr/>
            </a:pPr>
            <a:r>
              <a:rPr lang="en-GB" dirty="0"/>
              <a:t>To insert a picture, click on the icon in the middle.</a:t>
            </a:r>
          </a:p>
        </p:txBody>
      </p:sp>
      <p:pic>
        <p:nvPicPr>
          <p:cNvPr id="13" name="MR Logo 2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059600" y="4363200"/>
            <a:ext cx="1512000" cy="3492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52000" y="3276000"/>
            <a:ext cx="6480000" cy="864000"/>
          </a:xfrm>
        </p:spPr>
        <p:txBody>
          <a:bodyPr vert="horz" anchor="t">
            <a:noAutofit/>
          </a:bodyPr>
          <a:lstStyle>
            <a:lvl1pPr rtl="0">
              <a:lnSpc>
                <a:spcPct val="100000"/>
              </a:lnSpc>
              <a:defRPr sz="2400" baseline="0"/>
            </a:lvl1pPr>
          </a:lstStyle>
          <a:p>
            <a:r>
              <a:rPr lang="en-GB" dirty="0"/>
              <a:t>Title 24 pt,</a:t>
            </a:r>
            <a:br>
              <a:rPr lang="en-GB" dirty="0"/>
            </a:br>
            <a:r>
              <a:rPr lang="en-GB" dirty="0"/>
              <a:t>two lines max.</a:t>
            </a:r>
          </a:p>
        </p:txBody>
      </p:sp>
      <p:sp>
        <p:nvSpPr>
          <p:cNvPr id="3" name="Subtitle 1"/>
          <p:cNvSpPr>
            <a:spLocks noGrp="1"/>
          </p:cNvSpPr>
          <p:nvPr>
            <p:ph type="subTitle" idx="1" hasCustomPrompt="1"/>
          </p:nvPr>
        </p:nvSpPr>
        <p:spPr>
          <a:xfrm>
            <a:off x="252000" y="4284000"/>
            <a:ext cx="4320000" cy="432000"/>
          </a:xfrm>
        </p:spPr>
        <p:txBody>
          <a:bodyPr anchor="t" anchorCtr="0">
            <a:noAutofit/>
          </a:bodyPr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Wingdings" pitchFamily="2" charset="2"/>
              <a:buNone/>
              <a:tabLst/>
              <a:defRPr/>
            </a:lvl1pPr>
          </a:lstStyle>
          <a:p>
            <a:r>
              <a:rPr lang="en-GB" dirty="0"/>
              <a:t>Date: DD/MM/YYYY</a:t>
            </a:r>
          </a:p>
          <a:p>
            <a:r>
              <a:rPr lang="en-GB" dirty="0"/>
              <a:t>Name of speaker</a:t>
            </a:r>
          </a:p>
        </p:txBody>
      </p:sp>
      <p:sp>
        <p:nvSpPr>
          <p:cNvPr id="7" name="Source 1"/>
          <p:cNvSpPr>
            <a:spLocks noGrp="1"/>
          </p:cNvSpPr>
          <p:nvPr>
            <p:ph type="body" sz="quarter" idx="12" hasCustomPrompt="1"/>
          </p:nvPr>
        </p:nvSpPr>
        <p:spPr>
          <a:xfrm>
            <a:off x="6768000" y="2916000"/>
            <a:ext cx="2376000" cy="216000"/>
          </a:xfrm>
        </p:spPr>
        <p:txBody>
          <a:bodyPr wrap="none" tIns="72000" rIns="108000" bIns="72000" anchor="ctr"/>
          <a:lstStyle>
            <a:lvl1pPr mar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6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Image: Please quote the image / source / name of  photographer</a:t>
            </a:r>
          </a:p>
        </p:txBody>
      </p:sp>
    </p:spTree>
    <p:extLst>
      <p:ext uri="{BB962C8B-B14F-4D97-AF65-F5344CB8AC3E}">
        <p14:creationId xmlns:p14="http://schemas.microsoft.com/office/powerpoint/2010/main" val="39644850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159">
          <p15:clr>
            <a:srgbClr val="F26B43"/>
          </p15:clr>
        </p15:guide>
        <p15:guide id="3" pos="499">
          <p15:clr>
            <a:srgbClr val="A4A3A4"/>
          </p15:clr>
        </p15:guide>
        <p15:guide id="4" pos="839">
          <p15:clr>
            <a:srgbClr val="A4A3A4"/>
          </p15:clr>
        </p15:guide>
        <p15:guide id="5" pos="1179">
          <p15:clr>
            <a:srgbClr val="A4A3A4"/>
          </p15:clr>
        </p15:guide>
        <p15:guide id="6" pos="1519">
          <p15:clr>
            <a:srgbClr val="A4A3A4"/>
          </p15:clr>
        </p15:guide>
        <p15:guide id="7" pos="1860">
          <p15:clr>
            <a:srgbClr val="A4A3A4"/>
          </p15:clr>
        </p15:guide>
        <p15:guide id="8" pos="2200">
          <p15:clr>
            <a:srgbClr val="A4A3A4"/>
          </p15:clr>
        </p15:guide>
        <p15:guide id="9" pos="2540">
          <p15:clr>
            <a:srgbClr val="A4A3A4"/>
          </p15:clr>
        </p15:guide>
        <p15:guide id="10" pos="2880">
          <p15:clr>
            <a:srgbClr val="A4A3A4"/>
          </p15:clr>
        </p15:guide>
        <p15:guide id="11" pos="3220">
          <p15:clr>
            <a:srgbClr val="A4A3A4"/>
          </p15:clr>
        </p15:guide>
        <p15:guide id="12" pos="3560">
          <p15:clr>
            <a:srgbClr val="A4A3A4"/>
          </p15:clr>
        </p15:guide>
        <p15:guide id="13" pos="3900">
          <p15:clr>
            <a:srgbClr val="A4A3A4"/>
          </p15:clr>
        </p15:guide>
        <p15:guide id="14" pos="4241">
          <p15:clr>
            <a:srgbClr val="A4A3A4"/>
          </p15:clr>
        </p15:guide>
        <p15:guide id="15" pos="4581">
          <p15:clr>
            <a:srgbClr val="A4A3A4"/>
          </p15:clr>
        </p15:guide>
        <p15:guide id="16" pos="4921">
          <p15:clr>
            <a:srgbClr val="A4A3A4"/>
          </p15:clr>
        </p15:guide>
        <p15:guide id="17" pos="5261">
          <p15:clr>
            <a:srgbClr val="A4A3A4"/>
          </p15:clr>
        </p15:guide>
        <p15:guide id="18" pos="5601">
          <p15:clr>
            <a:srgbClr val="F26B43"/>
          </p15:clr>
        </p15:guide>
        <p15:guide id="19" orient="horz" pos="159">
          <p15:clr>
            <a:srgbClr val="F26B43"/>
          </p15:clr>
        </p15:guide>
        <p15:guide id="20" orient="horz" pos="340">
          <p15:clr>
            <a:srgbClr val="A4A3A4"/>
          </p15:clr>
        </p15:guide>
        <p15:guide id="21" orient="horz" pos="522">
          <p15:clr>
            <a:srgbClr val="A4A3A4"/>
          </p15:clr>
        </p15:guide>
        <p15:guide id="22" orient="horz" pos="703">
          <p15:clr>
            <a:srgbClr val="F26B43"/>
          </p15:clr>
        </p15:guide>
        <p15:guide id="23" orient="horz" pos="884">
          <p15:clr>
            <a:srgbClr val="A4A3A4"/>
          </p15:clr>
        </p15:guide>
        <p15:guide id="24" orient="horz" pos="1066">
          <p15:clr>
            <a:srgbClr val="A4A3A4"/>
          </p15:clr>
        </p15:guide>
        <p15:guide id="25" orient="horz" pos="1247">
          <p15:clr>
            <a:srgbClr val="A4A3A4"/>
          </p15:clr>
        </p15:guide>
        <p15:guide id="26" orient="horz" pos="1429">
          <p15:clr>
            <a:srgbClr val="A4A3A4"/>
          </p15:clr>
        </p15:guide>
        <p15:guide id="27" orient="horz" pos="1610">
          <p15:clr>
            <a:srgbClr val="A4A3A4"/>
          </p15:clr>
        </p15:guide>
        <p15:guide id="28" orient="horz" pos="1791">
          <p15:clr>
            <a:srgbClr val="A4A3A4"/>
          </p15:clr>
        </p15:guide>
        <p15:guide id="29" orient="horz" pos="1973">
          <p15:clr>
            <a:srgbClr val="A4A3A4"/>
          </p15:clr>
        </p15:guide>
        <p15:guide id="30" orient="horz" pos="2154">
          <p15:clr>
            <a:srgbClr val="A4A3A4"/>
          </p15:clr>
        </p15:guide>
        <p15:guide id="31" orient="horz" pos="2336">
          <p15:clr>
            <a:srgbClr val="A4A3A4"/>
          </p15:clr>
        </p15:guide>
        <p15:guide id="32" orient="horz" pos="2517">
          <p15:clr>
            <a:srgbClr val="A4A3A4"/>
          </p15:clr>
        </p15:guide>
        <p15:guide id="33" orient="horz" pos="2699">
          <p15:clr>
            <a:srgbClr val="A4A3A4"/>
          </p15:clr>
        </p15:guide>
        <p15:guide id="34" orient="horz" pos="2880">
          <p15:clr>
            <a:srgbClr val="A4A3A4"/>
          </p15:clr>
        </p15:guide>
        <p15:guide id="35" orient="horz" pos="3061">
          <p15:clr>
            <a:srgbClr val="F26B43"/>
          </p15:clr>
        </p15:guide>
        <p15:guide id="37" orient="horz" pos="2064">
          <p15:clr>
            <a:srgbClr val="FBAE40"/>
          </p15:clr>
        </p15:guide>
        <p15:guide id="38" orient="horz" pos="2608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paration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7A4C91F4-FB28-14AC-D930-D3BB6503F59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999917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7A4C91F4-FB28-14AC-D930-D3BB6503F5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Picture Placeholder 1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3132000"/>
            <a:ext cx="9144000" cy="2011680"/>
          </a:xfrm>
          <a:solidFill>
            <a:schemeClr val="tx2"/>
          </a:solidFill>
        </p:spPr>
        <p:txBody>
          <a:bodyPr tIns="1260000" anchor="t" anchorCtr="1"/>
          <a:lstStyle>
            <a:lvl1pPr rtl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To insert a picture, click on the icon in the middle.</a:t>
            </a:r>
          </a:p>
        </p:txBody>
      </p:sp>
      <p:sp>
        <p:nvSpPr>
          <p:cNvPr id="4" name="Titel 1"/>
          <p:cNvSpPr>
            <a:spLocks noGrp="1"/>
          </p:cNvSpPr>
          <p:nvPr>
            <p:ph type="title" hasCustomPrompt="1"/>
          </p:nvPr>
        </p:nvSpPr>
        <p:spPr>
          <a:xfrm>
            <a:off x="252000" y="1116000"/>
            <a:ext cx="6480000" cy="864000"/>
          </a:xfrm>
        </p:spPr>
        <p:txBody>
          <a:bodyPr vert="horz" anchor="t" anchorCtr="0"/>
          <a:lstStyle>
            <a:lvl1pPr rtl="0">
              <a:defRPr/>
            </a:lvl1pPr>
          </a:lstStyle>
          <a:p>
            <a:r>
              <a:rPr lang="en-GB" dirty="0"/>
              <a:t>Separating slide 20 pt, three lines max. with background picture</a:t>
            </a:r>
          </a:p>
        </p:txBody>
      </p:sp>
      <p:sp>
        <p:nvSpPr>
          <p:cNvPr id="13" name="Text Placeholder 1"/>
          <p:cNvSpPr>
            <a:spLocks noGrp="1"/>
          </p:cNvSpPr>
          <p:nvPr>
            <p:ph type="subTitle" idx="1" hasCustomPrompt="1"/>
          </p:nvPr>
        </p:nvSpPr>
        <p:spPr>
          <a:xfrm>
            <a:off x="252000" y="3996000"/>
            <a:ext cx="2160000" cy="1147680"/>
          </a:xfrm>
        </p:spPr>
        <p:txBody>
          <a:bodyPr wrap="none" tIns="72000" anchor="t" anchorCtr="0">
            <a:noAutofit/>
          </a:bodyPr>
          <a:lstStyle>
            <a:lvl1pPr marL="0" indent="0" algn="dist" rtl="0">
              <a:lnSpc>
                <a:spcPts val="8000"/>
              </a:lnSpc>
              <a:spcAft>
                <a:spcPts val="0"/>
              </a:spcAft>
              <a:buFontTx/>
              <a:buNone/>
              <a:defRPr sz="8000" baseline="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“01”</a:t>
            </a:r>
          </a:p>
        </p:txBody>
      </p:sp>
      <p:sp>
        <p:nvSpPr>
          <p:cNvPr id="5" name="Source 1"/>
          <p:cNvSpPr>
            <a:spLocks noGrp="1"/>
          </p:cNvSpPr>
          <p:nvPr>
            <p:ph type="body" sz="quarter" idx="12" hasCustomPrompt="1"/>
          </p:nvPr>
        </p:nvSpPr>
        <p:spPr>
          <a:xfrm>
            <a:off x="6768000" y="4927680"/>
            <a:ext cx="2376000" cy="216000"/>
          </a:xfrm>
        </p:spPr>
        <p:txBody>
          <a:bodyPr wrap="none" tIns="72000" rIns="108000" bIns="72000" anchor="ctr"/>
          <a:lstStyle>
            <a:lvl1pPr mar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6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Image: Please quote the image / source / name of  photographer</a:t>
            </a:r>
          </a:p>
        </p:txBody>
      </p:sp>
    </p:spTree>
    <p:extLst>
      <p:ext uri="{BB962C8B-B14F-4D97-AF65-F5344CB8AC3E}">
        <p14:creationId xmlns:p14="http://schemas.microsoft.com/office/powerpoint/2010/main" val="5093573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159">
          <p15:clr>
            <a:srgbClr val="F26B43"/>
          </p15:clr>
        </p15:guide>
        <p15:guide id="3" pos="499">
          <p15:clr>
            <a:srgbClr val="A4A3A4"/>
          </p15:clr>
        </p15:guide>
        <p15:guide id="4" pos="839">
          <p15:clr>
            <a:srgbClr val="A4A3A4"/>
          </p15:clr>
        </p15:guide>
        <p15:guide id="5" pos="1179">
          <p15:clr>
            <a:srgbClr val="A4A3A4"/>
          </p15:clr>
        </p15:guide>
        <p15:guide id="6" pos="1519">
          <p15:clr>
            <a:srgbClr val="A4A3A4"/>
          </p15:clr>
        </p15:guide>
        <p15:guide id="7" pos="1860">
          <p15:clr>
            <a:srgbClr val="A4A3A4"/>
          </p15:clr>
        </p15:guide>
        <p15:guide id="8" pos="2200">
          <p15:clr>
            <a:srgbClr val="A4A3A4"/>
          </p15:clr>
        </p15:guide>
        <p15:guide id="9" pos="2540">
          <p15:clr>
            <a:srgbClr val="A4A3A4"/>
          </p15:clr>
        </p15:guide>
        <p15:guide id="10" pos="2880">
          <p15:clr>
            <a:srgbClr val="A4A3A4"/>
          </p15:clr>
        </p15:guide>
        <p15:guide id="11" pos="3220">
          <p15:clr>
            <a:srgbClr val="A4A3A4"/>
          </p15:clr>
        </p15:guide>
        <p15:guide id="12" pos="3560">
          <p15:clr>
            <a:srgbClr val="A4A3A4"/>
          </p15:clr>
        </p15:guide>
        <p15:guide id="13" pos="3900">
          <p15:clr>
            <a:srgbClr val="A4A3A4"/>
          </p15:clr>
        </p15:guide>
        <p15:guide id="14" pos="4241">
          <p15:clr>
            <a:srgbClr val="FBAE40"/>
          </p15:clr>
        </p15:guide>
        <p15:guide id="15" pos="4581">
          <p15:clr>
            <a:srgbClr val="A4A3A4"/>
          </p15:clr>
        </p15:guide>
        <p15:guide id="16" pos="4921">
          <p15:clr>
            <a:srgbClr val="A4A3A4"/>
          </p15:clr>
        </p15:guide>
        <p15:guide id="17" pos="5261">
          <p15:clr>
            <a:srgbClr val="A4A3A4"/>
          </p15:clr>
        </p15:guide>
        <p15:guide id="18" pos="5601">
          <p15:clr>
            <a:srgbClr val="F26B43"/>
          </p15:clr>
        </p15:guide>
        <p15:guide id="19" orient="horz" pos="159">
          <p15:clr>
            <a:srgbClr val="F26B43"/>
          </p15:clr>
        </p15:guide>
        <p15:guide id="20" orient="horz" pos="340">
          <p15:clr>
            <a:srgbClr val="A4A3A4"/>
          </p15:clr>
        </p15:guide>
        <p15:guide id="21" orient="horz" pos="522">
          <p15:clr>
            <a:srgbClr val="A4A3A4"/>
          </p15:clr>
        </p15:guide>
        <p15:guide id="22" orient="horz" pos="703">
          <p15:clr>
            <a:srgbClr val="F26B43"/>
          </p15:clr>
        </p15:guide>
        <p15:guide id="23" orient="horz" pos="884">
          <p15:clr>
            <a:srgbClr val="A4A3A4"/>
          </p15:clr>
        </p15:guide>
        <p15:guide id="24" orient="horz" pos="1066">
          <p15:clr>
            <a:srgbClr val="A4A3A4"/>
          </p15:clr>
        </p15:guide>
        <p15:guide id="25" orient="horz" pos="1247">
          <p15:clr>
            <a:srgbClr val="FBAE40"/>
          </p15:clr>
        </p15:guide>
        <p15:guide id="26" orient="horz" pos="1429">
          <p15:clr>
            <a:srgbClr val="A4A3A4"/>
          </p15:clr>
        </p15:guide>
        <p15:guide id="27" orient="horz" pos="1610">
          <p15:clr>
            <a:srgbClr val="A4A3A4"/>
          </p15:clr>
        </p15:guide>
        <p15:guide id="28" orient="horz" pos="1791">
          <p15:clr>
            <a:srgbClr val="A4A3A4"/>
          </p15:clr>
        </p15:guide>
        <p15:guide id="29" orient="horz" pos="1973">
          <p15:clr>
            <a:srgbClr val="FBAE40"/>
          </p15:clr>
        </p15:guide>
        <p15:guide id="30" orient="horz" pos="2154">
          <p15:clr>
            <a:srgbClr val="A4A3A4"/>
          </p15:clr>
        </p15:guide>
        <p15:guide id="31" orient="horz" pos="2336">
          <p15:clr>
            <a:srgbClr val="A4A3A4"/>
          </p15:clr>
        </p15:guide>
        <p15:guide id="32" orient="horz" pos="2517">
          <p15:clr>
            <a:srgbClr val="FBAE40"/>
          </p15:clr>
        </p15:guide>
        <p15:guide id="33" orient="horz" pos="2699">
          <p15:clr>
            <a:srgbClr val="A4A3A4"/>
          </p15:clr>
        </p15:guide>
        <p15:guide id="34" orient="horz" pos="2880">
          <p15:clr>
            <a:srgbClr val="A4A3A4"/>
          </p15:clr>
        </p15:guide>
        <p15:guide id="35" orient="horz" pos="3061">
          <p15:clr>
            <a:srgbClr val="F26B43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paration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04801CFD-BCB1-1906-FCE5-AC2E26C6622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771786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04801CFD-BCB1-1906-FCE5-AC2E26C6622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Picture Placeholder 1"/>
          <p:cNvSpPr>
            <a:spLocks noGrp="1"/>
          </p:cNvSpPr>
          <p:nvPr>
            <p:ph type="pic" sz="quarter" idx="13" hasCustomPrompt="1"/>
          </p:nvPr>
        </p:nvSpPr>
        <p:spPr>
          <a:xfrm>
            <a:off x="2952000" y="0"/>
            <a:ext cx="6192000" cy="5143700"/>
          </a:xfrm>
          <a:solidFill>
            <a:schemeClr val="tx2"/>
          </a:solidFill>
        </p:spPr>
        <p:txBody>
          <a:bodyPr tIns="1080000" anchor="t" anchorCtr="1"/>
          <a:lstStyle>
            <a:lvl1pPr rtl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To insert a picture, click on the icon in the middle.</a:t>
            </a:r>
          </a:p>
        </p:txBody>
      </p:sp>
      <p:sp>
        <p:nvSpPr>
          <p:cNvPr id="13" name="Text Placeholder 1"/>
          <p:cNvSpPr>
            <a:spLocks noGrp="1"/>
          </p:cNvSpPr>
          <p:nvPr>
            <p:ph type="subTitle" idx="1" hasCustomPrompt="1"/>
          </p:nvPr>
        </p:nvSpPr>
        <p:spPr>
          <a:xfrm>
            <a:off x="0" y="3996000"/>
            <a:ext cx="2952000" cy="1147680"/>
          </a:xfrm>
          <a:solidFill>
            <a:schemeClr val="bg1"/>
          </a:solidFill>
        </p:spPr>
        <p:txBody>
          <a:bodyPr wrap="none" lIns="252000" tIns="72000" bIns="72000" anchor="b" anchorCtr="0">
            <a:noAutofit/>
          </a:bodyPr>
          <a:lstStyle>
            <a:lvl1pPr marL="0" indent="0" algn="dist" rtl="0">
              <a:lnSpc>
                <a:spcPts val="8000"/>
              </a:lnSpc>
              <a:spcAft>
                <a:spcPts val="0"/>
              </a:spcAft>
              <a:buFontTx/>
              <a:buNone/>
              <a:defRPr sz="7500" baseline="0">
                <a:solidFill>
                  <a:schemeClr val="accent1"/>
                </a:solidFill>
              </a:defRPr>
            </a:lvl1pPr>
          </a:lstStyle>
          <a:p>
            <a:r>
              <a:rPr lang="en-GB" dirty="0"/>
              <a:t>“01”</a:t>
            </a:r>
          </a:p>
        </p:txBody>
      </p:sp>
      <p:sp>
        <p:nvSpPr>
          <p:cNvPr id="4" name="Titel 1"/>
          <p:cNvSpPr>
            <a:spLocks noGrp="1"/>
          </p:cNvSpPr>
          <p:nvPr>
            <p:ph type="title" hasCustomPrompt="1"/>
          </p:nvPr>
        </p:nvSpPr>
        <p:spPr>
          <a:xfrm>
            <a:off x="252000" y="252000"/>
            <a:ext cx="2430000" cy="1728000"/>
          </a:xfrm>
        </p:spPr>
        <p:txBody>
          <a:bodyPr vert="horz" anchor="t" anchorCtr="0"/>
          <a:lstStyle>
            <a:lvl1pPr rtl="0">
              <a:defRPr>
                <a:solidFill>
                  <a:schemeClr val="tx2"/>
                </a:solidFill>
              </a:defRPr>
            </a:lvl1pPr>
          </a:lstStyle>
          <a:p>
            <a:r>
              <a:rPr lang="en-GB" dirty="0"/>
              <a:t>Separating slide</a:t>
            </a:r>
            <a:br>
              <a:rPr lang="en-GB" dirty="0"/>
            </a:br>
            <a:r>
              <a:rPr lang="en-GB" dirty="0"/>
              <a:t>with picture 20 pt, five lines max. </a:t>
            </a:r>
          </a:p>
        </p:txBody>
      </p:sp>
      <p:sp>
        <p:nvSpPr>
          <p:cNvPr id="5" name="Source 1"/>
          <p:cNvSpPr>
            <a:spLocks noGrp="1"/>
          </p:cNvSpPr>
          <p:nvPr>
            <p:ph type="body" sz="quarter" idx="12" hasCustomPrompt="1"/>
          </p:nvPr>
        </p:nvSpPr>
        <p:spPr>
          <a:xfrm>
            <a:off x="6768000" y="4975851"/>
            <a:ext cx="2376000" cy="167649"/>
          </a:xfrm>
        </p:spPr>
        <p:txBody>
          <a:bodyPr wrap="none" tIns="72000" rIns="108000" bIns="72000" anchor="ctr"/>
          <a:lstStyle>
            <a:lvl1pPr mar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6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Image: Please quote the image / source / name of  photographer</a:t>
            </a:r>
          </a:p>
        </p:txBody>
      </p:sp>
    </p:spTree>
    <p:extLst>
      <p:ext uri="{BB962C8B-B14F-4D97-AF65-F5344CB8AC3E}">
        <p14:creationId xmlns:p14="http://schemas.microsoft.com/office/powerpoint/2010/main" val="39694793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159">
          <p15:clr>
            <a:srgbClr val="F26B43"/>
          </p15:clr>
        </p15:guide>
        <p15:guide id="3" pos="499">
          <p15:clr>
            <a:srgbClr val="A4A3A4"/>
          </p15:clr>
        </p15:guide>
        <p15:guide id="4" pos="839">
          <p15:clr>
            <a:srgbClr val="A4A3A4"/>
          </p15:clr>
        </p15:guide>
        <p15:guide id="5" pos="1179">
          <p15:clr>
            <a:srgbClr val="A4A3A4"/>
          </p15:clr>
        </p15:guide>
        <p15:guide id="6" pos="1519">
          <p15:clr>
            <a:srgbClr val="A4A3A4"/>
          </p15:clr>
        </p15:guide>
        <p15:guide id="7" pos="1860">
          <p15:clr>
            <a:srgbClr val="FBAE40"/>
          </p15:clr>
        </p15:guide>
        <p15:guide id="8" pos="2200">
          <p15:clr>
            <a:srgbClr val="A4A3A4"/>
          </p15:clr>
        </p15:guide>
        <p15:guide id="9" pos="2540">
          <p15:clr>
            <a:srgbClr val="A4A3A4"/>
          </p15:clr>
        </p15:guide>
        <p15:guide id="10" pos="2880">
          <p15:clr>
            <a:srgbClr val="A4A3A4"/>
          </p15:clr>
        </p15:guide>
        <p15:guide id="11" pos="3220">
          <p15:clr>
            <a:srgbClr val="A4A3A4"/>
          </p15:clr>
        </p15:guide>
        <p15:guide id="12" pos="3560">
          <p15:clr>
            <a:srgbClr val="A4A3A4"/>
          </p15:clr>
        </p15:guide>
        <p15:guide id="13" pos="3900">
          <p15:clr>
            <a:srgbClr val="A4A3A4"/>
          </p15:clr>
        </p15:guide>
        <p15:guide id="14" pos="4241">
          <p15:clr>
            <a:srgbClr val="A4A3A4"/>
          </p15:clr>
        </p15:guide>
        <p15:guide id="15" pos="4581">
          <p15:clr>
            <a:srgbClr val="A4A3A4"/>
          </p15:clr>
        </p15:guide>
        <p15:guide id="16" pos="4921">
          <p15:clr>
            <a:srgbClr val="A4A3A4"/>
          </p15:clr>
        </p15:guide>
        <p15:guide id="17" pos="5261">
          <p15:clr>
            <a:srgbClr val="A4A3A4"/>
          </p15:clr>
        </p15:guide>
        <p15:guide id="18" pos="5601">
          <p15:clr>
            <a:srgbClr val="F26B43"/>
          </p15:clr>
        </p15:guide>
        <p15:guide id="19" orient="horz" pos="159">
          <p15:clr>
            <a:srgbClr val="F26B43"/>
          </p15:clr>
        </p15:guide>
        <p15:guide id="20" orient="horz" pos="340">
          <p15:clr>
            <a:srgbClr val="A4A3A4"/>
          </p15:clr>
        </p15:guide>
        <p15:guide id="21" orient="horz" pos="522">
          <p15:clr>
            <a:srgbClr val="A4A3A4"/>
          </p15:clr>
        </p15:guide>
        <p15:guide id="22" orient="horz" pos="703">
          <p15:clr>
            <a:srgbClr val="F26B43"/>
          </p15:clr>
        </p15:guide>
        <p15:guide id="23" orient="horz" pos="884">
          <p15:clr>
            <a:srgbClr val="A4A3A4"/>
          </p15:clr>
        </p15:guide>
        <p15:guide id="24" orient="horz" pos="1066">
          <p15:clr>
            <a:srgbClr val="A4A3A4"/>
          </p15:clr>
        </p15:guide>
        <p15:guide id="25" orient="horz" pos="1247">
          <p15:clr>
            <a:srgbClr val="FBAE40"/>
          </p15:clr>
        </p15:guide>
        <p15:guide id="26" orient="horz" pos="1429">
          <p15:clr>
            <a:srgbClr val="A4A3A4"/>
          </p15:clr>
        </p15:guide>
        <p15:guide id="27" orient="horz" pos="1610">
          <p15:clr>
            <a:srgbClr val="A4A3A4"/>
          </p15:clr>
        </p15:guide>
        <p15:guide id="28" orient="horz" pos="1791">
          <p15:clr>
            <a:srgbClr val="A4A3A4"/>
          </p15:clr>
        </p15:guide>
        <p15:guide id="29" orient="horz" pos="1973">
          <p15:clr>
            <a:srgbClr val="A4A3A4"/>
          </p15:clr>
        </p15:guide>
        <p15:guide id="30" orient="horz" pos="2154">
          <p15:clr>
            <a:srgbClr val="A4A3A4"/>
          </p15:clr>
        </p15:guide>
        <p15:guide id="31" orient="horz" pos="2336">
          <p15:clr>
            <a:srgbClr val="A4A3A4"/>
          </p15:clr>
        </p15:guide>
        <p15:guide id="32" orient="horz" pos="2517">
          <p15:clr>
            <a:srgbClr val="FBAE40"/>
          </p15:clr>
        </p15:guide>
        <p15:guide id="33" orient="horz" pos="2699">
          <p15:clr>
            <a:srgbClr val="A4A3A4"/>
          </p15:clr>
        </p15:guide>
        <p15:guide id="34" orient="horz" pos="2880">
          <p15:clr>
            <a:srgbClr val="A4A3A4"/>
          </p15:clr>
        </p15:guide>
        <p15:guide id="35" orient="horz" pos="3061">
          <p15:clr>
            <a:srgbClr val="F26B43"/>
          </p15:clr>
        </p15:guide>
        <p15:guide id="36" pos="1689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paration slide 4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D6249061-EB95-F441-88C9-C7132EE08AF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106540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D6249061-EB95-F441-88C9-C7132EE08AF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Picture Placeholder 1"/>
          <p:cNvSpPr>
            <a:spLocks noGrp="1"/>
          </p:cNvSpPr>
          <p:nvPr>
            <p:ph type="pic" sz="quarter" idx="10" hasCustomPrompt="1"/>
          </p:nvPr>
        </p:nvSpPr>
        <p:spPr>
          <a:xfrm>
            <a:off x="2952000" y="0"/>
            <a:ext cx="6192000" cy="5143700"/>
          </a:xfrm>
          <a:solidFill>
            <a:schemeClr val="accent1"/>
          </a:solidFill>
        </p:spPr>
        <p:txBody>
          <a:bodyPr tIns="1080000" anchor="t" anchorCtr="1"/>
          <a:lstStyle>
            <a:lvl1pPr rtl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To insert a picture, click on the icon in the middle.</a:t>
            </a:r>
          </a:p>
        </p:txBody>
      </p:sp>
      <p:sp>
        <p:nvSpPr>
          <p:cNvPr id="4" name="Titel 1"/>
          <p:cNvSpPr>
            <a:spLocks noGrp="1"/>
          </p:cNvSpPr>
          <p:nvPr>
            <p:ph type="title" hasCustomPrompt="1"/>
          </p:nvPr>
        </p:nvSpPr>
        <p:spPr>
          <a:xfrm>
            <a:off x="252000" y="252000"/>
            <a:ext cx="2430000" cy="1728000"/>
          </a:xfrm>
        </p:spPr>
        <p:txBody>
          <a:bodyPr vert="horz" anchor="t" anchorCtr="0"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Separating slide with background picture</a:t>
            </a:r>
            <a:br>
              <a:rPr lang="en-GB" dirty="0"/>
            </a:br>
            <a:r>
              <a:rPr lang="en-GB" dirty="0"/>
              <a:t>20 pt, five lines max.</a:t>
            </a:r>
          </a:p>
        </p:txBody>
      </p:sp>
      <p:sp>
        <p:nvSpPr>
          <p:cNvPr id="5" name="Source 1"/>
          <p:cNvSpPr>
            <a:spLocks noGrp="1"/>
          </p:cNvSpPr>
          <p:nvPr>
            <p:ph type="body" sz="quarter" idx="12" hasCustomPrompt="1"/>
          </p:nvPr>
        </p:nvSpPr>
        <p:spPr>
          <a:xfrm>
            <a:off x="6768000" y="4975851"/>
            <a:ext cx="2376000" cy="167649"/>
          </a:xfrm>
        </p:spPr>
        <p:txBody>
          <a:bodyPr wrap="none" tIns="72000" rIns="108000" bIns="72000" anchor="ctr"/>
          <a:lstStyle>
            <a:lvl1pPr mar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6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Image: Please quote the image / source / name of  photographer</a:t>
            </a:r>
          </a:p>
        </p:txBody>
      </p:sp>
      <p:sp>
        <p:nvSpPr>
          <p:cNvPr id="13" name="Text Placeholder 1"/>
          <p:cNvSpPr>
            <a:spLocks noGrp="1"/>
          </p:cNvSpPr>
          <p:nvPr>
            <p:ph type="subTitle" idx="1" hasCustomPrompt="1"/>
          </p:nvPr>
        </p:nvSpPr>
        <p:spPr>
          <a:xfrm>
            <a:off x="0" y="3996000"/>
            <a:ext cx="2952000" cy="1147680"/>
          </a:xfrm>
          <a:noFill/>
        </p:spPr>
        <p:txBody>
          <a:bodyPr wrap="none" lIns="252000" tIns="72000" bIns="72000" anchor="b" anchorCtr="0">
            <a:noAutofit/>
          </a:bodyPr>
          <a:lstStyle>
            <a:lvl1pPr marL="0" indent="0" algn="dist" rtl="0">
              <a:lnSpc>
                <a:spcPts val="8000"/>
              </a:lnSpc>
              <a:spcAft>
                <a:spcPts val="0"/>
              </a:spcAft>
              <a:buFontTx/>
              <a:buNone/>
              <a:defRPr sz="7500" baseline="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“01”</a:t>
            </a:r>
          </a:p>
        </p:txBody>
      </p:sp>
    </p:spTree>
    <p:extLst>
      <p:ext uri="{BB962C8B-B14F-4D97-AF65-F5344CB8AC3E}">
        <p14:creationId xmlns:p14="http://schemas.microsoft.com/office/powerpoint/2010/main" val="20654441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159">
          <p15:clr>
            <a:srgbClr val="F26B43"/>
          </p15:clr>
        </p15:guide>
        <p15:guide id="3" pos="499">
          <p15:clr>
            <a:srgbClr val="A4A3A4"/>
          </p15:clr>
        </p15:guide>
        <p15:guide id="4" pos="839">
          <p15:clr>
            <a:srgbClr val="A4A3A4"/>
          </p15:clr>
        </p15:guide>
        <p15:guide id="5" pos="1179">
          <p15:clr>
            <a:srgbClr val="A4A3A4"/>
          </p15:clr>
        </p15:guide>
        <p15:guide id="6" pos="1519">
          <p15:clr>
            <a:srgbClr val="A4A3A4"/>
          </p15:clr>
        </p15:guide>
        <p15:guide id="7" pos="1860">
          <p15:clr>
            <a:srgbClr val="FBAE40"/>
          </p15:clr>
        </p15:guide>
        <p15:guide id="8" pos="2200">
          <p15:clr>
            <a:srgbClr val="A4A3A4"/>
          </p15:clr>
        </p15:guide>
        <p15:guide id="9" pos="2540">
          <p15:clr>
            <a:srgbClr val="A4A3A4"/>
          </p15:clr>
        </p15:guide>
        <p15:guide id="10" pos="2880">
          <p15:clr>
            <a:srgbClr val="A4A3A4"/>
          </p15:clr>
        </p15:guide>
        <p15:guide id="11" pos="3220">
          <p15:clr>
            <a:srgbClr val="A4A3A4"/>
          </p15:clr>
        </p15:guide>
        <p15:guide id="12" pos="3560">
          <p15:clr>
            <a:srgbClr val="A4A3A4"/>
          </p15:clr>
        </p15:guide>
        <p15:guide id="13" pos="3900">
          <p15:clr>
            <a:srgbClr val="A4A3A4"/>
          </p15:clr>
        </p15:guide>
        <p15:guide id="14" pos="4241">
          <p15:clr>
            <a:srgbClr val="A4A3A4"/>
          </p15:clr>
        </p15:guide>
        <p15:guide id="15" pos="4581">
          <p15:clr>
            <a:srgbClr val="A4A3A4"/>
          </p15:clr>
        </p15:guide>
        <p15:guide id="16" pos="4921">
          <p15:clr>
            <a:srgbClr val="A4A3A4"/>
          </p15:clr>
        </p15:guide>
        <p15:guide id="17" pos="5261">
          <p15:clr>
            <a:srgbClr val="A4A3A4"/>
          </p15:clr>
        </p15:guide>
        <p15:guide id="18" pos="5601">
          <p15:clr>
            <a:srgbClr val="F26B43"/>
          </p15:clr>
        </p15:guide>
        <p15:guide id="19" orient="horz" pos="159">
          <p15:clr>
            <a:srgbClr val="F26B43"/>
          </p15:clr>
        </p15:guide>
        <p15:guide id="20" orient="horz" pos="340">
          <p15:clr>
            <a:srgbClr val="A4A3A4"/>
          </p15:clr>
        </p15:guide>
        <p15:guide id="21" orient="horz" pos="522">
          <p15:clr>
            <a:srgbClr val="A4A3A4"/>
          </p15:clr>
        </p15:guide>
        <p15:guide id="22" orient="horz" pos="703">
          <p15:clr>
            <a:srgbClr val="F26B43"/>
          </p15:clr>
        </p15:guide>
        <p15:guide id="23" orient="horz" pos="884">
          <p15:clr>
            <a:srgbClr val="A4A3A4"/>
          </p15:clr>
        </p15:guide>
        <p15:guide id="24" orient="horz" pos="1066">
          <p15:clr>
            <a:srgbClr val="A4A3A4"/>
          </p15:clr>
        </p15:guide>
        <p15:guide id="25" orient="horz" pos="1247">
          <p15:clr>
            <a:srgbClr val="FBAE40"/>
          </p15:clr>
        </p15:guide>
        <p15:guide id="26" orient="horz" pos="1429">
          <p15:clr>
            <a:srgbClr val="A4A3A4"/>
          </p15:clr>
        </p15:guide>
        <p15:guide id="27" orient="horz" pos="1610">
          <p15:clr>
            <a:srgbClr val="A4A3A4"/>
          </p15:clr>
        </p15:guide>
        <p15:guide id="28" orient="horz" pos="1791">
          <p15:clr>
            <a:srgbClr val="A4A3A4"/>
          </p15:clr>
        </p15:guide>
        <p15:guide id="29" orient="horz" pos="1973">
          <p15:clr>
            <a:srgbClr val="A4A3A4"/>
          </p15:clr>
        </p15:guide>
        <p15:guide id="30" orient="horz" pos="2154">
          <p15:clr>
            <a:srgbClr val="A4A3A4"/>
          </p15:clr>
        </p15:guide>
        <p15:guide id="31" orient="horz" pos="2336">
          <p15:clr>
            <a:srgbClr val="A4A3A4"/>
          </p15:clr>
        </p15:guide>
        <p15:guide id="32" orient="horz" pos="2517">
          <p15:clr>
            <a:srgbClr val="FBAE40"/>
          </p15:clr>
        </p15:guide>
        <p15:guide id="33" orient="horz" pos="2699">
          <p15:clr>
            <a:srgbClr val="A4A3A4"/>
          </p15:clr>
        </p15:guide>
        <p15:guide id="34" orient="horz" pos="2880">
          <p15:clr>
            <a:srgbClr val="A4A3A4"/>
          </p15:clr>
        </p15:guide>
        <p15:guide id="35" orient="horz" pos="3061">
          <p15:clr>
            <a:srgbClr val="F26B43"/>
          </p15:clr>
        </p15:guide>
        <p15:guide id="36" pos="1689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Only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22326269-7050-D3B4-7FF9-286D0198591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545538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22326269-7050-D3B4-7FF9-286D0198591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fld id="{D56DB8AA-803C-49D2-90AA-1140CE72DCD7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10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063E0874-461D-48F9-8051-3BED37300087}" type="datetime4">
              <a:rPr lang="en-GB" smtClean="0"/>
              <a:pPr/>
              <a:t>14 March 2024</a:t>
            </a:fld>
            <a:endParaRPr lang="en-GB" dirty="0"/>
          </a:p>
        </p:txBody>
      </p:sp>
      <p:sp>
        <p:nvSpPr>
          <p:cNvPr id="12" name="Footer Placeholder 1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GB" dirty="0"/>
              <a:t>Munich Re Group – Company Presentation</a:t>
            </a:r>
          </a:p>
        </p:txBody>
      </p:sp>
      <p:sp>
        <p:nvSpPr>
          <p:cNvPr id="6" name="Titel 1"/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GB" noProof="0" dirty="0"/>
              <a:t>Title only 20 pt, two lines max. </a:t>
            </a:r>
          </a:p>
        </p:txBody>
      </p:sp>
    </p:spTree>
    <p:extLst>
      <p:ext uri="{BB962C8B-B14F-4D97-AF65-F5344CB8AC3E}">
        <p14:creationId xmlns:p14="http://schemas.microsoft.com/office/powerpoint/2010/main" val="18260590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159">
          <p15:clr>
            <a:srgbClr val="F26B43"/>
          </p15:clr>
        </p15:guide>
        <p15:guide id="3" pos="499">
          <p15:clr>
            <a:srgbClr val="A4A3A4"/>
          </p15:clr>
        </p15:guide>
        <p15:guide id="4" pos="839">
          <p15:clr>
            <a:srgbClr val="A4A3A4"/>
          </p15:clr>
        </p15:guide>
        <p15:guide id="5" pos="1179">
          <p15:clr>
            <a:srgbClr val="A4A3A4"/>
          </p15:clr>
        </p15:guide>
        <p15:guide id="6" pos="1519">
          <p15:clr>
            <a:srgbClr val="A4A3A4"/>
          </p15:clr>
        </p15:guide>
        <p15:guide id="7" pos="1860">
          <p15:clr>
            <a:srgbClr val="A4A3A4"/>
          </p15:clr>
        </p15:guide>
        <p15:guide id="8" pos="2200">
          <p15:clr>
            <a:srgbClr val="A4A3A4"/>
          </p15:clr>
        </p15:guide>
        <p15:guide id="9" pos="2540">
          <p15:clr>
            <a:srgbClr val="A4A3A4"/>
          </p15:clr>
        </p15:guide>
        <p15:guide id="10" pos="2880">
          <p15:clr>
            <a:srgbClr val="A4A3A4"/>
          </p15:clr>
        </p15:guide>
        <p15:guide id="11" pos="3220">
          <p15:clr>
            <a:srgbClr val="A4A3A4"/>
          </p15:clr>
        </p15:guide>
        <p15:guide id="12" pos="3560">
          <p15:clr>
            <a:srgbClr val="A4A3A4"/>
          </p15:clr>
        </p15:guide>
        <p15:guide id="13" pos="3900">
          <p15:clr>
            <a:srgbClr val="A4A3A4"/>
          </p15:clr>
        </p15:guide>
        <p15:guide id="14" pos="4241">
          <p15:clr>
            <a:srgbClr val="A4A3A4"/>
          </p15:clr>
        </p15:guide>
        <p15:guide id="15" pos="4581">
          <p15:clr>
            <a:srgbClr val="A4A3A4"/>
          </p15:clr>
        </p15:guide>
        <p15:guide id="16" pos="4921">
          <p15:clr>
            <a:srgbClr val="A4A3A4"/>
          </p15:clr>
        </p15:guide>
        <p15:guide id="17" pos="5261">
          <p15:clr>
            <a:srgbClr val="A4A3A4"/>
          </p15:clr>
        </p15:guide>
        <p15:guide id="18" pos="5601">
          <p15:clr>
            <a:srgbClr val="F26B43"/>
          </p15:clr>
        </p15:guide>
        <p15:guide id="19" orient="horz" pos="159">
          <p15:clr>
            <a:srgbClr val="F26B43"/>
          </p15:clr>
        </p15:guide>
        <p15:guide id="20" orient="horz" pos="340">
          <p15:clr>
            <a:srgbClr val="A4A3A4"/>
          </p15:clr>
        </p15:guide>
        <p15:guide id="21" orient="horz" pos="522">
          <p15:clr>
            <a:srgbClr val="A4A3A4"/>
          </p15:clr>
        </p15:guide>
        <p15:guide id="22" orient="horz" pos="703">
          <p15:clr>
            <a:srgbClr val="F26B43"/>
          </p15:clr>
        </p15:guide>
        <p15:guide id="23" orient="horz" pos="884">
          <p15:clr>
            <a:srgbClr val="A4A3A4"/>
          </p15:clr>
        </p15:guide>
        <p15:guide id="24" orient="horz" pos="1066">
          <p15:clr>
            <a:srgbClr val="A4A3A4"/>
          </p15:clr>
        </p15:guide>
        <p15:guide id="25" orient="horz" pos="1247">
          <p15:clr>
            <a:srgbClr val="A4A3A4"/>
          </p15:clr>
        </p15:guide>
        <p15:guide id="26" orient="horz" pos="1429">
          <p15:clr>
            <a:srgbClr val="A4A3A4"/>
          </p15:clr>
        </p15:guide>
        <p15:guide id="27" orient="horz" pos="1610">
          <p15:clr>
            <a:srgbClr val="A4A3A4"/>
          </p15:clr>
        </p15:guide>
        <p15:guide id="28" orient="horz" pos="1791">
          <p15:clr>
            <a:srgbClr val="A4A3A4"/>
          </p15:clr>
        </p15:guide>
        <p15:guide id="29" orient="horz" pos="1973">
          <p15:clr>
            <a:srgbClr val="A4A3A4"/>
          </p15:clr>
        </p15:guide>
        <p15:guide id="30" orient="horz" pos="2154">
          <p15:clr>
            <a:srgbClr val="A4A3A4"/>
          </p15:clr>
        </p15:guide>
        <p15:guide id="31" orient="horz" pos="2336">
          <p15:clr>
            <a:srgbClr val="A4A3A4"/>
          </p15:clr>
        </p15:guide>
        <p15:guide id="32" orient="horz" pos="2517">
          <p15:clr>
            <a:srgbClr val="A4A3A4"/>
          </p15:clr>
        </p15:guide>
        <p15:guide id="33" orient="horz" pos="2699">
          <p15:clr>
            <a:srgbClr val="A4A3A4"/>
          </p15:clr>
        </p15:guide>
        <p15:guide id="34" orient="horz" pos="2880">
          <p15:clr>
            <a:srgbClr val="A4A3A4"/>
          </p15:clr>
        </p15:guide>
        <p15:guide id="35" orient="horz" pos="3061">
          <p15:clr>
            <a:srgbClr val="F26B43"/>
          </p15:clr>
        </p15:guide>
        <p15:guide id="36" pos="2710">
          <p15:clr>
            <a:srgbClr val="FBAE40"/>
          </p15:clr>
        </p15:guide>
        <p15:guide id="37" pos="3050">
          <p15:clr>
            <a:srgbClr val="FBAE40"/>
          </p15:clr>
        </p15:guide>
        <p15:guide id="38" orient="horz" pos="1519">
          <p15:clr>
            <a:srgbClr val="FBAE40"/>
          </p15:clr>
        </p15:guide>
        <p15:guide id="39" orient="horz" pos="1701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5A5E4310-F0DE-C922-DE54-E5AD21CA2AF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328788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5A5E4310-F0DE-C922-DE54-E5AD21CA2AF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fld id="{D56DB8AA-803C-49D2-90AA-1140CE72DCD7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10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D6C0ED31-2674-41D7-9122-BAFB62A58A3E}" type="datetime4">
              <a:rPr lang="en-GB" smtClean="0"/>
              <a:pPr/>
              <a:t>14 March 2024</a:t>
            </a:fld>
            <a:endParaRPr lang="en-GB" dirty="0"/>
          </a:p>
        </p:txBody>
      </p:sp>
      <p:sp>
        <p:nvSpPr>
          <p:cNvPr id="12" name="Footer Placeholder 1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GB" dirty="0"/>
              <a:t>Munich Re Group – Company Presentation</a:t>
            </a:r>
          </a:p>
        </p:txBody>
      </p:sp>
    </p:spTree>
    <p:extLst>
      <p:ext uri="{BB962C8B-B14F-4D97-AF65-F5344CB8AC3E}">
        <p14:creationId xmlns:p14="http://schemas.microsoft.com/office/powerpoint/2010/main" val="4574051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159">
          <p15:clr>
            <a:srgbClr val="F26B43"/>
          </p15:clr>
        </p15:guide>
        <p15:guide id="3" pos="499">
          <p15:clr>
            <a:srgbClr val="A4A3A4"/>
          </p15:clr>
        </p15:guide>
        <p15:guide id="4" pos="839">
          <p15:clr>
            <a:srgbClr val="A4A3A4"/>
          </p15:clr>
        </p15:guide>
        <p15:guide id="5" pos="1179">
          <p15:clr>
            <a:srgbClr val="A4A3A4"/>
          </p15:clr>
        </p15:guide>
        <p15:guide id="6" pos="1519">
          <p15:clr>
            <a:srgbClr val="A4A3A4"/>
          </p15:clr>
        </p15:guide>
        <p15:guide id="7" pos="1860">
          <p15:clr>
            <a:srgbClr val="A4A3A4"/>
          </p15:clr>
        </p15:guide>
        <p15:guide id="8" pos="2200">
          <p15:clr>
            <a:srgbClr val="A4A3A4"/>
          </p15:clr>
        </p15:guide>
        <p15:guide id="9" pos="2540">
          <p15:clr>
            <a:srgbClr val="A4A3A4"/>
          </p15:clr>
        </p15:guide>
        <p15:guide id="10" pos="2880">
          <p15:clr>
            <a:srgbClr val="A4A3A4"/>
          </p15:clr>
        </p15:guide>
        <p15:guide id="11" pos="3220">
          <p15:clr>
            <a:srgbClr val="A4A3A4"/>
          </p15:clr>
        </p15:guide>
        <p15:guide id="12" pos="3560">
          <p15:clr>
            <a:srgbClr val="A4A3A4"/>
          </p15:clr>
        </p15:guide>
        <p15:guide id="13" pos="3900">
          <p15:clr>
            <a:srgbClr val="A4A3A4"/>
          </p15:clr>
        </p15:guide>
        <p15:guide id="14" pos="4241">
          <p15:clr>
            <a:srgbClr val="A4A3A4"/>
          </p15:clr>
        </p15:guide>
        <p15:guide id="15" pos="4581">
          <p15:clr>
            <a:srgbClr val="A4A3A4"/>
          </p15:clr>
        </p15:guide>
        <p15:guide id="16" pos="4921">
          <p15:clr>
            <a:srgbClr val="A4A3A4"/>
          </p15:clr>
        </p15:guide>
        <p15:guide id="17" pos="5261">
          <p15:clr>
            <a:srgbClr val="A4A3A4"/>
          </p15:clr>
        </p15:guide>
        <p15:guide id="18" pos="5601">
          <p15:clr>
            <a:srgbClr val="F26B43"/>
          </p15:clr>
        </p15:guide>
        <p15:guide id="19" orient="horz" pos="159">
          <p15:clr>
            <a:srgbClr val="F26B43"/>
          </p15:clr>
        </p15:guide>
        <p15:guide id="20" orient="horz" pos="340">
          <p15:clr>
            <a:srgbClr val="A4A3A4"/>
          </p15:clr>
        </p15:guide>
        <p15:guide id="21" orient="horz" pos="522">
          <p15:clr>
            <a:srgbClr val="A4A3A4"/>
          </p15:clr>
        </p15:guide>
        <p15:guide id="22" orient="horz" pos="703">
          <p15:clr>
            <a:srgbClr val="F26B43"/>
          </p15:clr>
        </p15:guide>
        <p15:guide id="23" orient="horz" pos="884">
          <p15:clr>
            <a:srgbClr val="A4A3A4"/>
          </p15:clr>
        </p15:guide>
        <p15:guide id="24" orient="horz" pos="1066">
          <p15:clr>
            <a:srgbClr val="A4A3A4"/>
          </p15:clr>
        </p15:guide>
        <p15:guide id="25" orient="horz" pos="1247">
          <p15:clr>
            <a:srgbClr val="A4A3A4"/>
          </p15:clr>
        </p15:guide>
        <p15:guide id="26" orient="horz" pos="1429">
          <p15:clr>
            <a:srgbClr val="A4A3A4"/>
          </p15:clr>
        </p15:guide>
        <p15:guide id="27" orient="horz" pos="1610">
          <p15:clr>
            <a:srgbClr val="A4A3A4"/>
          </p15:clr>
        </p15:guide>
        <p15:guide id="28" orient="horz" pos="1791">
          <p15:clr>
            <a:srgbClr val="A4A3A4"/>
          </p15:clr>
        </p15:guide>
        <p15:guide id="29" orient="horz" pos="1973">
          <p15:clr>
            <a:srgbClr val="A4A3A4"/>
          </p15:clr>
        </p15:guide>
        <p15:guide id="30" orient="horz" pos="2154">
          <p15:clr>
            <a:srgbClr val="A4A3A4"/>
          </p15:clr>
        </p15:guide>
        <p15:guide id="31" orient="horz" pos="2336">
          <p15:clr>
            <a:srgbClr val="A4A3A4"/>
          </p15:clr>
        </p15:guide>
        <p15:guide id="32" orient="horz" pos="2517">
          <p15:clr>
            <a:srgbClr val="A4A3A4"/>
          </p15:clr>
        </p15:guide>
        <p15:guide id="33" orient="horz" pos="2699">
          <p15:clr>
            <a:srgbClr val="A4A3A4"/>
          </p15:clr>
        </p15:guide>
        <p15:guide id="34" orient="horz" pos="2880">
          <p15:clr>
            <a:srgbClr val="A4A3A4"/>
          </p15:clr>
        </p15:guide>
        <p15:guide id="35" orient="horz" pos="3061">
          <p15:clr>
            <a:srgbClr val="F26B43"/>
          </p15:clr>
        </p15:guide>
        <p15:guide id="36" pos="2710">
          <p15:clr>
            <a:srgbClr val="FBAE40"/>
          </p15:clr>
        </p15:guide>
        <p15:guide id="37" pos="3050">
          <p15:clr>
            <a:srgbClr val="FBAE40"/>
          </p15:clr>
        </p15:guide>
        <p15:guide id="38" orient="horz" pos="1519">
          <p15:clr>
            <a:srgbClr val="FBAE40"/>
          </p15:clr>
        </p15:guide>
        <p15:guide id="39" orient="horz" pos="1701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a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299F88B1-88AC-D243-1EA7-B939EC35121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260921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299F88B1-88AC-D243-1EA7-B939EC35121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6" name="Rechteck 6">
            <a:extLst>
              <a:ext uri="{FF2B5EF4-FFF2-40B4-BE49-F238E27FC236}">
                <a16:creationId xmlns:a16="http://schemas.microsoft.com/office/drawing/2014/main" id="{FF4072A1-3199-46B9-9486-2E737BB1202F}"/>
              </a:ext>
            </a:extLst>
          </p:cNvPr>
          <p:cNvSpPr/>
          <p:nvPr/>
        </p:nvSpPr>
        <p:spPr>
          <a:xfrm>
            <a:off x="6192000" y="3132000"/>
            <a:ext cx="2700000" cy="1728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 rtl="0"/>
            <a:endParaRPr lang="en-GB" sz="1400" dirty="0">
              <a:solidFill>
                <a:schemeClr val="bg1"/>
              </a:solidFill>
            </a:endParaRPr>
          </a:p>
        </p:txBody>
      </p:sp>
      <p:sp>
        <p:nvSpPr>
          <p:cNvPr id="68" name="Content Placeholder 6">
            <a:extLst>
              <a:ext uri="{FF2B5EF4-FFF2-40B4-BE49-F238E27FC236}">
                <a16:creationId xmlns:a16="http://schemas.microsoft.com/office/drawing/2014/main" id="{E728B84C-A7A3-D4F0-6835-25A02729F4DA}"/>
              </a:ext>
            </a:extLst>
          </p:cNvPr>
          <p:cNvSpPr>
            <a:spLocks noGrp="1"/>
          </p:cNvSpPr>
          <p:nvPr>
            <p:ph sz="quarter" idx="46" hasCustomPrompt="1"/>
          </p:nvPr>
        </p:nvSpPr>
        <p:spPr>
          <a:xfrm>
            <a:off x="6192000" y="4428000"/>
            <a:ext cx="2700000" cy="432000"/>
          </a:xfrm>
        </p:spPr>
        <p:txBody>
          <a:bodyPr lIns="72000" tIns="0" rIns="0" bIns="0"/>
          <a:lstStyle>
            <a:lvl1pPr rtl="0">
              <a:spcAft>
                <a:spcPts val="0"/>
              </a:spcAft>
              <a:defRPr sz="900"/>
            </a:lvl1pPr>
            <a:lvl2pPr rtl="0">
              <a:spcAft>
                <a:spcPts val="0"/>
              </a:spcAft>
              <a:defRPr sz="900"/>
            </a:lvl2pPr>
            <a:lvl3pPr>
              <a:spcAft>
                <a:spcPts val="0"/>
              </a:spcAft>
              <a:defRPr sz="900"/>
            </a:lvl3pPr>
            <a:lvl4pPr>
              <a:spcAft>
                <a:spcPts val="0"/>
              </a:spcAft>
              <a:defRPr sz="900"/>
            </a:lvl4pPr>
            <a:lvl5pPr>
              <a:spcAft>
                <a:spcPts val="0"/>
              </a:spcAft>
              <a:defRPr sz="900"/>
            </a:lvl5pPr>
          </a:lstStyle>
          <a:p>
            <a:pPr lvl="0"/>
            <a:r>
              <a:rPr lang="en-GB" dirty="0"/>
              <a:t>Text</a:t>
            </a:r>
          </a:p>
          <a:p>
            <a:pPr lvl="1"/>
            <a:endParaRPr lang="en-GB" dirty="0"/>
          </a:p>
        </p:txBody>
      </p:sp>
      <p:sp>
        <p:nvSpPr>
          <p:cNvPr id="67" name="Contact 6">
            <a:extLst>
              <a:ext uri="{FF2B5EF4-FFF2-40B4-BE49-F238E27FC236}">
                <a16:creationId xmlns:a16="http://schemas.microsoft.com/office/drawing/2014/main" id="{2174ECBA-CA4B-4D40-86A3-09769B3C1AF2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7272000" y="3564000"/>
            <a:ext cx="1512000" cy="306000"/>
          </a:xfrm>
        </p:spPr>
        <p:txBody>
          <a:bodyPr wrap="none" tIns="0" rIns="0" bIns="0" anchor="t"/>
          <a:lstStyle>
            <a:lvl1pPr mar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900"/>
            </a:lvl1pPr>
          </a:lstStyle>
          <a:p>
            <a:pPr lvl="0"/>
            <a:r>
              <a:rPr lang="en-GB" dirty="0"/>
              <a:t>+00 11 123 456 789</a:t>
            </a:r>
            <a:br>
              <a:rPr lang="en-GB" dirty="0"/>
            </a:br>
            <a:r>
              <a:rPr lang="en-GB" dirty="0"/>
              <a:t>email@munichre.com</a:t>
            </a:r>
          </a:p>
        </p:txBody>
      </p:sp>
      <p:sp>
        <p:nvSpPr>
          <p:cNvPr id="66" name="Name 6">
            <a:extLst>
              <a:ext uri="{FF2B5EF4-FFF2-40B4-BE49-F238E27FC236}">
                <a16:creationId xmlns:a16="http://schemas.microsoft.com/office/drawing/2014/main" id="{EC994742-6BF4-44FA-B523-43D25397F8CC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7272000" y="3258000"/>
            <a:ext cx="1512000" cy="162000"/>
          </a:xfrm>
        </p:spPr>
        <p:txBody>
          <a:bodyPr wrap="none" tIns="72000" rIns="36000" bIns="72000" anchor="ctr"/>
          <a:lstStyle>
            <a:lvl1pPr mar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dirty="0"/>
              <a:t>Name</a:t>
            </a:r>
          </a:p>
        </p:txBody>
      </p:sp>
      <p:sp>
        <p:nvSpPr>
          <p:cNvPr id="65" name="Picture Placeholder 6">
            <a:extLst>
              <a:ext uri="{FF2B5EF4-FFF2-40B4-BE49-F238E27FC236}">
                <a16:creationId xmlns:a16="http://schemas.microsoft.com/office/drawing/2014/main" id="{40E27AE8-7D5C-46F7-8FD4-F006D4F7AF50}"/>
              </a:ext>
            </a:extLst>
          </p:cNvPr>
          <p:cNvSpPr>
            <a:spLocks noGrp="1"/>
          </p:cNvSpPr>
          <p:nvPr>
            <p:ph type="pic" sz="quarter" idx="39" hasCustomPrompt="1"/>
          </p:nvPr>
        </p:nvSpPr>
        <p:spPr>
          <a:xfrm>
            <a:off x="6264000" y="3204000"/>
            <a:ext cx="900000" cy="1152000"/>
          </a:xfrm>
          <a:solidFill>
            <a:schemeClr val="bg1"/>
          </a:solidFill>
        </p:spPr>
        <p:txBody>
          <a:bodyPr vert="horz" lIns="0" tIns="0" rIns="0" bIns="0" rtlCol="0">
            <a:noAutofit/>
          </a:bodyPr>
          <a:lstStyle>
            <a:lvl1pPr rtl="0">
              <a:defRPr lang="en-GB" sz="900" noProof="0" dirty="0">
                <a:solidFill>
                  <a:schemeClr val="bg1"/>
                </a:solidFill>
              </a:defRPr>
            </a:lvl1pPr>
          </a:lstStyle>
          <a:p>
            <a:pPr marL="0" lvl="0" indent="0" algn="ctr">
              <a:buFontTx/>
              <a:buNone/>
            </a:pPr>
            <a:r>
              <a:rPr lang="en-GB" noProof="0" dirty="0"/>
              <a:t>To insert a picture, click on the icon in the middle.</a:t>
            </a:r>
          </a:p>
        </p:txBody>
      </p:sp>
      <p:sp>
        <p:nvSpPr>
          <p:cNvPr id="45" name="Rechteck 5">
            <a:extLst>
              <a:ext uri="{FF2B5EF4-FFF2-40B4-BE49-F238E27FC236}">
                <a16:creationId xmlns:a16="http://schemas.microsoft.com/office/drawing/2014/main" id="{C37621D2-9A1C-4A58-818C-F86DE079428E}"/>
              </a:ext>
            </a:extLst>
          </p:cNvPr>
          <p:cNvSpPr/>
          <p:nvPr/>
        </p:nvSpPr>
        <p:spPr>
          <a:xfrm>
            <a:off x="3222000" y="3132000"/>
            <a:ext cx="2700000" cy="1728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tlCol="0" anchor="ctr" anchorCtr="0"/>
          <a:lstStyle/>
          <a:p>
            <a:pPr algn="ctr" rtl="0"/>
            <a:endParaRPr lang="en-GB" sz="1400" dirty="0">
              <a:solidFill>
                <a:schemeClr val="bg1"/>
              </a:solidFill>
            </a:endParaRPr>
          </a:p>
        </p:txBody>
      </p:sp>
      <p:sp>
        <p:nvSpPr>
          <p:cNvPr id="53" name="Content Placeholder 5">
            <a:extLst>
              <a:ext uri="{FF2B5EF4-FFF2-40B4-BE49-F238E27FC236}">
                <a16:creationId xmlns:a16="http://schemas.microsoft.com/office/drawing/2014/main" id="{50FCB883-E9ED-E5C7-9534-6351555E64D2}"/>
              </a:ext>
            </a:extLst>
          </p:cNvPr>
          <p:cNvSpPr>
            <a:spLocks noGrp="1"/>
          </p:cNvSpPr>
          <p:nvPr>
            <p:ph sz="quarter" idx="45" hasCustomPrompt="1"/>
          </p:nvPr>
        </p:nvSpPr>
        <p:spPr>
          <a:xfrm>
            <a:off x="3222000" y="4428000"/>
            <a:ext cx="2700000" cy="432000"/>
          </a:xfrm>
        </p:spPr>
        <p:txBody>
          <a:bodyPr lIns="72000" tIns="0" rIns="0" bIns="0"/>
          <a:lstStyle>
            <a:lvl1pPr rtl="0">
              <a:spcAft>
                <a:spcPts val="0"/>
              </a:spcAft>
              <a:defRPr sz="900"/>
            </a:lvl1pPr>
            <a:lvl2pPr rtl="0">
              <a:spcAft>
                <a:spcPts val="0"/>
              </a:spcAft>
              <a:defRPr sz="900"/>
            </a:lvl2pPr>
            <a:lvl3pPr>
              <a:spcAft>
                <a:spcPts val="0"/>
              </a:spcAft>
              <a:defRPr sz="900"/>
            </a:lvl3pPr>
            <a:lvl4pPr>
              <a:spcAft>
                <a:spcPts val="0"/>
              </a:spcAft>
              <a:defRPr sz="900"/>
            </a:lvl4pPr>
            <a:lvl5pPr>
              <a:spcAft>
                <a:spcPts val="0"/>
              </a:spcAft>
              <a:defRPr sz="900"/>
            </a:lvl5pPr>
          </a:lstStyle>
          <a:p>
            <a:pPr lvl="0"/>
            <a:r>
              <a:rPr lang="en-GB" dirty="0"/>
              <a:t>Text</a:t>
            </a:r>
          </a:p>
          <a:p>
            <a:pPr lvl="1"/>
            <a:endParaRPr lang="en-GB" dirty="0"/>
          </a:p>
        </p:txBody>
      </p:sp>
      <p:sp>
        <p:nvSpPr>
          <p:cNvPr id="64" name="Contact 5">
            <a:extLst>
              <a:ext uri="{FF2B5EF4-FFF2-40B4-BE49-F238E27FC236}">
                <a16:creationId xmlns:a16="http://schemas.microsoft.com/office/drawing/2014/main" id="{AFB62FAF-3C3B-4A32-94CE-9F5FCDD35F3D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4302000" y="3564000"/>
            <a:ext cx="1512000" cy="306000"/>
          </a:xfrm>
        </p:spPr>
        <p:txBody>
          <a:bodyPr wrap="none" tIns="0" rIns="0" bIns="0" anchor="t"/>
          <a:lstStyle>
            <a:lvl1pPr mar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900"/>
            </a:lvl1pPr>
          </a:lstStyle>
          <a:p>
            <a:pPr lvl="0"/>
            <a:r>
              <a:rPr lang="en-GB" dirty="0"/>
              <a:t>+00 11 123 456 789</a:t>
            </a:r>
            <a:br>
              <a:rPr lang="en-GB" dirty="0"/>
            </a:br>
            <a:r>
              <a:rPr lang="en-GB" dirty="0"/>
              <a:t>email@munichre.com</a:t>
            </a:r>
          </a:p>
        </p:txBody>
      </p:sp>
      <p:sp>
        <p:nvSpPr>
          <p:cNvPr id="63" name="Name 5">
            <a:extLst>
              <a:ext uri="{FF2B5EF4-FFF2-40B4-BE49-F238E27FC236}">
                <a16:creationId xmlns:a16="http://schemas.microsoft.com/office/drawing/2014/main" id="{0F6C497F-F35C-4C47-822A-37AB4D62B3AD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4302000" y="3258000"/>
            <a:ext cx="1512000" cy="162000"/>
          </a:xfrm>
        </p:spPr>
        <p:txBody>
          <a:bodyPr wrap="none" tIns="72000" rIns="36000" bIns="72000" anchor="ctr"/>
          <a:lstStyle>
            <a:lvl1pPr mar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dirty="0"/>
              <a:t>Name</a:t>
            </a:r>
          </a:p>
        </p:txBody>
      </p:sp>
      <p:sp>
        <p:nvSpPr>
          <p:cNvPr id="62" name="Picture Placeholder 5">
            <a:extLst>
              <a:ext uri="{FF2B5EF4-FFF2-40B4-BE49-F238E27FC236}">
                <a16:creationId xmlns:a16="http://schemas.microsoft.com/office/drawing/2014/main" id="{55F88616-9EBF-4C43-A518-74DA8C8F87A1}"/>
              </a:ext>
            </a:extLst>
          </p:cNvPr>
          <p:cNvSpPr>
            <a:spLocks noGrp="1"/>
          </p:cNvSpPr>
          <p:nvPr>
            <p:ph type="pic" sz="quarter" idx="36" hasCustomPrompt="1"/>
          </p:nvPr>
        </p:nvSpPr>
        <p:spPr>
          <a:xfrm>
            <a:off x="3294000" y="3204000"/>
            <a:ext cx="900000" cy="1152000"/>
          </a:xfrm>
          <a:solidFill>
            <a:schemeClr val="bg1"/>
          </a:solidFill>
        </p:spPr>
        <p:txBody>
          <a:bodyPr vert="horz" lIns="0" tIns="0" rIns="0" bIns="0" rtlCol="0">
            <a:noAutofit/>
          </a:bodyPr>
          <a:lstStyle>
            <a:lvl1pPr rtl="0">
              <a:defRPr lang="en-GB" sz="900" noProof="0" dirty="0">
                <a:solidFill>
                  <a:schemeClr val="bg1"/>
                </a:solidFill>
              </a:defRPr>
            </a:lvl1pPr>
          </a:lstStyle>
          <a:p>
            <a:pPr marL="0" lvl="0" indent="0" algn="ctr">
              <a:buFontTx/>
              <a:buNone/>
            </a:pPr>
            <a:r>
              <a:rPr lang="en-GB" noProof="0" dirty="0"/>
              <a:t>To insert a picture, click on the icon in the middle.</a:t>
            </a:r>
          </a:p>
        </p:txBody>
      </p:sp>
      <p:sp>
        <p:nvSpPr>
          <p:cNvPr id="44" name="Rechteck 4">
            <a:extLst>
              <a:ext uri="{FF2B5EF4-FFF2-40B4-BE49-F238E27FC236}">
                <a16:creationId xmlns:a16="http://schemas.microsoft.com/office/drawing/2014/main" id="{CD04B862-4D08-4CEC-B795-ED86DC1C0ABC}"/>
              </a:ext>
            </a:extLst>
          </p:cNvPr>
          <p:cNvSpPr/>
          <p:nvPr/>
        </p:nvSpPr>
        <p:spPr>
          <a:xfrm>
            <a:off x="252000" y="3132000"/>
            <a:ext cx="2700000" cy="1728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 rtl="0"/>
            <a:endParaRPr lang="en-GB" sz="1400" dirty="0">
              <a:solidFill>
                <a:schemeClr val="bg1"/>
              </a:solidFill>
            </a:endParaRPr>
          </a:p>
        </p:txBody>
      </p:sp>
      <p:sp>
        <p:nvSpPr>
          <p:cNvPr id="40" name="Content Placeholder 4">
            <a:extLst>
              <a:ext uri="{FF2B5EF4-FFF2-40B4-BE49-F238E27FC236}">
                <a16:creationId xmlns:a16="http://schemas.microsoft.com/office/drawing/2014/main" id="{5BE75176-28DB-9548-347F-A024C3A44D08}"/>
              </a:ext>
            </a:extLst>
          </p:cNvPr>
          <p:cNvSpPr>
            <a:spLocks noGrp="1"/>
          </p:cNvSpPr>
          <p:nvPr>
            <p:ph sz="quarter" idx="44" hasCustomPrompt="1"/>
          </p:nvPr>
        </p:nvSpPr>
        <p:spPr>
          <a:xfrm>
            <a:off x="252000" y="4428000"/>
            <a:ext cx="2700000" cy="432000"/>
          </a:xfrm>
        </p:spPr>
        <p:txBody>
          <a:bodyPr lIns="72000" tIns="0" rIns="0" bIns="0"/>
          <a:lstStyle>
            <a:lvl1pPr rtl="0">
              <a:spcAft>
                <a:spcPts val="0"/>
              </a:spcAft>
              <a:defRPr sz="900"/>
            </a:lvl1pPr>
            <a:lvl2pPr rtl="0">
              <a:spcAft>
                <a:spcPts val="0"/>
              </a:spcAft>
              <a:defRPr sz="900"/>
            </a:lvl2pPr>
            <a:lvl3pPr>
              <a:spcAft>
                <a:spcPts val="0"/>
              </a:spcAft>
              <a:defRPr sz="900"/>
            </a:lvl3pPr>
            <a:lvl4pPr>
              <a:spcAft>
                <a:spcPts val="0"/>
              </a:spcAft>
              <a:defRPr sz="900"/>
            </a:lvl4pPr>
            <a:lvl5pPr>
              <a:spcAft>
                <a:spcPts val="0"/>
              </a:spcAft>
              <a:defRPr sz="900"/>
            </a:lvl5pPr>
          </a:lstStyle>
          <a:p>
            <a:pPr lvl="0"/>
            <a:r>
              <a:rPr lang="en-GB" dirty="0"/>
              <a:t>Text</a:t>
            </a:r>
          </a:p>
          <a:p>
            <a:pPr lvl="1"/>
            <a:endParaRPr lang="en-GB" dirty="0"/>
          </a:p>
        </p:txBody>
      </p:sp>
      <p:sp>
        <p:nvSpPr>
          <p:cNvPr id="56" name="Contact 4">
            <a:extLst>
              <a:ext uri="{FF2B5EF4-FFF2-40B4-BE49-F238E27FC236}">
                <a16:creationId xmlns:a16="http://schemas.microsoft.com/office/drawing/2014/main" id="{6D8773A0-B709-4FE3-BB73-CBF7A65227FB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332000" y="3564000"/>
            <a:ext cx="1512000" cy="306000"/>
          </a:xfrm>
        </p:spPr>
        <p:txBody>
          <a:bodyPr wrap="none" tIns="0" rIns="0" bIns="0" anchor="t"/>
          <a:lstStyle>
            <a:lvl1pPr mar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900"/>
            </a:lvl1pPr>
          </a:lstStyle>
          <a:p>
            <a:pPr lvl="0"/>
            <a:r>
              <a:rPr lang="en-GB" dirty="0"/>
              <a:t>+00 11 123 456 789</a:t>
            </a:r>
            <a:br>
              <a:rPr lang="en-GB" dirty="0"/>
            </a:br>
            <a:r>
              <a:rPr lang="en-GB" dirty="0"/>
              <a:t>email@munichre.com</a:t>
            </a:r>
          </a:p>
        </p:txBody>
      </p:sp>
      <p:sp>
        <p:nvSpPr>
          <p:cNvPr id="55" name="Name 4">
            <a:extLst>
              <a:ext uri="{FF2B5EF4-FFF2-40B4-BE49-F238E27FC236}">
                <a16:creationId xmlns:a16="http://schemas.microsoft.com/office/drawing/2014/main" id="{F53E8E51-08B1-41ED-90E6-677825AA3143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1332000" y="3258000"/>
            <a:ext cx="1512000" cy="162000"/>
          </a:xfrm>
        </p:spPr>
        <p:txBody>
          <a:bodyPr wrap="none" tIns="72000" rIns="36000" bIns="72000" anchor="ctr"/>
          <a:lstStyle>
            <a:lvl1pPr mar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dirty="0"/>
              <a:t>Name</a:t>
            </a:r>
          </a:p>
        </p:txBody>
      </p:sp>
      <p:sp>
        <p:nvSpPr>
          <p:cNvPr id="54" name="Picture Placeholder 4">
            <a:extLst>
              <a:ext uri="{FF2B5EF4-FFF2-40B4-BE49-F238E27FC236}">
                <a16:creationId xmlns:a16="http://schemas.microsoft.com/office/drawing/2014/main" id="{5119A483-DC69-4107-93C6-BD28231A0F0E}"/>
              </a:ext>
            </a:extLst>
          </p:cNvPr>
          <p:cNvSpPr>
            <a:spLocks noGrp="1"/>
          </p:cNvSpPr>
          <p:nvPr>
            <p:ph type="pic" sz="quarter" idx="28" hasCustomPrompt="1"/>
          </p:nvPr>
        </p:nvSpPr>
        <p:spPr>
          <a:xfrm>
            <a:off x="324000" y="3204000"/>
            <a:ext cx="900000" cy="1152000"/>
          </a:xfrm>
          <a:solidFill>
            <a:schemeClr val="bg1"/>
          </a:solidFill>
        </p:spPr>
        <p:txBody>
          <a:bodyPr vert="horz" lIns="0" tIns="0" rIns="0" bIns="0" rtlCol="0">
            <a:noAutofit/>
          </a:bodyPr>
          <a:lstStyle>
            <a:lvl1pPr rtl="0">
              <a:defRPr lang="en-GB" sz="900" noProof="0" dirty="0">
                <a:solidFill>
                  <a:schemeClr val="bg1"/>
                </a:solidFill>
              </a:defRPr>
            </a:lvl1pPr>
          </a:lstStyle>
          <a:p>
            <a:pPr marL="0" lvl="0" indent="0" algn="ctr">
              <a:buFontTx/>
              <a:buNone/>
            </a:pPr>
            <a:r>
              <a:rPr lang="en-GB" noProof="0" dirty="0"/>
              <a:t>To insert a picture, click on the icon in the middle.</a:t>
            </a:r>
          </a:p>
        </p:txBody>
      </p:sp>
      <p:sp>
        <p:nvSpPr>
          <p:cNvPr id="43" name="Rechteck 3">
            <a:extLst>
              <a:ext uri="{FF2B5EF4-FFF2-40B4-BE49-F238E27FC236}">
                <a16:creationId xmlns:a16="http://schemas.microsoft.com/office/drawing/2014/main" id="{48767779-18F7-4B5E-B714-78C66BD0728F}"/>
              </a:ext>
            </a:extLst>
          </p:cNvPr>
          <p:cNvSpPr/>
          <p:nvPr/>
        </p:nvSpPr>
        <p:spPr>
          <a:xfrm>
            <a:off x="6192000" y="1116000"/>
            <a:ext cx="2700000" cy="1728000"/>
          </a:xfrm>
          <a:prstGeom prst="rect">
            <a:avLst/>
          </a:prstGeom>
          <a:solidFill>
            <a:srgbClr val="F4F4F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 rtl="0"/>
            <a:endParaRPr lang="en-GB" sz="1400" dirty="0">
              <a:solidFill>
                <a:schemeClr val="bg1"/>
              </a:solidFill>
            </a:endParaRPr>
          </a:p>
        </p:txBody>
      </p:sp>
      <p:sp>
        <p:nvSpPr>
          <p:cNvPr id="39" name="Content Placeholder 3">
            <a:extLst>
              <a:ext uri="{FF2B5EF4-FFF2-40B4-BE49-F238E27FC236}">
                <a16:creationId xmlns:a16="http://schemas.microsoft.com/office/drawing/2014/main" id="{9CEEF168-E0A8-424E-1092-1805DBD55B41}"/>
              </a:ext>
            </a:extLst>
          </p:cNvPr>
          <p:cNvSpPr>
            <a:spLocks noGrp="1"/>
          </p:cNvSpPr>
          <p:nvPr>
            <p:ph sz="quarter" idx="43" hasCustomPrompt="1"/>
          </p:nvPr>
        </p:nvSpPr>
        <p:spPr>
          <a:xfrm>
            <a:off x="6192000" y="2412000"/>
            <a:ext cx="2700000" cy="432000"/>
          </a:xfrm>
        </p:spPr>
        <p:txBody>
          <a:bodyPr lIns="72000" tIns="0" rIns="0" bIns="0"/>
          <a:lstStyle>
            <a:lvl1pPr rtl="0">
              <a:spcAft>
                <a:spcPts val="0"/>
              </a:spcAft>
              <a:defRPr sz="900"/>
            </a:lvl1pPr>
            <a:lvl2pPr rtl="0">
              <a:spcAft>
                <a:spcPts val="0"/>
              </a:spcAft>
              <a:defRPr sz="900"/>
            </a:lvl2pPr>
            <a:lvl3pPr>
              <a:spcAft>
                <a:spcPts val="0"/>
              </a:spcAft>
              <a:defRPr sz="900"/>
            </a:lvl3pPr>
            <a:lvl4pPr>
              <a:spcAft>
                <a:spcPts val="0"/>
              </a:spcAft>
              <a:defRPr sz="900"/>
            </a:lvl4pPr>
            <a:lvl5pPr>
              <a:spcAft>
                <a:spcPts val="0"/>
              </a:spcAft>
              <a:defRPr sz="900"/>
            </a:lvl5pPr>
          </a:lstStyle>
          <a:p>
            <a:pPr lvl="0"/>
            <a:r>
              <a:rPr lang="en-GB" dirty="0"/>
              <a:t>Text</a:t>
            </a:r>
          </a:p>
          <a:p>
            <a:pPr lvl="1"/>
            <a:endParaRPr lang="en-GB" dirty="0"/>
          </a:p>
        </p:txBody>
      </p:sp>
      <p:sp>
        <p:nvSpPr>
          <p:cNvPr id="59" name="Contact 3">
            <a:extLst>
              <a:ext uri="{FF2B5EF4-FFF2-40B4-BE49-F238E27FC236}">
                <a16:creationId xmlns:a16="http://schemas.microsoft.com/office/drawing/2014/main" id="{8CD8A673-7656-4646-867B-4546BF0127DE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7272000" y="1548000"/>
            <a:ext cx="1512000" cy="306000"/>
          </a:xfrm>
        </p:spPr>
        <p:txBody>
          <a:bodyPr wrap="none" tIns="0" rIns="0" bIns="0" anchor="t"/>
          <a:lstStyle>
            <a:lvl1pPr mar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900"/>
            </a:lvl1pPr>
          </a:lstStyle>
          <a:p>
            <a:pPr lvl="0"/>
            <a:r>
              <a:rPr lang="en-GB" dirty="0"/>
              <a:t>+00 11 123 456 789</a:t>
            </a:r>
            <a:br>
              <a:rPr lang="en-GB" dirty="0"/>
            </a:br>
            <a:r>
              <a:rPr lang="en-GB" dirty="0"/>
              <a:t>email@munichre.com</a:t>
            </a:r>
          </a:p>
        </p:txBody>
      </p:sp>
      <p:sp>
        <p:nvSpPr>
          <p:cNvPr id="58" name="Name 3">
            <a:extLst>
              <a:ext uri="{FF2B5EF4-FFF2-40B4-BE49-F238E27FC236}">
                <a16:creationId xmlns:a16="http://schemas.microsoft.com/office/drawing/2014/main" id="{69AEB903-AA28-4012-8EB0-BBFFAA1485AE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7272000" y="1242000"/>
            <a:ext cx="1512000" cy="162000"/>
          </a:xfrm>
        </p:spPr>
        <p:txBody>
          <a:bodyPr wrap="none" tIns="72000" rIns="36000" bIns="72000" anchor="ctr"/>
          <a:lstStyle>
            <a:lvl1pPr mar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dirty="0"/>
              <a:t>Name</a:t>
            </a:r>
          </a:p>
        </p:txBody>
      </p:sp>
      <p:sp>
        <p:nvSpPr>
          <p:cNvPr id="57" name="Picture Placeholder 3">
            <a:extLst>
              <a:ext uri="{FF2B5EF4-FFF2-40B4-BE49-F238E27FC236}">
                <a16:creationId xmlns:a16="http://schemas.microsoft.com/office/drawing/2014/main" id="{9F817805-7528-4333-AA99-6DDAC9B891D0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6264000" y="1188000"/>
            <a:ext cx="900000" cy="1152000"/>
          </a:xfrm>
          <a:solidFill>
            <a:schemeClr val="bg1"/>
          </a:solidFill>
        </p:spPr>
        <p:txBody>
          <a:bodyPr vert="horz" lIns="0" tIns="0" rIns="0" bIns="0" rtlCol="0">
            <a:noAutofit/>
          </a:bodyPr>
          <a:lstStyle>
            <a:lvl1pPr rtl="0">
              <a:defRPr lang="en-GB" sz="900" noProof="0" dirty="0">
                <a:solidFill>
                  <a:schemeClr val="bg1"/>
                </a:solidFill>
              </a:defRPr>
            </a:lvl1pPr>
          </a:lstStyle>
          <a:p>
            <a:pPr marL="0" lvl="0" indent="0" algn="ctr">
              <a:buFontTx/>
              <a:buNone/>
            </a:pPr>
            <a:r>
              <a:rPr lang="en-GB" noProof="0" dirty="0"/>
              <a:t>To insert a picture, click on the icon in the middle.</a:t>
            </a:r>
          </a:p>
        </p:txBody>
      </p:sp>
      <p:sp>
        <p:nvSpPr>
          <p:cNvPr id="42" name="Rechteck 2">
            <a:extLst>
              <a:ext uri="{FF2B5EF4-FFF2-40B4-BE49-F238E27FC236}">
                <a16:creationId xmlns:a16="http://schemas.microsoft.com/office/drawing/2014/main" id="{8039CE65-DD1C-4EC4-B60E-281463168C6D}"/>
              </a:ext>
            </a:extLst>
          </p:cNvPr>
          <p:cNvSpPr/>
          <p:nvPr/>
        </p:nvSpPr>
        <p:spPr>
          <a:xfrm>
            <a:off x="3222000" y="1116000"/>
            <a:ext cx="2700000" cy="1728000"/>
          </a:xfrm>
          <a:prstGeom prst="rect">
            <a:avLst/>
          </a:prstGeom>
          <a:solidFill>
            <a:srgbClr val="F4F4F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 rtl="0"/>
            <a:endParaRPr lang="en-GB" sz="1400" dirty="0">
              <a:solidFill>
                <a:schemeClr val="bg1"/>
              </a:solidFill>
            </a:endParaRPr>
          </a:p>
        </p:txBody>
      </p:sp>
      <p:sp>
        <p:nvSpPr>
          <p:cNvPr id="38" name="Content Placeholder 2">
            <a:extLst>
              <a:ext uri="{FF2B5EF4-FFF2-40B4-BE49-F238E27FC236}">
                <a16:creationId xmlns:a16="http://schemas.microsoft.com/office/drawing/2014/main" id="{71259E42-B858-3EDA-BDFA-3E6EE033E782}"/>
              </a:ext>
            </a:extLst>
          </p:cNvPr>
          <p:cNvSpPr>
            <a:spLocks noGrp="1"/>
          </p:cNvSpPr>
          <p:nvPr>
            <p:ph sz="quarter" idx="42" hasCustomPrompt="1"/>
          </p:nvPr>
        </p:nvSpPr>
        <p:spPr>
          <a:xfrm>
            <a:off x="3222000" y="2412000"/>
            <a:ext cx="2700000" cy="432000"/>
          </a:xfrm>
        </p:spPr>
        <p:txBody>
          <a:bodyPr lIns="72000" tIns="0" rIns="0" bIns="0"/>
          <a:lstStyle>
            <a:lvl1pPr rtl="0">
              <a:spcAft>
                <a:spcPts val="0"/>
              </a:spcAft>
              <a:defRPr sz="900"/>
            </a:lvl1pPr>
            <a:lvl2pPr rtl="0">
              <a:spcAft>
                <a:spcPts val="0"/>
              </a:spcAft>
              <a:defRPr sz="900"/>
            </a:lvl2pPr>
            <a:lvl3pPr>
              <a:spcAft>
                <a:spcPts val="0"/>
              </a:spcAft>
              <a:defRPr sz="900"/>
            </a:lvl3pPr>
            <a:lvl4pPr>
              <a:spcAft>
                <a:spcPts val="0"/>
              </a:spcAft>
              <a:defRPr sz="900"/>
            </a:lvl4pPr>
            <a:lvl5pPr>
              <a:spcAft>
                <a:spcPts val="0"/>
              </a:spcAft>
              <a:defRPr sz="900"/>
            </a:lvl5pPr>
          </a:lstStyle>
          <a:p>
            <a:pPr lvl="0"/>
            <a:r>
              <a:rPr lang="en-GB" dirty="0"/>
              <a:t>Text</a:t>
            </a:r>
          </a:p>
          <a:p>
            <a:pPr lvl="1"/>
            <a:endParaRPr lang="en-GB" dirty="0"/>
          </a:p>
        </p:txBody>
      </p:sp>
      <p:sp>
        <p:nvSpPr>
          <p:cNvPr id="52" name="Contact 2">
            <a:extLst>
              <a:ext uri="{FF2B5EF4-FFF2-40B4-BE49-F238E27FC236}">
                <a16:creationId xmlns:a16="http://schemas.microsoft.com/office/drawing/2014/main" id="{CFCA952A-7744-4F85-B307-DBF950B9621D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302000" y="1548000"/>
            <a:ext cx="1512000" cy="306000"/>
          </a:xfrm>
        </p:spPr>
        <p:txBody>
          <a:bodyPr wrap="none" tIns="0" rIns="0" bIns="0" anchor="t"/>
          <a:lstStyle>
            <a:lvl1pPr mar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900"/>
            </a:lvl1pPr>
          </a:lstStyle>
          <a:p>
            <a:pPr lvl="0"/>
            <a:r>
              <a:rPr lang="en-GB" dirty="0"/>
              <a:t>+00 11 123 456 789</a:t>
            </a:r>
            <a:br>
              <a:rPr lang="en-GB" dirty="0"/>
            </a:br>
            <a:r>
              <a:rPr lang="en-GB" dirty="0"/>
              <a:t>email@munichre.com</a:t>
            </a:r>
          </a:p>
        </p:txBody>
      </p:sp>
      <p:sp>
        <p:nvSpPr>
          <p:cNvPr id="51" name="Name 2">
            <a:extLst>
              <a:ext uri="{FF2B5EF4-FFF2-40B4-BE49-F238E27FC236}">
                <a16:creationId xmlns:a16="http://schemas.microsoft.com/office/drawing/2014/main" id="{19233580-ED8E-4BA6-9253-BB1D548F80C5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302000" y="1242000"/>
            <a:ext cx="1512000" cy="162000"/>
          </a:xfrm>
        </p:spPr>
        <p:txBody>
          <a:bodyPr wrap="none" tIns="72000" rIns="36000" bIns="72000" anchor="ctr"/>
          <a:lstStyle>
            <a:lvl1pPr mar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dirty="0"/>
              <a:t>Name</a:t>
            </a:r>
          </a:p>
        </p:txBody>
      </p:sp>
      <p:sp>
        <p:nvSpPr>
          <p:cNvPr id="50" name="Picture Placeholder 2">
            <a:extLst>
              <a:ext uri="{FF2B5EF4-FFF2-40B4-BE49-F238E27FC236}">
                <a16:creationId xmlns:a16="http://schemas.microsoft.com/office/drawing/2014/main" id="{6001510B-4815-4720-B8D1-3A4BD0FD6400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3294000" y="1188000"/>
            <a:ext cx="900000" cy="1152000"/>
          </a:xfrm>
          <a:solidFill>
            <a:schemeClr val="bg1"/>
          </a:solidFill>
        </p:spPr>
        <p:txBody>
          <a:bodyPr vert="horz" lIns="0" tIns="0" rIns="0" bIns="0" rtlCol="0">
            <a:noAutofit/>
          </a:bodyPr>
          <a:lstStyle>
            <a:lvl1pPr rtl="0">
              <a:defRPr lang="en-GB" sz="900" noProof="0" dirty="0">
                <a:solidFill>
                  <a:schemeClr val="bg1"/>
                </a:solidFill>
              </a:defRPr>
            </a:lvl1pPr>
          </a:lstStyle>
          <a:p>
            <a:pPr marL="0" lvl="0" indent="0" algn="ctr">
              <a:buFontTx/>
              <a:buNone/>
            </a:pPr>
            <a:r>
              <a:rPr lang="en-GB" noProof="0" dirty="0"/>
              <a:t>To insert a picture, click on the icon in the middle.</a:t>
            </a:r>
          </a:p>
        </p:txBody>
      </p:sp>
      <p:sp>
        <p:nvSpPr>
          <p:cNvPr id="41" name="Rechteck 1">
            <a:extLst>
              <a:ext uri="{FF2B5EF4-FFF2-40B4-BE49-F238E27FC236}">
                <a16:creationId xmlns:a16="http://schemas.microsoft.com/office/drawing/2014/main" id="{F15FF932-8D41-49B6-9245-D90D9BEF474E}"/>
              </a:ext>
            </a:extLst>
          </p:cNvPr>
          <p:cNvSpPr/>
          <p:nvPr/>
        </p:nvSpPr>
        <p:spPr>
          <a:xfrm>
            <a:off x="252000" y="1116000"/>
            <a:ext cx="2700000" cy="1728000"/>
          </a:xfrm>
          <a:prstGeom prst="rect">
            <a:avLst/>
          </a:prstGeom>
          <a:solidFill>
            <a:srgbClr val="F4F4F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 rtl="0"/>
            <a:endParaRPr lang="en-GB" sz="1400" dirty="0">
              <a:solidFill>
                <a:schemeClr val="bg1"/>
              </a:solidFill>
            </a:endParaRPr>
          </a:p>
        </p:txBody>
      </p:sp>
      <p:sp>
        <p:nvSpPr>
          <p:cNvPr id="5" name="Content Placeholder 1"/>
          <p:cNvSpPr>
            <a:spLocks noGrp="1"/>
          </p:cNvSpPr>
          <p:nvPr>
            <p:ph sz="quarter" idx="13" hasCustomPrompt="1"/>
          </p:nvPr>
        </p:nvSpPr>
        <p:spPr>
          <a:xfrm>
            <a:off x="252000" y="2412000"/>
            <a:ext cx="2700000" cy="432000"/>
          </a:xfrm>
        </p:spPr>
        <p:txBody>
          <a:bodyPr lIns="72000" tIns="0" rIns="0" bIns="0"/>
          <a:lstStyle>
            <a:lvl1pPr rtl="0">
              <a:spcAft>
                <a:spcPts val="0"/>
              </a:spcAft>
              <a:defRPr sz="900"/>
            </a:lvl1pPr>
            <a:lvl2pPr rtl="0">
              <a:spcAft>
                <a:spcPts val="0"/>
              </a:spcAft>
              <a:defRPr sz="900"/>
            </a:lvl2pPr>
            <a:lvl3pPr>
              <a:spcAft>
                <a:spcPts val="0"/>
              </a:spcAft>
              <a:defRPr sz="900"/>
            </a:lvl3pPr>
            <a:lvl4pPr>
              <a:spcAft>
                <a:spcPts val="0"/>
              </a:spcAft>
              <a:defRPr sz="900"/>
            </a:lvl4pPr>
            <a:lvl5pPr>
              <a:spcAft>
                <a:spcPts val="0"/>
              </a:spcAft>
              <a:defRPr sz="900"/>
            </a:lvl5pPr>
          </a:lstStyle>
          <a:p>
            <a:pPr lvl="0"/>
            <a:r>
              <a:rPr lang="en-GB" dirty="0"/>
              <a:t>Text</a:t>
            </a:r>
          </a:p>
          <a:p>
            <a:pPr lvl="1"/>
            <a:endParaRPr lang="en-GB" dirty="0"/>
          </a:p>
        </p:txBody>
      </p:sp>
      <p:sp>
        <p:nvSpPr>
          <p:cNvPr id="49" name="Contact 1">
            <a:extLst>
              <a:ext uri="{FF2B5EF4-FFF2-40B4-BE49-F238E27FC236}">
                <a16:creationId xmlns:a16="http://schemas.microsoft.com/office/drawing/2014/main" id="{D81604A1-1EFD-4349-A1ED-EC7772B36053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332000" y="1548000"/>
            <a:ext cx="1512000" cy="306000"/>
          </a:xfrm>
        </p:spPr>
        <p:txBody>
          <a:bodyPr wrap="none" tIns="0" rIns="0" bIns="0" anchor="t"/>
          <a:lstStyle>
            <a:lvl1pPr mar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900"/>
            </a:lvl1pPr>
          </a:lstStyle>
          <a:p>
            <a:pPr lvl="0"/>
            <a:r>
              <a:rPr lang="en-GB" dirty="0"/>
              <a:t>+00 11 123 456 789</a:t>
            </a:r>
            <a:br>
              <a:rPr lang="en-GB" dirty="0"/>
            </a:br>
            <a:r>
              <a:rPr lang="en-GB" dirty="0"/>
              <a:t>email@munichre.com</a:t>
            </a:r>
          </a:p>
        </p:txBody>
      </p:sp>
      <p:sp>
        <p:nvSpPr>
          <p:cNvPr id="48" name="Name 1">
            <a:extLst>
              <a:ext uri="{FF2B5EF4-FFF2-40B4-BE49-F238E27FC236}">
                <a16:creationId xmlns:a16="http://schemas.microsoft.com/office/drawing/2014/main" id="{930FE81A-9B49-4EEE-8A3E-30B5B3AA2B61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332000" y="1242000"/>
            <a:ext cx="1512000" cy="162000"/>
          </a:xfrm>
        </p:spPr>
        <p:txBody>
          <a:bodyPr wrap="none" tIns="72000" rIns="36000" bIns="72000" anchor="ctr"/>
          <a:lstStyle>
            <a:lvl1pPr mar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dirty="0"/>
              <a:t>Name</a:t>
            </a:r>
          </a:p>
        </p:txBody>
      </p:sp>
      <p:sp>
        <p:nvSpPr>
          <p:cNvPr id="47" name="Picture Placeholder 1">
            <a:extLst>
              <a:ext uri="{FF2B5EF4-FFF2-40B4-BE49-F238E27FC236}">
                <a16:creationId xmlns:a16="http://schemas.microsoft.com/office/drawing/2014/main" id="{A59E4862-C7D2-4C67-ABA7-5DF9B50A36BB}"/>
              </a:ext>
            </a:extLst>
          </p:cNvPr>
          <p:cNvSpPr>
            <a:spLocks noGrp="1" noChangeAspect="1"/>
          </p:cNvSpPr>
          <p:nvPr>
            <p:ph type="pic" sz="quarter" idx="17" hasCustomPrompt="1"/>
          </p:nvPr>
        </p:nvSpPr>
        <p:spPr>
          <a:xfrm>
            <a:off x="324000" y="1188000"/>
            <a:ext cx="900000" cy="1152000"/>
          </a:xfrm>
          <a:solidFill>
            <a:schemeClr val="bg1"/>
          </a:solidFill>
        </p:spPr>
        <p:txBody>
          <a:bodyPr>
            <a:noAutofit/>
          </a:bodyPr>
          <a:lstStyle>
            <a:lvl1pPr marL="0" indent="0" algn="ctr" rtl="0">
              <a:buFontTx/>
              <a:buNone/>
              <a:defRPr sz="900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To insert a picture, click on the icon in the middle.</a:t>
            </a:r>
          </a:p>
        </p:txBody>
      </p:sp>
      <p:sp>
        <p:nvSpPr>
          <p:cNvPr id="14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fld id="{D56DB8AA-803C-49D2-90AA-1140CE72DCD7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13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016CA79A-39C2-47D8-BE96-BEF991BED82B}" type="datetime4">
              <a:rPr lang="en-GB" smtClean="0"/>
              <a:pPr/>
              <a:t>14 March 2024</a:t>
            </a:fld>
            <a:endParaRPr lang="en-GB" dirty="0"/>
          </a:p>
        </p:txBody>
      </p:sp>
      <p:sp>
        <p:nvSpPr>
          <p:cNvPr id="15" name="Footer Placeholder 1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GB" dirty="0"/>
              <a:t>Munich Re Group – Company Presentation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GB" dirty="0"/>
              <a:t>Title 20 pt, (Contact)</a:t>
            </a:r>
          </a:p>
        </p:txBody>
      </p:sp>
    </p:spTree>
    <p:extLst>
      <p:ext uri="{BB962C8B-B14F-4D97-AF65-F5344CB8AC3E}">
        <p14:creationId xmlns:p14="http://schemas.microsoft.com/office/powerpoint/2010/main" val="18447484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159">
          <p15:clr>
            <a:srgbClr val="F26B43"/>
          </p15:clr>
        </p15:guide>
        <p15:guide id="3" pos="499">
          <p15:clr>
            <a:srgbClr val="A4A3A4"/>
          </p15:clr>
        </p15:guide>
        <p15:guide id="4" pos="839">
          <p15:clr>
            <a:srgbClr val="A4A3A4"/>
          </p15:clr>
        </p15:guide>
        <p15:guide id="5" pos="1179">
          <p15:clr>
            <a:srgbClr val="A4A3A4"/>
          </p15:clr>
        </p15:guide>
        <p15:guide id="6" pos="1519">
          <p15:clr>
            <a:srgbClr val="A4A3A4"/>
          </p15:clr>
        </p15:guide>
        <p15:guide id="7" pos="1860">
          <p15:clr>
            <a:srgbClr val="FBAE40"/>
          </p15:clr>
        </p15:guide>
        <p15:guide id="8" pos="2200">
          <p15:clr>
            <a:srgbClr val="A4A3A4"/>
          </p15:clr>
        </p15:guide>
        <p15:guide id="9" pos="2540">
          <p15:clr>
            <a:srgbClr val="A4A3A4"/>
          </p15:clr>
        </p15:guide>
        <p15:guide id="10" pos="2880">
          <p15:clr>
            <a:srgbClr val="A4A3A4"/>
          </p15:clr>
        </p15:guide>
        <p15:guide id="11" pos="3220">
          <p15:clr>
            <a:srgbClr val="A4A3A4"/>
          </p15:clr>
        </p15:guide>
        <p15:guide id="12" pos="3560">
          <p15:clr>
            <a:srgbClr val="A4A3A4"/>
          </p15:clr>
        </p15:guide>
        <p15:guide id="13" pos="3900">
          <p15:clr>
            <a:srgbClr val="FBAE40"/>
          </p15:clr>
        </p15:guide>
        <p15:guide id="14" pos="4241">
          <p15:clr>
            <a:srgbClr val="A4A3A4"/>
          </p15:clr>
        </p15:guide>
        <p15:guide id="15" pos="4581">
          <p15:clr>
            <a:srgbClr val="A4A3A4"/>
          </p15:clr>
        </p15:guide>
        <p15:guide id="16" pos="4921">
          <p15:clr>
            <a:srgbClr val="A4A3A4"/>
          </p15:clr>
        </p15:guide>
        <p15:guide id="17" pos="5261">
          <p15:clr>
            <a:srgbClr val="A4A3A4"/>
          </p15:clr>
        </p15:guide>
        <p15:guide id="18" pos="5601">
          <p15:clr>
            <a:srgbClr val="F26B43"/>
          </p15:clr>
        </p15:guide>
        <p15:guide id="19" orient="horz" pos="159">
          <p15:clr>
            <a:srgbClr val="F26B43"/>
          </p15:clr>
        </p15:guide>
        <p15:guide id="20" orient="horz" pos="340">
          <p15:clr>
            <a:srgbClr val="A4A3A4"/>
          </p15:clr>
        </p15:guide>
        <p15:guide id="21" orient="horz" pos="522">
          <p15:clr>
            <a:srgbClr val="A4A3A4"/>
          </p15:clr>
        </p15:guide>
        <p15:guide id="22" orient="horz" pos="703">
          <p15:clr>
            <a:srgbClr val="F26B43"/>
          </p15:clr>
        </p15:guide>
        <p15:guide id="23" orient="horz" pos="884">
          <p15:clr>
            <a:srgbClr val="A4A3A4"/>
          </p15:clr>
        </p15:guide>
        <p15:guide id="24" orient="horz" pos="1066">
          <p15:clr>
            <a:srgbClr val="A4A3A4"/>
          </p15:clr>
        </p15:guide>
        <p15:guide id="25" orient="horz" pos="1247">
          <p15:clr>
            <a:srgbClr val="A4A3A4"/>
          </p15:clr>
        </p15:guide>
        <p15:guide id="26" orient="horz" pos="1429">
          <p15:clr>
            <a:srgbClr val="A4A3A4"/>
          </p15:clr>
        </p15:guide>
        <p15:guide id="27" orient="horz" pos="1610">
          <p15:clr>
            <a:srgbClr val="A4A3A4"/>
          </p15:clr>
        </p15:guide>
        <p15:guide id="28" orient="horz" pos="1791">
          <p15:clr>
            <a:srgbClr val="FBAE40"/>
          </p15:clr>
        </p15:guide>
        <p15:guide id="29" orient="horz" pos="1973">
          <p15:clr>
            <a:srgbClr val="FBAE40"/>
          </p15:clr>
        </p15:guide>
        <p15:guide id="30" orient="horz" pos="2154">
          <p15:clr>
            <a:srgbClr val="A4A3A4"/>
          </p15:clr>
        </p15:guide>
        <p15:guide id="31" orient="horz" pos="2336">
          <p15:clr>
            <a:srgbClr val="A4A3A4"/>
          </p15:clr>
        </p15:guide>
        <p15:guide id="32" orient="horz" pos="2517">
          <p15:clr>
            <a:srgbClr val="A4A3A4"/>
          </p15:clr>
        </p15:guide>
        <p15:guide id="33" orient="horz" pos="2699">
          <p15:clr>
            <a:srgbClr val="A4A3A4"/>
          </p15:clr>
        </p15:guide>
        <p15:guide id="34" orient="horz" pos="2880">
          <p15:clr>
            <a:srgbClr val="A4A3A4"/>
          </p15:clr>
        </p15:guide>
        <p15:guide id="35" orient="horz" pos="3061">
          <p15:clr>
            <a:srgbClr val="F26B43"/>
          </p15:clr>
        </p15:guide>
        <p15:guide id="36" pos="2030">
          <p15:clr>
            <a:srgbClr val="FBAE40"/>
          </p15:clr>
        </p15:guide>
        <p15:guide id="37" pos="3730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print Mun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30E5E66E-8E21-0565-2358-4F0E6CFB718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079356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30E5E66E-8E21-0565-2358-4F0E6CFB718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21C2FF9C-A73E-4AFD-B772-AAB410BC5428}" type="datetime4">
              <a:rPr lang="en-GB" smtClean="0"/>
              <a:pPr/>
              <a:t>14 March 2024</a:t>
            </a:fld>
            <a:endParaRPr lang="en-GB" dirty="0"/>
          </a:p>
        </p:txBody>
      </p:sp>
      <p:sp>
        <p:nvSpPr>
          <p:cNvPr id="11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fld id="{D56DB8AA-803C-49D2-90AA-1140CE72DCD7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12" name="Footer Placeholder 1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GB" dirty="0"/>
              <a:t>Munich Re Group – Company Presentation</a:t>
            </a:r>
          </a:p>
        </p:txBody>
      </p:sp>
      <p:sp>
        <p:nvSpPr>
          <p:cNvPr id="13" name="Text Box 1"/>
          <p:cNvSpPr txBox="1">
            <a:spLocks/>
          </p:cNvSpPr>
          <p:nvPr/>
        </p:nvSpPr>
        <p:spPr>
          <a:xfrm>
            <a:off x="252000" y="252000"/>
            <a:ext cx="6750000" cy="576000"/>
          </a:xfrm>
          <a:prstGeom prst="rect">
            <a:avLst/>
          </a:prstGeom>
          <a:noFill/>
          <a:effectLst/>
        </p:spPr>
        <p:txBody>
          <a:bodyPr wrap="none" lIns="0" tIns="0" rIns="0" bIns="0" rtlCol="0">
            <a:noAutofit/>
          </a:bodyPr>
          <a:lstStyle/>
          <a:p>
            <a:pPr algn="l" defTabSz="685800" rtl="0" eaLnBrk="1" latinLnBrk="0" hangingPunct="1">
              <a:spcBef>
                <a:spcPct val="0"/>
              </a:spcBef>
              <a:buNone/>
            </a:pPr>
            <a:r>
              <a:rPr lang="en-GB" sz="2000" kern="1200" noProof="0" dirty="0">
                <a:solidFill>
                  <a:schemeClr val="accent1"/>
                </a:solidFill>
              </a:rPr>
              <a:t>Imprint</a:t>
            </a:r>
          </a:p>
        </p:txBody>
      </p:sp>
      <p:sp>
        <p:nvSpPr>
          <p:cNvPr id="8" name="Text Box 3"/>
          <p:cNvSpPr txBox="1">
            <a:spLocks/>
          </p:cNvSpPr>
          <p:nvPr/>
        </p:nvSpPr>
        <p:spPr>
          <a:xfrm>
            <a:off x="252000" y="1404000"/>
            <a:ext cx="8640000" cy="1296000"/>
          </a:xfr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None/>
              <a:tabLst/>
              <a:defRPr/>
            </a:lvl1pPr>
          </a:lstStyle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itchFamily="2" charset="2"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solidFill>
                  <a:schemeClr val="tx2"/>
                </a:solidFill>
              </a:rPr>
              <a:t>Münchener Rückversicherungs-Gesellschaft</a:t>
            </a:r>
            <a:br>
              <a:rPr kumimoji="0" lang="en-GB" sz="1400" b="0" i="0" u="none" strike="noStrike" kern="1200" cap="none" spc="0" normalizeH="0" baseline="0" noProof="0" dirty="0">
                <a:solidFill>
                  <a:schemeClr val="tx2"/>
                </a:solidFill>
              </a:rPr>
            </a:b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rPr>
              <a:t>Aktiengesellschaft in München</a:t>
            </a:r>
            <a:br>
              <a:rPr kumimoji="0" lang="en-GB" sz="1400" b="0" i="0" u="none" strike="noStrike" kern="1200" cap="none" spc="0" normalizeH="0" baseline="0" noProof="0" dirty="0">
                <a:solidFill>
                  <a:schemeClr val="tx2"/>
                </a:solidFill>
              </a:rPr>
            </a:br>
            <a:r>
              <a:rPr kumimoji="0" lang="en-GB" sz="1400" b="0" i="0" u="none" strike="noStrike" kern="1200" cap="none" spc="0" normalizeH="0" baseline="0" noProof="0" dirty="0">
                <a:solidFill>
                  <a:schemeClr val="tx2"/>
                </a:solidFill>
              </a:rPr>
              <a:t>Königinstr. 107</a:t>
            </a:r>
            <a:b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rPr>
            </a:br>
            <a:r>
              <a:rPr kumimoji="0" lang="en-GB" sz="1400" b="0" i="0" u="none" strike="noStrike" kern="1200" cap="none" spc="0" normalizeH="0" baseline="0" noProof="0" dirty="0">
                <a:solidFill>
                  <a:schemeClr val="tx2"/>
                </a:solidFill>
              </a:rPr>
              <a:t>80802 München</a:t>
            </a:r>
            <a:b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rPr>
            </a:br>
            <a:r>
              <a:rPr kumimoji="0" lang="en-GB" sz="1400" b="0" i="0" u="none" strike="noStrike" kern="1200" cap="none" spc="0" normalizeH="0" baseline="0" noProof="0" dirty="0">
                <a:solidFill>
                  <a:schemeClr val="tx2"/>
                </a:solidFill>
              </a:rPr>
              <a:t>Germany</a:t>
            </a:r>
          </a:p>
        </p:txBody>
      </p:sp>
      <p:grpSp>
        <p:nvGrpSpPr>
          <p:cNvPr id="19" name="Group 1"/>
          <p:cNvGrpSpPr/>
          <p:nvPr/>
        </p:nvGrpSpPr>
        <p:grpSpPr>
          <a:xfrm>
            <a:off x="252000" y="2843213"/>
            <a:ext cx="8632273" cy="481984"/>
            <a:chOff x="338038" y="2862001"/>
            <a:chExt cx="8501072" cy="482184"/>
          </a:xfrm>
        </p:grpSpPr>
        <p:sp>
          <p:nvSpPr>
            <p:cNvPr id="20" name="Date"/>
            <p:cNvSpPr txBox="1">
              <a:spLocks/>
            </p:cNvSpPr>
            <p:nvPr/>
          </p:nvSpPr>
          <p:spPr>
            <a:xfrm>
              <a:off x="338038" y="2862001"/>
              <a:ext cx="1491972" cy="482183"/>
            </a:xfrm>
            <a:prstGeom prst="rect">
              <a:avLst/>
            </a:prstGeom>
            <a:noFill/>
          </p:spPr>
          <p:txBody>
            <a:bodyPr vert="horz" lIns="0" tIns="0" rIns="36000" bIns="0" rtlCol="0" anchor="ctr">
              <a:noAutofit/>
            </a:bodyPr>
            <a:lstStyle/>
            <a:p>
              <a:pPr algn="l" rtl="0">
                <a:spcBef>
                  <a:spcPts val="400"/>
                </a:spcBef>
              </a:pPr>
              <a:r>
                <a:rPr lang="en-GB" altLang="zh-CN" sz="1400" i="0" spc="0" baseline="0" dirty="0">
                  <a:solidFill>
                    <a:schemeClr val="tx2"/>
                  </a:solidFill>
                </a:rPr>
                <a:t>© </a:t>
              </a:r>
              <a:fld id="{A3C02936-56EB-4811-9318-C73FF2F154D5}" type="datetimeyyyy">
                <a:rPr lang="en-GB" altLang="en-GB" sz="1400" i="0" spc="0" baseline="0" smtClean="0">
                  <a:solidFill>
                    <a:schemeClr val="tx2"/>
                  </a:solidFill>
                </a:rPr>
                <a:pPr algn="l" rtl="0">
                  <a:spcBef>
                    <a:spcPts val="400"/>
                  </a:spcBef>
                </a:pPr>
                <a:t>2024</a:t>
              </a:fld>
              <a:endParaRPr kumimoji="0" lang="en-GB" sz="1400" b="0" i="0" u="none" strike="noStrike" kern="1200" cap="none" spc="0" normalizeH="0" baseline="0" noProof="0" dirty="0">
                <a:solidFill>
                  <a:schemeClr val="tx2"/>
                </a:solidFill>
              </a:endParaRPr>
            </a:p>
            <a:p>
              <a:pPr algn="l" rtl="0">
                <a:spcBef>
                  <a:spcPts val="400"/>
                </a:spcBef>
              </a:pPr>
              <a:r>
                <a:rPr lang="en-GB" altLang="zh-CN" sz="1400" i="0" spc="0" baseline="0" dirty="0">
                  <a:solidFill>
                    <a:schemeClr val="tx2"/>
                  </a:solidFill>
                </a:rPr>
                <a:t>© </a:t>
              </a:r>
              <a:fld id="{19F4CD60-3F6E-4CD4-AF04-3B713259ED7A}" type="datetimeyyyy">
                <a:rPr lang="en-GB" altLang="zh-CN" sz="1400" i="0" spc="0" baseline="0" smtClean="0">
                  <a:solidFill>
                    <a:schemeClr val="tx2"/>
                  </a:solidFill>
                </a:rPr>
                <a:pPr algn="l" rtl="0">
                  <a:spcBef>
                    <a:spcPts val="400"/>
                  </a:spcBef>
                </a:pPr>
                <a:t>2024</a:t>
              </a:fld>
              <a:endParaRPr lang="en-GB" sz="1400" spc="0" baseline="0" dirty="0">
                <a:solidFill>
                  <a:schemeClr val="tx2"/>
                </a:solidFill>
              </a:endParaRPr>
            </a:p>
          </p:txBody>
        </p:sp>
        <p:sp>
          <p:nvSpPr>
            <p:cNvPr id="21" name="Text Box 4"/>
            <p:cNvSpPr txBox="1"/>
            <p:nvPr/>
          </p:nvSpPr>
          <p:spPr>
            <a:xfrm>
              <a:off x="911017" y="2862002"/>
              <a:ext cx="7928093" cy="482183"/>
            </a:xfrm>
            <a:prstGeom prst="rect">
              <a:avLst/>
            </a:prstGeom>
            <a:effectLst/>
          </p:spPr>
          <p:txBody>
            <a:bodyPr wrap="square" lIns="0" tIns="0" rIns="0" bIns="0" rtlCol="0">
              <a:spAutoFit/>
            </a:bodyPr>
            <a:lstStyle/>
            <a:p>
              <a:pPr algn="l" rtl="0">
                <a:spcBef>
                  <a:spcPts val="400"/>
                </a:spcBef>
              </a:pPr>
              <a:r>
                <a:rPr kumimoji="0" lang="en-GB" sz="1400" b="0" i="0" u="none" strike="noStrike" kern="1200" cap="none" spc="0" normalizeH="0" baseline="0" noProof="0" dirty="0">
                  <a:solidFill>
                    <a:schemeClr val="tx2"/>
                  </a:solidFill>
                </a:rPr>
                <a:t> Münchener Rückversicherungs-Gesellschaft</a:t>
              </a:r>
            </a:p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400" b="0" i="0" u="none" strike="noStrike" kern="1200" cap="none" spc="0" normalizeH="0" baseline="0" noProof="0" dirty="0">
                  <a:solidFill>
                    <a:schemeClr val="tx2"/>
                  </a:solidFill>
                </a:rPr>
                <a:t> Munich Reinsurance Company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4759093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159">
          <p15:clr>
            <a:srgbClr val="F26B43"/>
          </p15:clr>
        </p15:guide>
        <p15:guide id="3" pos="499">
          <p15:clr>
            <a:srgbClr val="A4A3A4"/>
          </p15:clr>
        </p15:guide>
        <p15:guide id="4" pos="839">
          <p15:clr>
            <a:srgbClr val="A4A3A4"/>
          </p15:clr>
        </p15:guide>
        <p15:guide id="5" pos="1179">
          <p15:clr>
            <a:srgbClr val="A4A3A4"/>
          </p15:clr>
        </p15:guide>
        <p15:guide id="6" pos="1519">
          <p15:clr>
            <a:srgbClr val="A4A3A4"/>
          </p15:clr>
        </p15:guide>
        <p15:guide id="7" pos="1860">
          <p15:clr>
            <a:srgbClr val="A4A3A4"/>
          </p15:clr>
        </p15:guide>
        <p15:guide id="8" pos="2200">
          <p15:clr>
            <a:srgbClr val="A4A3A4"/>
          </p15:clr>
        </p15:guide>
        <p15:guide id="9" pos="2540">
          <p15:clr>
            <a:srgbClr val="A4A3A4"/>
          </p15:clr>
        </p15:guide>
        <p15:guide id="10" pos="2880">
          <p15:clr>
            <a:srgbClr val="A4A3A4"/>
          </p15:clr>
        </p15:guide>
        <p15:guide id="11" pos="3220">
          <p15:clr>
            <a:srgbClr val="A4A3A4"/>
          </p15:clr>
        </p15:guide>
        <p15:guide id="12" pos="3560">
          <p15:clr>
            <a:srgbClr val="A4A3A4"/>
          </p15:clr>
        </p15:guide>
        <p15:guide id="13" pos="3900">
          <p15:clr>
            <a:srgbClr val="A4A3A4"/>
          </p15:clr>
        </p15:guide>
        <p15:guide id="14" pos="4241">
          <p15:clr>
            <a:srgbClr val="A4A3A4"/>
          </p15:clr>
        </p15:guide>
        <p15:guide id="15" pos="4581">
          <p15:clr>
            <a:srgbClr val="A4A3A4"/>
          </p15:clr>
        </p15:guide>
        <p15:guide id="16" pos="4921">
          <p15:clr>
            <a:srgbClr val="A4A3A4"/>
          </p15:clr>
        </p15:guide>
        <p15:guide id="17" pos="5261">
          <p15:clr>
            <a:srgbClr val="A4A3A4"/>
          </p15:clr>
        </p15:guide>
        <p15:guide id="18" pos="5601">
          <p15:clr>
            <a:srgbClr val="F26B43"/>
          </p15:clr>
        </p15:guide>
        <p15:guide id="19" orient="horz" pos="159">
          <p15:clr>
            <a:srgbClr val="F26B43"/>
          </p15:clr>
        </p15:guide>
        <p15:guide id="20" orient="horz" pos="340">
          <p15:clr>
            <a:srgbClr val="A4A3A4"/>
          </p15:clr>
        </p15:guide>
        <p15:guide id="21" orient="horz" pos="522">
          <p15:clr>
            <a:srgbClr val="A4A3A4"/>
          </p15:clr>
        </p15:guide>
        <p15:guide id="22" orient="horz" pos="703">
          <p15:clr>
            <a:srgbClr val="F26B43"/>
          </p15:clr>
        </p15:guide>
        <p15:guide id="23" orient="horz" pos="884">
          <p15:clr>
            <a:srgbClr val="A4A3A4"/>
          </p15:clr>
        </p15:guide>
        <p15:guide id="24" orient="horz" pos="1066">
          <p15:clr>
            <a:srgbClr val="A4A3A4"/>
          </p15:clr>
        </p15:guide>
        <p15:guide id="25" orient="horz" pos="1247">
          <p15:clr>
            <a:srgbClr val="A4A3A4"/>
          </p15:clr>
        </p15:guide>
        <p15:guide id="26" orient="horz" pos="1429">
          <p15:clr>
            <a:srgbClr val="A4A3A4"/>
          </p15:clr>
        </p15:guide>
        <p15:guide id="27" orient="horz" pos="1610">
          <p15:clr>
            <a:srgbClr val="A4A3A4"/>
          </p15:clr>
        </p15:guide>
        <p15:guide id="28" orient="horz" pos="1791">
          <p15:clr>
            <a:srgbClr val="A4A3A4"/>
          </p15:clr>
        </p15:guide>
        <p15:guide id="29" orient="horz" pos="1973">
          <p15:clr>
            <a:srgbClr val="A4A3A4"/>
          </p15:clr>
        </p15:guide>
        <p15:guide id="30" orient="horz" pos="2154">
          <p15:clr>
            <a:srgbClr val="A4A3A4"/>
          </p15:clr>
        </p15:guide>
        <p15:guide id="31" orient="horz" pos="2336">
          <p15:clr>
            <a:srgbClr val="A4A3A4"/>
          </p15:clr>
        </p15:guide>
        <p15:guide id="32" orient="horz" pos="2517">
          <p15:clr>
            <a:srgbClr val="A4A3A4"/>
          </p15:clr>
        </p15:guide>
        <p15:guide id="33" orient="horz" pos="2699">
          <p15:clr>
            <a:srgbClr val="A4A3A4"/>
          </p15:clr>
        </p15:guide>
        <p15:guide id="34" orient="horz" pos="2880">
          <p15:clr>
            <a:srgbClr val="A4A3A4"/>
          </p15:clr>
        </p15:guide>
        <p15:guide id="35" orient="horz" pos="3061">
          <p15:clr>
            <a:srgbClr val="F26B43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pri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727AACD5-40A3-CE5D-CC26-CBDEA20CC0F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538873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727AACD5-40A3-CE5D-CC26-CBDEA20CC0F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D2C10A51-DDCE-4DED-824F-C977BAE1242D}" type="datetime4">
              <a:rPr lang="en-GB" smtClean="0"/>
              <a:pPr/>
              <a:t>14 March 2024</a:t>
            </a:fld>
            <a:endParaRPr lang="en-GB" dirty="0"/>
          </a:p>
        </p:txBody>
      </p:sp>
      <p:sp>
        <p:nvSpPr>
          <p:cNvPr id="11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fld id="{D56DB8AA-803C-49D2-90AA-1140CE72DCD7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12" name="Footer Placeholder 1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GB" dirty="0"/>
              <a:t>Munich Re Group – Company Presentation</a:t>
            </a:r>
          </a:p>
        </p:txBody>
      </p:sp>
      <p:sp>
        <p:nvSpPr>
          <p:cNvPr id="13" name="Text Box Title 1"/>
          <p:cNvSpPr txBox="1">
            <a:spLocks/>
          </p:cNvSpPr>
          <p:nvPr/>
        </p:nvSpPr>
        <p:spPr>
          <a:xfrm>
            <a:off x="252000" y="252000"/>
            <a:ext cx="6750000" cy="576675"/>
          </a:xfrm>
          <a:prstGeom prst="rect">
            <a:avLst/>
          </a:prstGeom>
          <a:noFill/>
          <a:effectLst/>
        </p:spPr>
        <p:txBody>
          <a:bodyPr wrap="none" lIns="0" tIns="0" rIns="0" bIns="0" rtlCol="0"/>
          <a:lstStyle/>
          <a:p>
            <a:pPr algn="l" defTabSz="685800" rtl="0" eaLnBrk="1" latinLnBrk="0" hangingPunct="1">
              <a:spcBef>
                <a:spcPct val="0"/>
              </a:spcBef>
              <a:buNone/>
            </a:pPr>
            <a:r>
              <a:rPr lang="en-GB" sz="2000" kern="1200" noProof="0" dirty="0">
                <a:solidFill>
                  <a:schemeClr val="accent1"/>
                </a:solidFill>
              </a:rPr>
              <a:t>Imprint</a:t>
            </a:r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252000" y="1404000"/>
            <a:ext cx="8640000" cy="1296000"/>
          </a:xfrm>
        </p:spPr>
        <p:txBody>
          <a:bodyPr/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pPr lvl="0"/>
            <a:r>
              <a:rPr lang="en-GB" noProof="0" dirty="0"/>
              <a:t>Please insert your legal entity here</a:t>
            </a:r>
          </a:p>
          <a:p>
            <a:endParaRPr lang="en-GB" dirty="0"/>
          </a:p>
        </p:txBody>
      </p:sp>
      <p:sp>
        <p:nvSpPr>
          <p:cNvPr id="20" name="Date"/>
          <p:cNvSpPr txBox="1">
            <a:spLocks/>
          </p:cNvSpPr>
          <p:nvPr/>
        </p:nvSpPr>
        <p:spPr>
          <a:xfrm>
            <a:off x="252039" y="2844000"/>
            <a:ext cx="1516367" cy="481983"/>
          </a:xfrm>
          <a:prstGeom prst="rect">
            <a:avLst/>
          </a:prstGeom>
          <a:noFill/>
        </p:spPr>
        <p:txBody>
          <a:bodyPr vert="horz" lIns="0" tIns="0" rIns="36000" bIns="0" rtlCol="0" anchor="ctr">
            <a:noAutofit/>
          </a:bodyPr>
          <a:lstStyle/>
          <a:p>
            <a:pPr algn="l" rtl="0">
              <a:spcBef>
                <a:spcPts val="400"/>
              </a:spcBef>
            </a:pPr>
            <a:r>
              <a:rPr lang="en-GB" altLang="zh-CN" sz="1400" i="0" spc="0" baseline="0" dirty="0">
                <a:solidFill>
                  <a:schemeClr val="tx2"/>
                </a:solidFill>
              </a:rPr>
              <a:t>© </a:t>
            </a:r>
            <a:fld id="{14D338FD-C43E-499C-81A9-A4CE75F809AC}" type="datetimeyyyy">
              <a:rPr lang="en-GB" altLang="zh-CN" sz="1400" i="0" spc="0" baseline="0" smtClean="0">
                <a:solidFill>
                  <a:schemeClr val="tx2"/>
                </a:solidFill>
              </a:rPr>
              <a:pPr algn="l" rtl="0">
                <a:spcBef>
                  <a:spcPts val="400"/>
                </a:spcBef>
              </a:pPr>
              <a:t>2024</a:t>
            </a:fld>
            <a:endParaRPr lang="en-GB" altLang="zh-CN" sz="1400" i="0" spc="0" baseline="0" dirty="0">
              <a:solidFill>
                <a:schemeClr val="tx2"/>
              </a:solidFill>
            </a:endParaRPr>
          </a:p>
          <a:p>
            <a:pPr algn="l" rtl="0">
              <a:spcBef>
                <a:spcPts val="400"/>
              </a:spcBef>
            </a:pPr>
            <a:r>
              <a:rPr lang="en-GB" altLang="zh-CN" sz="1400" i="0" spc="0" baseline="0" dirty="0">
                <a:solidFill>
                  <a:schemeClr val="tx2"/>
                </a:solidFill>
              </a:rPr>
              <a:t>© </a:t>
            </a:r>
            <a:fld id="{FA804410-6E04-4085-9F82-931EB239A6DF}" type="datetimeyyyy">
              <a:rPr lang="en-GB" altLang="zh-CN" sz="1400" i="0" spc="0" baseline="0" smtClean="0">
                <a:solidFill>
                  <a:schemeClr val="tx2"/>
                </a:solidFill>
              </a:rPr>
              <a:pPr algn="l" rtl="0">
                <a:spcBef>
                  <a:spcPts val="400"/>
                </a:spcBef>
              </a:pPr>
              <a:t>2024</a:t>
            </a:fld>
            <a:endParaRPr lang="en-GB" sz="1400" spc="0" baseline="0" dirty="0">
              <a:solidFill>
                <a:schemeClr val="tx2"/>
              </a:solidFill>
            </a:endParaRPr>
          </a:p>
        </p:txBody>
      </p:sp>
      <p:sp>
        <p:nvSpPr>
          <p:cNvPr id="21" name="Text Box 2"/>
          <p:cNvSpPr txBox="1"/>
          <p:nvPr/>
        </p:nvSpPr>
        <p:spPr>
          <a:xfrm>
            <a:off x="834386" y="2844002"/>
            <a:ext cx="8367602" cy="481983"/>
          </a:xfrm>
          <a:prstGeom prst="rect">
            <a:avLst/>
          </a:prstGeom>
          <a:effectLst/>
        </p:spPr>
        <p:txBody>
          <a:bodyPr wrap="square" lIns="0" tIns="0" rIns="0" bIns="0" rtlCol="0">
            <a:spAutoFit/>
          </a:bodyPr>
          <a:lstStyle/>
          <a:p>
            <a:pPr algn="l" rtl="0">
              <a:spcBef>
                <a:spcPts val="400"/>
              </a:spcBef>
            </a:pPr>
            <a:r>
              <a:rPr kumimoji="0" lang="en-GB" sz="1400" b="0" i="0" u="none" strike="noStrike" kern="1200" cap="none" spc="0" normalizeH="0" baseline="0" noProof="0" dirty="0">
                <a:solidFill>
                  <a:schemeClr val="tx2"/>
                </a:solidFill>
              </a:rPr>
              <a:t> Münchener Rückversicherungs-Gesellschaft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solidFill>
                  <a:schemeClr val="tx2"/>
                </a:solidFill>
              </a:rPr>
              <a:t> Munich Reinsurance Company</a:t>
            </a:r>
          </a:p>
        </p:txBody>
      </p:sp>
    </p:spTree>
    <p:extLst>
      <p:ext uri="{BB962C8B-B14F-4D97-AF65-F5344CB8AC3E}">
        <p14:creationId xmlns:p14="http://schemas.microsoft.com/office/powerpoint/2010/main" val="23633118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159">
          <p15:clr>
            <a:srgbClr val="F26B43"/>
          </p15:clr>
        </p15:guide>
        <p15:guide id="3" pos="499">
          <p15:clr>
            <a:srgbClr val="A4A3A4"/>
          </p15:clr>
        </p15:guide>
        <p15:guide id="4" pos="839">
          <p15:clr>
            <a:srgbClr val="A4A3A4"/>
          </p15:clr>
        </p15:guide>
        <p15:guide id="5" pos="1179">
          <p15:clr>
            <a:srgbClr val="A4A3A4"/>
          </p15:clr>
        </p15:guide>
        <p15:guide id="6" pos="1519">
          <p15:clr>
            <a:srgbClr val="A4A3A4"/>
          </p15:clr>
        </p15:guide>
        <p15:guide id="7" pos="1860">
          <p15:clr>
            <a:srgbClr val="A4A3A4"/>
          </p15:clr>
        </p15:guide>
        <p15:guide id="8" pos="2200">
          <p15:clr>
            <a:srgbClr val="A4A3A4"/>
          </p15:clr>
        </p15:guide>
        <p15:guide id="9" pos="2540">
          <p15:clr>
            <a:srgbClr val="A4A3A4"/>
          </p15:clr>
        </p15:guide>
        <p15:guide id="10" pos="2880">
          <p15:clr>
            <a:srgbClr val="A4A3A4"/>
          </p15:clr>
        </p15:guide>
        <p15:guide id="11" pos="3220">
          <p15:clr>
            <a:srgbClr val="A4A3A4"/>
          </p15:clr>
        </p15:guide>
        <p15:guide id="12" pos="3560">
          <p15:clr>
            <a:srgbClr val="A4A3A4"/>
          </p15:clr>
        </p15:guide>
        <p15:guide id="13" pos="3900">
          <p15:clr>
            <a:srgbClr val="A4A3A4"/>
          </p15:clr>
        </p15:guide>
        <p15:guide id="14" pos="4241">
          <p15:clr>
            <a:srgbClr val="A4A3A4"/>
          </p15:clr>
        </p15:guide>
        <p15:guide id="15" pos="4581">
          <p15:clr>
            <a:srgbClr val="A4A3A4"/>
          </p15:clr>
        </p15:guide>
        <p15:guide id="16" pos="4921">
          <p15:clr>
            <a:srgbClr val="A4A3A4"/>
          </p15:clr>
        </p15:guide>
        <p15:guide id="17" pos="5261">
          <p15:clr>
            <a:srgbClr val="A4A3A4"/>
          </p15:clr>
        </p15:guide>
        <p15:guide id="18" pos="5601">
          <p15:clr>
            <a:srgbClr val="F26B43"/>
          </p15:clr>
        </p15:guide>
        <p15:guide id="19" orient="horz" pos="159">
          <p15:clr>
            <a:srgbClr val="F26B43"/>
          </p15:clr>
        </p15:guide>
        <p15:guide id="20" orient="horz" pos="340">
          <p15:clr>
            <a:srgbClr val="A4A3A4"/>
          </p15:clr>
        </p15:guide>
        <p15:guide id="21" orient="horz" pos="522">
          <p15:clr>
            <a:srgbClr val="A4A3A4"/>
          </p15:clr>
        </p15:guide>
        <p15:guide id="22" orient="horz" pos="703">
          <p15:clr>
            <a:srgbClr val="F26B43"/>
          </p15:clr>
        </p15:guide>
        <p15:guide id="23" orient="horz" pos="884">
          <p15:clr>
            <a:srgbClr val="FBAE40"/>
          </p15:clr>
        </p15:guide>
        <p15:guide id="24" orient="horz" pos="1066">
          <p15:clr>
            <a:srgbClr val="A4A3A4"/>
          </p15:clr>
        </p15:guide>
        <p15:guide id="25" orient="horz" pos="1247">
          <p15:clr>
            <a:srgbClr val="A4A3A4"/>
          </p15:clr>
        </p15:guide>
        <p15:guide id="26" orient="horz" pos="1429">
          <p15:clr>
            <a:srgbClr val="A4A3A4"/>
          </p15:clr>
        </p15:guide>
        <p15:guide id="27" orient="horz" pos="1610">
          <p15:clr>
            <a:srgbClr val="A4A3A4"/>
          </p15:clr>
        </p15:guide>
        <p15:guide id="28" orient="horz" pos="1791">
          <p15:clr>
            <a:srgbClr val="A4A3A4"/>
          </p15:clr>
        </p15:guide>
        <p15:guide id="29" orient="horz" pos="1973">
          <p15:clr>
            <a:srgbClr val="A4A3A4"/>
          </p15:clr>
        </p15:guide>
        <p15:guide id="30" orient="horz" pos="2154">
          <p15:clr>
            <a:srgbClr val="A4A3A4"/>
          </p15:clr>
        </p15:guide>
        <p15:guide id="31" orient="horz" pos="2336">
          <p15:clr>
            <a:srgbClr val="A4A3A4"/>
          </p15:clr>
        </p15:guide>
        <p15:guide id="32" orient="horz" pos="2517">
          <p15:clr>
            <a:srgbClr val="A4A3A4"/>
          </p15:clr>
        </p15:guide>
        <p15:guide id="33" orient="horz" pos="2699">
          <p15:clr>
            <a:srgbClr val="A4A3A4"/>
          </p15:clr>
        </p15:guide>
        <p15:guide id="34" orient="horz" pos="2880">
          <p15:clr>
            <a:srgbClr val="A4A3A4"/>
          </p15:clr>
        </p15:guide>
        <p15:guide id="35" orient="horz" pos="3061">
          <p15:clr>
            <a:srgbClr val="F26B43"/>
          </p15:clr>
        </p15:guide>
        <p15:guide id="37" orient="horz" pos="170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3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07D66537-2D69-40A7-87C3-21FC8500743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214600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07D66537-2D69-40A7-87C3-21FC8500743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icture Placeholder 1"/>
          <p:cNvSpPr>
            <a:spLocks noGrp="1"/>
          </p:cNvSpPr>
          <p:nvPr>
            <p:ph type="pic" sz="quarter" idx="13" hasCustomPrompt="1"/>
          </p:nvPr>
        </p:nvSpPr>
        <p:spPr>
          <a:xfrm>
            <a:off x="4572000" y="0"/>
            <a:ext cx="4572000" cy="5148000"/>
          </a:xfrm>
          <a:solidFill>
            <a:schemeClr val="accent1"/>
          </a:solidFill>
        </p:spPr>
        <p:txBody>
          <a:bodyPr lIns="540000" tIns="792000" rIns="540000" anchor="t" anchorCtr="1"/>
          <a:lstStyle>
            <a:lvl1pPr marL="0" marR="0" indent="0" algn="l" defTabSz="2700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Wingdings" pitchFamily="2" charset="2"/>
              <a:buNone/>
              <a:tabLst/>
              <a:defRPr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2700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Wingdings" pitchFamily="2" charset="2"/>
              <a:buNone/>
              <a:tabLst/>
              <a:defRPr/>
            </a:pPr>
            <a:r>
              <a:rPr lang="en-GB" dirty="0"/>
              <a:t>To insert a cover picture, click on the icon in the middle.</a:t>
            </a:r>
            <a:br>
              <a:rPr lang="en-GB" dirty="0"/>
            </a:br>
            <a:r>
              <a:rPr lang="en-GB" dirty="0"/>
              <a:t>If no picture is wanted you may choose a colour instead.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52000" y="252000"/>
            <a:ext cx="3978000" cy="1152000"/>
          </a:xfrm>
        </p:spPr>
        <p:txBody>
          <a:bodyPr vert="horz" anchor="t">
            <a:noAutofit/>
          </a:bodyPr>
          <a:lstStyle>
            <a:lvl1pPr rtl="0">
              <a:lnSpc>
                <a:spcPct val="100000"/>
              </a:lnSpc>
              <a:defRPr sz="2400" baseline="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Title 24 pt,</a:t>
            </a:r>
            <a:br>
              <a:rPr lang="en-GB" dirty="0"/>
            </a:br>
            <a:r>
              <a:rPr lang="en-GB" dirty="0"/>
              <a:t>three lines max</a:t>
            </a:r>
          </a:p>
        </p:txBody>
      </p:sp>
      <p:sp>
        <p:nvSpPr>
          <p:cNvPr id="3" name="Subtitle 1"/>
          <p:cNvSpPr>
            <a:spLocks noGrp="1"/>
          </p:cNvSpPr>
          <p:nvPr>
            <p:ph type="subTitle" idx="1" hasCustomPrompt="1"/>
          </p:nvPr>
        </p:nvSpPr>
        <p:spPr>
          <a:xfrm>
            <a:off x="252000" y="1692000"/>
            <a:ext cx="3978000" cy="576000"/>
          </a:xfrm>
        </p:spPr>
        <p:txBody>
          <a:bodyPr anchor="t" anchorCtr="0">
            <a:noAutofit/>
          </a:bodyPr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itchFamily="2" charset="2"/>
              <a:buNone/>
              <a:tabLst/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Date: DD/MM/YYYY</a:t>
            </a:r>
            <a:br>
              <a:rPr lang="en-GB" dirty="0"/>
            </a:br>
            <a:r>
              <a:rPr lang="en-GB" dirty="0"/>
              <a:t>Name of speaker</a:t>
            </a:r>
          </a:p>
        </p:txBody>
      </p:sp>
      <p:sp>
        <p:nvSpPr>
          <p:cNvPr id="7" name="Source 1"/>
          <p:cNvSpPr>
            <a:spLocks noGrp="1"/>
          </p:cNvSpPr>
          <p:nvPr>
            <p:ph type="body" sz="quarter" idx="12" hasCustomPrompt="1"/>
          </p:nvPr>
        </p:nvSpPr>
        <p:spPr>
          <a:xfrm>
            <a:off x="6768000" y="4927500"/>
            <a:ext cx="2376000" cy="216000"/>
          </a:xfrm>
        </p:spPr>
        <p:txBody>
          <a:bodyPr wrap="none" tIns="72000" rIns="108000" bIns="72000" anchor="ctr"/>
          <a:lstStyle>
            <a:lvl1pPr mar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6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Image: Please quote the image / source / name of  photographer</a:t>
            </a:r>
          </a:p>
        </p:txBody>
      </p:sp>
      <p:pic>
        <p:nvPicPr>
          <p:cNvPr id="10" name="MR Logo white 1">
            <a:extLst>
              <a:ext uri="{FF2B5EF4-FFF2-40B4-BE49-F238E27FC236}">
                <a16:creationId xmlns:a16="http://schemas.microsoft.com/office/drawing/2014/main" id="{6BFAB5A4-65D4-21F2-2199-C1D2FFE704A7}"/>
              </a:ext>
            </a:extLst>
          </p:cNvPr>
          <p:cNvPicPr>
            <a:picLocks noGrp="1" noRot="1" noMove="1" noResize="1" noEditPoints="1" noAdjustHandles="1" noChangeArrowheads="1" noChangeShapeType="1" noCrop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718000" y="4446000"/>
            <a:ext cx="1512000" cy="349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7307968"/>
      </p:ext>
    </p:extLst>
  </p:cSld>
  <p:clrMapOvr>
    <a:masterClrMapping/>
  </p:clrMapOvr>
  <p:transition spd="slow">
    <p:fade thruBlk="1"/>
  </p:transition>
  <p:extLst>
    <p:ext uri="{DCECCB84-F9BA-43D5-87BE-67443E8EF086}">
      <p15:sldGuideLst xmlns:p15="http://schemas.microsoft.com/office/powerpoint/2012/main">
        <p15:guide id="1" pos="159">
          <p15:clr>
            <a:srgbClr val="F26B43"/>
          </p15:clr>
        </p15:guide>
        <p15:guide id="3" pos="499">
          <p15:clr>
            <a:srgbClr val="A4A3A4"/>
          </p15:clr>
        </p15:guide>
        <p15:guide id="4" pos="839">
          <p15:clr>
            <a:srgbClr val="A4A3A4"/>
          </p15:clr>
        </p15:guide>
        <p15:guide id="5" pos="1179">
          <p15:clr>
            <a:srgbClr val="A4A3A4"/>
          </p15:clr>
        </p15:guide>
        <p15:guide id="6" pos="1519">
          <p15:clr>
            <a:srgbClr val="A4A3A4"/>
          </p15:clr>
        </p15:guide>
        <p15:guide id="7" pos="1860">
          <p15:clr>
            <a:srgbClr val="A4A3A4"/>
          </p15:clr>
        </p15:guide>
        <p15:guide id="8" pos="2200">
          <p15:clr>
            <a:srgbClr val="A4A3A4"/>
          </p15:clr>
        </p15:guide>
        <p15:guide id="9" pos="2540">
          <p15:clr>
            <a:srgbClr val="A4A3A4"/>
          </p15:clr>
        </p15:guide>
        <p15:guide id="10" pos="2665">
          <p15:clr>
            <a:srgbClr val="5ACBF0"/>
          </p15:clr>
        </p15:guide>
        <p15:guide id="11" pos="3220">
          <p15:clr>
            <a:srgbClr val="A4A3A4"/>
          </p15:clr>
        </p15:guide>
        <p15:guide id="12" pos="3560">
          <p15:clr>
            <a:srgbClr val="A4A3A4"/>
          </p15:clr>
        </p15:guide>
        <p15:guide id="13" pos="3900">
          <p15:clr>
            <a:srgbClr val="A4A3A4"/>
          </p15:clr>
        </p15:guide>
        <p15:guide id="14" pos="4241">
          <p15:clr>
            <a:srgbClr val="A4A3A4"/>
          </p15:clr>
        </p15:guide>
        <p15:guide id="15" pos="4581">
          <p15:clr>
            <a:srgbClr val="A4A3A4"/>
          </p15:clr>
        </p15:guide>
        <p15:guide id="16" pos="4921">
          <p15:clr>
            <a:srgbClr val="A4A3A4"/>
          </p15:clr>
        </p15:guide>
        <p15:guide id="17" pos="5261">
          <p15:clr>
            <a:srgbClr val="A4A3A4"/>
          </p15:clr>
        </p15:guide>
        <p15:guide id="18" pos="5601">
          <p15:clr>
            <a:srgbClr val="F26B43"/>
          </p15:clr>
        </p15:guide>
        <p15:guide id="19" orient="horz" pos="159">
          <p15:clr>
            <a:srgbClr val="F26B43"/>
          </p15:clr>
        </p15:guide>
        <p15:guide id="20" orient="horz" pos="340">
          <p15:clr>
            <a:srgbClr val="A4A3A4"/>
          </p15:clr>
        </p15:guide>
        <p15:guide id="21" orient="horz" pos="522">
          <p15:clr>
            <a:srgbClr val="A4A3A4"/>
          </p15:clr>
        </p15:guide>
        <p15:guide id="22" orient="horz" pos="703">
          <p15:clr>
            <a:srgbClr val="A4A3A4"/>
          </p15:clr>
        </p15:guide>
        <p15:guide id="23" orient="horz" pos="884">
          <p15:clr>
            <a:srgbClr val="FBAE40"/>
          </p15:clr>
        </p15:guide>
        <p15:guide id="24" orient="horz" pos="1066">
          <p15:clr>
            <a:srgbClr val="FBAE40"/>
          </p15:clr>
        </p15:guide>
        <p15:guide id="25" orient="horz" pos="1247">
          <p15:clr>
            <a:srgbClr val="A4A3A4"/>
          </p15:clr>
        </p15:guide>
        <p15:guide id="26" orient="horz" pos="1429">
          <p15:clr>
            <a:srgbClr val="FBAE40"/>
          </p15:clr>
        </p15:guide>
        <p15:guide id="27" orient="horz" pos="1610">
          <p15:clr>
            <a:srgbClr val="A4A3A4"/>
          </p15:clr>
        </p15:guide>
        <p15:guide id="28" orient="horz" pos="1791">
          <p15:clr>
            <a:srgbClr val="A4A3A4"/>
          </p15:clr>
        </p15:guide>
        <p15:guide id="29" orient="horz" pos="1973">
          <p15:clr>
            <a:srgbClr val="A4A3A4"/>
          </p15:clr>
        </p15:guide>
        <p15:guide id="30" orient="horz" pos="2154">
          <p15:clr>
            <a:srgbClr val="A4A3A4"/>
          </p15:clr>
        </p15:guide>
        <p15:guide id="31" orient="horz" pos="2336">
          <p15:clr>
            <a:srgbClr val="A4A3A4"/>
          </p15:clr>
        </p15:guide>
        <p15:guide id="32" orient="horz" pos="2517">
          <p15:clr>
            <a:srgbClr val="A4A3A4"/>
          </p15:clr>
        </p15:guide>
        <p15:guide id="33" orient="horz" pos="2699">
          <p15:clr>
            <a:srgbClr val="A4A3A4"/>
          </p15:clr>
        </p15:guide>
        <p15:guide id="34" orient="horz" pos="2880">
          <p15:clr>
            <a:srgbClr val="A4A3A4"/>
          </p15:clr>
        </p15:guide>
        <p15:guide id="35" orient="horz" pos="3061">
          <p15:clr>
            <a:srgbClr val="F26B43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538B9D48-1C4B-E6F6-19CD-D4F6D71EE0C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549375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538B9D48-1C4B-E6F6-19CD-D4F6D71EE0C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icture Placeholder 1"/>
          <p:cNvSpPr>
            <a:spLocks noGrp="1"/>
          </p:cNvSpPr>
          <p:nvPr>
            <p:ph type="pic" sz="quarter" idx="13" hasCustomPrompt="1"/>
          </p:nvPr>
        </p:nvSpPr>
        <p:spPr>
          <a:xfrm>
            <a:off x="4572000" y="0"/>
            <a:ext cx="4572000" cy="5148000"/>
          </a:xfrm>
          <a:solidFill>
            <a:schemeClr val="accent1"/>
          </a:solidFill>
        </p:spPr>
        <p:txBody>
          <a:bodyPr lIns="540000" tIns="792000" rIns="540000" anchor="t" anchorCtr="1"/>
          <a:lstStyle>
            <a:lvl1pPr marL="0" marR="0" indent="0" algn="l" defTabSz="2700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Wingdings" pitchFamily="2" charset="2"/>
              <a:buNone/>
              <a:tabLst/>
              <a:defRPr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2700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Wingdings" pitchFamily="2" charset="2"/>
              <a:buNone/>
              <a:tabLst/>
              <a:defRPr/>
            </a:pPr>
            <a:r>
              <a:rPr lang="en-GB" dirty="0"/>
              <a:t>To insert a cover picture, click on the icon in the middle.</a:t>
            </a:r>
            <a:br>
              <a:rPr lang="en-GB" dirty="0"/>
            </a:br>
            <a:r>
              <a:rPr lang="en-GB" dirty="0"/>
              <a:t>If no picture is wanted you may choose a colour instead.</a:t>
            </a:r>
          </a:p>
        </p:txBody>
      </p:sp>
      <p:pic>
        <p:nvPicPr>
          <p:cNvPr id="13" name="MR Logo 2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718000" y="4446000"/>
            <a:ext cx="1512000" cy="3492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52000" y="252000"/>
            <a:ext cx="3978000" cy="1152000"/>
          </a:xfrm>
        </p:spPr>
        <p:txBody>
          <a:bodyPr vert="horz" anchor="t">
            <a:noAutofit/>
          </a:bodyPr>
          <a:lstStyle>
            <a:lvl1pPr rtl="0">
              <a:lnSpc>
                <a:spcPct val="100000"/>
              </a:lnSpc>
              <a:defRPr sz="2400" baseline="0"/>
            </a:lvl1pPr>
          </a:lstStyle>
          <a:p>
            <a:r>
              <a:rPr lang="en-GB" dirty="0"/>
              <a:t>Title 24 pt,</a:t>
            </a:r>
            <a:br>
              <a:rPr lang="en-GB" dirty="0"/>
            </a:br>
            <a:r>
              <a:rPr lang="en-GB" dirty="0"/>
              <a:t>three lines max</a:t>
            </a:r>
          </a:p>
        </p:txBody>
      </p:sp>
      <p:sp>
        <p:nvSpPr>
          <p:cNvPr id="3" name="Subtitle 1"/>
          <p:cNvSpPr>
            <a:spLocks noGrp="1"/>
          </p:cNvSpPr>
          <p:nvPr>
            <p:ph type="subTitle" idx="1" hasCustomPrompt="1"/>
          </p:nvPr>
        </p:nvSpPr>
        <p:spPr>
          <a:xfrm>
            <a:off x="252000" y="1692000"/>
            <a:ext cx="3978000" cy="576000"/>
          </a:xfrm>
        </p:spPr>
        <p:txBody>
          <a:bodyPr anchor="t" anchorCtr="0">
            <a:noAutofit/>
          </a:bodyPr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itchFamily="2" charset="2"/>
              <a:buNone/>
              <a:tabLst/>
              <a:defRPr/>
            </a:lvl1pPr>
          </a:lstStyle>
          <a:p>
            <a:r>
              <a:rPr lang="en-GB" dirty="0"/>
              <a:t>Date: DD/MM/YYYY</a:t>
            </a:r>
            <a:br>
              <a:rPr lang="en-GB" dirty="0"/>
            </a:br>
            <a:r>
              <a:rPr lang="en-GB" dirty="0"/>
              <a:t>Name of speaker</a:t>
            </a:r>
          </a:p>
        </p:txBody>
      </p:sp>
      <p:sp>
        <p:nvSpPr>
          <p:cNvPr id="7" name="Source 1"/>
          <p:cNvSpPr>
            <a:spLocks noGrp="1"/>
          </p:cNvSpPr>
          <p:nvPr>
            <p:ph type="body" sz="quarter" idx="12" hasCustomPrompt="1"/>
          </p:nvPr>
        </p:nvSpPr>
        <p:spPr>
          <a:xfrm>
            <a:off x="6768000" y="4927500"/>
            <a:ext cx="2376000" cy="216000"/>
          </a:xfrm>
        </p:spPr>
        <p:txBody>
          <a:bodyPr wrap="none" tIns="72000" rIns="108000" bIns="72000" anchor="ctr"/>
          <a:lstStyle>
            <a:lvl1pPr mar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6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Image: Please quote the image / source / name of  photographer</a:t>
            </a:r>
          </a:p>
        </p:txBody>
      </p:sp>
    </p:spTree>
    <p:extLst>
      <p:ext uri="{BB962C8B-B14F-4D97-AF65-F5344CB8AC3E}">
        <p14:creationId xmlns:p14="http://schemas.microsoft.com/office/powerpoint/2010/main" val="1623308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159">
          <p15:clr>
            <a:srgbClr val="F26B43"/>
          </p15:clr>
        </p15:guide>
        <p15:guide id="3" pos="499">
          <p15:clr>
            <a:srgbClr val="A4A3A4"/>
          </p15:clr>
        </p15:guide>
        <p15:guide id="4" pos="839">
          <p15:clr>
            <a:srgbClr val="A4A3A4"/>
          </p15:clr>
        </p15:guide>
        <p15:guide id="5" pos="1179">
          <p15:clr>
            <a:srgbClr val="A4A3A4"/>
          </p15:clr>
        </p15:guide>
        <p15:guide id="6" pos="1519">
          <p15:clr>
            <a:srgbClr val="A4A3A4"/>
          </p15:clr>
        </p15:guide>
        <p15:guide id="7" pos="1860">
          <p15:clr>
            <a:srgbClr val="A4A3A4"/>
          </p15:clr>
        </p15:guide>
        <p15:guide id="8" pos="2200">
          <p15:clr>
            <a:srgbClr val="A4A3A4"/>
          </p15:clr>
        </p15:guide>
        <p15:guide id="9" pos="2540">
          <p15:clr>
            <a:srgbClr val="A4A3A4"/>
          </p15:clr>
        </p15:guide>
        <p15:guide id="10" pos="2665">
          <p15:clr>
            <a:srgbClr val="5ACBF0"/>
          </p15:clr>
        </p15:guide>
        <p15:guide id="11" pos="3220">
          <p15:clr>
            <a:srgbClr val="A4A3A4"/>
          </p15:clr>
        </p15:guide>
        <p15:guide id="12" pos="3560">
          <p15:clr>
            <a:srgbClr val="A4A3A4"/>
          </p15:clr>
        </p15:guide>
        <p15:guide id="13" pos="3900">
          <p15:clr>
            <a:srgbClr val="A4A3A4"/>
          </p15:clr>
        </p15:guide>
        <p15:guide id="14" pos="4241">
          <p15:clr>
            <a:srgbClr val="A4A3A4"/>
          </p15:clr>
        </p15:guide>
        <p15:guide id="15" pos="4581">
          <p15:clr>
            <a:srgbClr val="A4A3A4"/>
          </p15:clr>
        </p15:guide>
        <p15:guide id="16" pos="4921">
          <p15:clr>
            <a:srgbClr val="A4A3A4"/>
          </p15:clr>
        </p15:guide>
        <p15:guide id="17" pos="5261">
          <p15:clr>
            <a:srgbClr val="A4A3A4"/>
          </p15:clr>
        </p15:guide>
        <p15:guide id="18" pos="5601">
          <p15:clr>
            <a:srgbClr val="F26B43"/>
          </p15:clr>
        </p15:guide>
        <p15:guide id="19" orient="horz" pos="159">
          <p15:clr>
            <a:srgbClr val="F26B43"/>
          </p15:clr>
        </p15:guide>
        <p15:guide id="20" orient="horz" pos="340">
          <p15:clr>
            <a:srgbClr val="A4A3A4"/>
          </p15:clr>
        </p15:guide>
        <p15:guide id="21" orient="horz" pos="522">
          <p15:clr>
            <a:srgbClr val="A4A3A4"/>
          </p15:clr>
        </p15:guide>
        <p15:guide id="22" orient="horz" pos="703">
          <p15:clr>
            <a:srgbClr val="A4A3A4"/>
          </p15:clr>
        </p15:guide>
        <p15:guide id="23" orient="horz" pos="884">
          <p15:clr>
            <a:srgbClr val="FBAE40"/>
          </p15:clr>
        </p15:guide>
        <p15:guide id="24" orient="horz" pos="1066">
          <p15:clr>
            <a:srgbClr val="FBAE40"/>
          </p15:clr>
        </p15:guide>
        <p15:guide id="25" orient="horz" pos="1247">
          <p15:clr>
            <a:srgbClr val="A4A3A4"/>
          </p15:clr>
        </p15:guide>
        <p15:guide id="26" orient="horz" pos="1429">
          <p15:clr>
            <a:srgbClr val="FBAE40"/>
          </p15:clr>
        </p15:guide>
        <p15:guide id="27" orient="horz" pos="1610">
          <p15:clr>
            <a:srgbClr val="A4A3A4"/>
          </p15:clr>
        </p15:guide>
        <p15:guide id="28" orient="horz" pos="1791">
          <p15:clr>
            <a:srgbClr val="A4A3A4"/>
          </p15:clr>
        </p15:guide>
        <p15:guide id="29" orient="horz" pos="1973">
          <p15:clr>
            <a:srgbClr val="A4A3A4"/>
          </p15:clr>
        </p15:guide>
        <p15:guide id="30" orient="horz" pos="2154">
          <p15:clr>
            <a:srgbClr val="A4A3A4"/>
          </p15:clr>
        </p15:guide>
        <p15:guide id="31" orient="horz" pos="2336">
          <p15:clr>
            <a:srgbClr val="A4A3A4"/>
          </p15:clr>
        </p15:guide>
        <p15:guide id="32" orient="horz" pos="2517">
          <p15:clr>
            <a:srgbClr val="A4A3A4"/>
          </p15:clr>
        </p15:guide>
        <p15:guide id="33" orient="horz" pos="2699">
          <p15:clr>
            <a:srgbClr val="A4A3A4"/>
          </p15:clr>
        </p15:guide>
        <p15:guide id="34" orient="horz" pos="2880">
          <p15:clr>
            <a:srgbClr val="A4A3A4"/>
          </p15:clr>
        </p15:guide>
        <p15:guide id="35" orient="horz" pos="3061">
          <p15:clr>
            <a:srgbClr val="F26B43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Title Multibranding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80F3E035-FE68-439B-336D-611FF946C7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460461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80F3E035-FE68-439B-336D-611FF946C7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icture Placeholder 1"/>
          <p:cNvSpPr>
            <a:spLocks noGrp="1"/>
          </p:cNvSpPr>
          <p:nvPr>
            <p:ph type="pic" sz="quarter" idx="13" hasCustomPrompt="1"/>
          </p:nvPr>
        </p:nvSpPr>
        <p:spPr>
          <a:xfrm>
            <a:off x="4572000" y="0"/>
            <a:ext cx="4572000" cy="5148000"/>
          </a:xfrm>
          <a:solidFill>
            <a:schemeClr val="accent1"/>
          </a:solidFill>
        </p:spPr>
        <p:txBody>
          <a:bodyPr lIns="540000" tIns="792000" rIns="540000" anchor="t" anchorCtr="1"/>
          <a:lstStyle>
            <a:lvl1pPr marL="0" marR="0" indent="0" algn="l" defTabSz="2700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Wingdings" pitchFamily="2" charset="2"/>
              <a:buNone/>
              <a:tabLst/>
              <a:defRPr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2700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Wingdings" pitchFamily="2" charset="2"/>
              <a:buNone/>
              <a:tabLst/>
              <a:defRPr/>
            </a:pPr>
            <a:r>
              <a:rPr lang="en-GB" dirty="0"/>
              <a:t>To insert a cover picture, click on the icon in the middle.</a:t>
            </a:r>
            <a:br>
              <a:rPr lang="en-GB" dirty="0"/>
            </a:br>
            <a:r>
              <a:rPr lang="en-GB" dirty="0"/>
              <a:t>If no picture is wanted you may choose a colour instead.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52000" y="252000"/>
            <a:ext cx="3978000" cy="1152000"/>
          </a:xfrm>
        </p:spPr>
        <p:txBody>
          <a:bodyPr vert="horz" anchor="t">
            <a:noAutofit/>
          </a:bodyPr>
          <a:lstStyle>
            <a:lvl1pPr rtl="0">
              <a:lnSpc>
                <a:spcPct val="100000"/>
              </a:lnSpc>
              <a:defRPr sz="2400" baseline="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Title 24 pt,</a:t>
            </a:r>
            <a:br>
              <a:rPr lang="en-GB" dirty="0"/>
            </a:br>
            <a:r>
              <a:rPr lang="en-GB" dirty="0"/>
              <a:t>three lines max</a:t>
            </a:r>
          </a:p>
        </p:txBody>
      </p:sp>
      <p:sp>
        <p:nvSpPr>
          <p:cNvPr id="3" name="Subtitle 1"/>
          <p:cNvSpPr>
            <a:spLocks noGrp="1"/>
          </p:cNvSpPr>
          <p:nvPr>
            <p:ph type="subTitle" idx="1" hasCustomPrompt="1"/>
          </p:nvPr>
        </p:nvSpPr>
        <p:spPr>
          <a:xfrm>
            <a:off x="252000" y="1692000"/>
            <a:ext cx="3978000" cy="576000"/>
          </a:xfrm>
        </p:spPr>
        <p:txBody>
          <a:bodyPr anchor="t" anchorCtr="0">
            <a:noAutofit/>
          </a:bodyPr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itchFamily="2" charset="2"/>
              <a:buNone/>
              <a:tabLst/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Date: DD/MM/YYYY</a:t>
            </a:r>
            <a:br>
              <a:rPr lang="en-GB" dirty="0"/>
            </a:br>
            <a:r>
              <a:rPr lang="en-GB" dirty="0"/>
              <a:t>Name of speaker</a:t>
            </a:r>
          </a:p>
        </p:txBody>
      </p:sp>
      <p:sp>
        <p:nvSpPr>
          <p:cNvPr id="7" name="Source 1"/>
          <p:cNvSpPr>
            <a:spLocks noGrp="1"/>
          </p:cNvSpPr>
          <p:nvPr>
            <p:ph type="body" sz="quarter" idx="12" hasCustomPrompt="1"/>
          </p:nvPr>
        </p:nvSpPr>
        <p:spPr>
          <a:xfrm>
            <a:off x="6768000" y="4927500"/>
            <a:ext cx="2376000" cy="216000"/>
          </a:xfrm>
        </p:spPr>
        <p:txBody>
          <a:bodyPr wrap="none" tIns="72000" rIns="108000" bIns="72000" anchor="ctr"/>
          <a:lstStyle>
            <a:lvl1pPr mar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6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Image: Please quote the image / source / name of  photographer</a:t>
            </a:r>
          </a:p>
        </p:txBody>
      </p:sp>
      <p:sp>
        <p:nvSpPr>
          <p:cNvPr id="8" name="Logo Placeholder 2">
            <a:extLst>
              <a:ext uri="{FF2B5EF4-FFF2-40B4-BE49-F238E27FC236}">
                <a16:creationId xmlns:a16="http://schemas.microsoft.com/office/drawing/2014/main" id="{8B8EF8EC-DF54-60DA-4293-16497FC26457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14" hasCustomPrompt="1"/>
          </p:nvPr>
        </p:nvSpPr>
        <p:spPr>
          <a:xfrm>
            <a:off x="2718000" y="3747600"/>
            <a:ext cx="1512000" cy="349200"/>
          </a:xfrm>
          <a:noFill/>
        </p:spPr>
        <p:txBody>
          <a:bodyPr/>
          <a:lstStyle>
            <a:lvl1pPr marL="0" indent="0" algn="r" rtl="0">
              <a:buNone/>
              <a:defRPr sz="70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Maximum size for an additional logo. Please align right and place at visually equal size..</a:t>
            </a:r>
          </a:p>
        </p:txBody>
      </p:sp>
      <p:sp>
        <p:nvSpPr>
          <p:cNvPr id="10" name="Logo Placeholder 3">
            <a:extLst>
              <a:ext uri="{FF2B5EF4-FFF2-40B4-BE49-F238E27FC236}">
                <a16:creationId xmlns:a16="http://schemas.microsoft.com/office/drawing/2014/main" id="{F9D3F64F-D47E-247C-C64F-C338B2C8B165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15" hasCustomPrompt="1"/>
          </p:nvPr>
        </p:nvSpPr>
        <p:spPr>
          <a:xfrm>
            <a:off x="2718000" y="3049200"/>
            <a:ext cx="1512000" cy="349200"/>
          </a:xfrm>
        </p:spPr>
        <p:txBody>
          <a:bodyPr/>
          <a:lstStyle>
            <a:lvl1pPr marL="0" indent="0" algn="r" rtl="0">
              <a:buNone/>
              <a:defRPr sz="70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Maximum size for an additional logo. Please align right and place at visually equal size..</a:t>
            </a:r>
          </a:p>
        </p:txBody>
      </p:sp>
      <p:pic>
        <p:nvPicPr>
          <p:cNvPr id="11" name="MR Logo white 1">
            <a:extLst>
              <a:ext uri="{FF2B5EF4-FFF2-40B4-BE49-F238E27FC236}">
                <a16:creationId xmlns:a16="http://schemas.microsoft.com/office/drawing/2014/main" id="{AE41D08A-7CF0-E426-B102-915DC5A1E030}"/>
              </a:ext>
            </a:extLst>
          </p:cNvPr>
          <p:cNvPicPr>
            <a:picLocks noGrp="1" noRot="1" noMove="1" noResize="1" noEditPoints="1" noAdjustHandles="1" noChangeArrowheads="1" noChangeShapeType="1" noCrop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718000" y="4446000"/>
            <a:ext cx="1512000" cy="349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05675085"/>
      </p:ext>
    </p:extLst>
  </p:cSld>
  <p:clrMapOvr>
    <a:masterClrMapping/>
  </p:clrMapOvr>
  <p:transition spd="slow">
    <p:fade thruBlk="1"/>
  </p:transition>
  <p:extLst>
    <p:ext uri="{DCECCB84-F9BA-43D5-87BE-67443E8EF086}">
      <p15:sldGuideLst xmlns:p15="http://schemas.microsoft.com/office/powerpoint/2012/main">
        <p15:guide id="1" pos="159">
          <p15:clr>
            <a:srgbClr val="F26B43"/>
          </p15:clr>
        </p15:guide>
        <p15:guide id="10" pos="2880">
          <p15:clr>
            <a:srgbClr val="FBAE40"/>
          </p15:clr>
        </p15:guide>
        <p15:guide id="18" pos="5601">
          <p15:clr>
            <a:srgbClr val="F26B43"/>
          </p15:clr>
        </p15:guide>
        <p15:guide id="19" orient="horz" pos="159">
          <p15:clr>
            <a:srgbClr val="F26B43"/>
          </p15:clr>
        </p15:guide>
        <p15:guide id="23" orient="horz" pos="884">
          <p15:clr>
            <a:srgbClr val="FBAE40"/>
          </p15:clr>
        </p15:guide>
        <p15:guide id="24" orient="horz" pos="1066">
          <p15:clr>
            <a:srgbClr val="FBAE40"/>
          </p15:clr>
        </p15:guide>
        <p15:guide id="26" orient="horz" pos="1429">
          <p15:clr>
            <a:srgbClr val="FBAE40"/>
          </p15:clr>
        </p15:guide>
        <p15:guide id="35" orient="horz" pos="3061">
          <p15:clr>
            <a:srgbClr val="F26B43"/>
          </p15:clr>
        </p15:guide>
        <p15:guide id="38" pos="2665">
          <p15:clr>
            <a:srgbClr val="5ACBF0"/>
          </p15:clr>
        </p15:guide>
        <p15:guide id="39" pos="1712">
          <p15:clr>
            <a:srgbClr val="5ACBF0"/>
          </p15:clr>
        </p15:guide>
        <p15:guide id="40" pos="2005">
          <p15:clr>
            <a:srgbClr val="5ACBF0"/>
          </p15:clr>
        </p15:guide>
        <p15:guide id="41" orient="horz" pos="1921">
          <p15:clr>
            <a:srgbClr val="5ACBF0"/>
          </p15:clr>
        </p15:guide>
        <p15:guide id="42" orient="horz" pos="2141">
          <p15:clr>
            <a:srgbClr val="5ACBF0"/>
          </p15:clr>
        </p15:guide>
        <p15:guide id="43" orient="horz" pos="2361">
          <p15:clr>
            <a:srgbClr val="5ACBF0"/>
          </p15:clr>
        </p15:guide>
        <p15:guide id="44" orient="horz" pos="2581">
          <p15:clr>
            <a:srgbClr val="5ACBF0"/>
          </p15:clr>
        </p15:guide>
        <p15:guide id="45" orient="horz" pos="2801">
          <p15:clr>
            <a:srgbClr val="5ACBF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Title Multibranding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B533815A-9323-F993-5D0D-481516D1458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497736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B533815A-9323-F993-5D0D-481516D1458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icture Placeholder 1"/>
          <p:cNvSpPr>
            <a:spLocks noGrp="1"/>
          </p:cNvSpPr>
          <p:nvPr>
            <p:ph type="pic" sz="quarter" idx="13" hasCustomPrompt="1"/>
          </p:nvPr>
        </p:nvSpPr>
        <p:spPr>
          <a:xfrm>
            <a:off x="4572000" y="0"/>
            <a:ext cx="4572000" cy="5148000"/>
          </a:xfrm>
          <a:solidFill>
            <a:schemeClr val="accent1"/>
          </a:solidFill>
        </p:spPr>
        <p:txBody>
          <a:bodyPr lIns="540000" tIns="792000" rIns="540000" anchor="t" anchorCtr="1"/>
          <a:lstStyle>
            <a:lvl1pPr marL="0" marR="0" indent="0" algn="l" defTabSz="2700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Wingdings" pitchFamily="2" charset="2"/>
              <a:buNone/>
              <a:tabLst/>
              <a:defRPr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2700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Wingdings" pitchFamily="2" charset="2"/>
              <a:buNone/>
              <a:tabLst/>
              <a:defRPr/>
            </a:pPr>
            <a:r>
              <a:rPr lang="en-GB" dirty="0"/>
              <a:t>To insert a cover picture, click on the icon in the middle.</a:t>
            </a:r>
            <a:br>
              <a:rPr lang="en-GB" dirty="0"/>
            </a:br>
            <a:r>
              <a:rPr lang="en-GB" dirty="0"/>
              <a:t>If no picture is wanted you may choose a colour instead.</a:t>
            </a:r>
          </a:p>
        </p:txBody>
      </p:sp>
      <p:pic>
        <p:nvPicPr>
          <p:cNvPr id="13" name="MR Logo 2"/>
          <p:cNvPicPr>
            <a:picLocks noGrp="1" noRot="1" noChangeAspect="1" noMove="1" noResize="1" noEditPoints="1" noAdjustHandles="1" noChangeArrowheads="1" noChangeShapeType="1" noCrop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718000" y="4446000"/>
            <a:ext cx="1512000" cy="3492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52000" y="252000"/>
            <a:ext cx="3978000" cy="1152000"/>
          </a:xfrm>
        </p:spPr>
        <p:txBody>
          <a:bodyPr vert="horz" anchor="t">
            <a:noAutofit/>
          </a:bodyPr>
          <a:lstStyle>
            <a:lvl1pPr rtl="0">
              <a:lnSpc>
                <a:spcPct val="100000"/>
              </a:lnSpc>
              <a:defRPr sz="2400" baseline="0"/>
            </a:lvl1pPr>
          </a:lstStyle>
          <a:p>
            <a:r>
              <a:rPr lang="en-GB" dirty="0"/>
              <a:t>Title 24 pt,</a:t>
            </a:r>
            <a:br>
              <a:rPr lang="en-GB" dirty="0"/>
            </a:br>
            <a:r>
              <a:rPr lang="en-GB" dirty="0"/>
              <a:t>three lines max</a:t>
            </a:r>
          </a:p>
        </p:txBody>
      </p:sp>
      <p:sp>
        <p:nvSpPr>
          <p:cNvPr id="3" name="Subtitle 1"/>
          <p:cNvSpPr>
            <a:spLocks noGrp="1"/>
          </p:cNvSpPr>
          <p:nvPr>
            <p:ph type="subTitle" idx="1" hasCustomPrompt="1"/>
          </p:nvPr>
        </p:nvSpPr>
        <p:spPr>
          <a:xfrm>
            <a:off x="252000" y="1692000"/>
            <a:ext cx="3978000" cy="576000"/>
          </a:xfrm>
        </p:spPr>
        <p:txBody>
          <a:bodyPr anchor="t" anchorCtr="0">
            <a:noAutofit/>
          </a:bodyPr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itchFamily="2" charset="2"/>
              <a:buNone/>
              <a:tabLst/>
              <a:defRPr/>
            </a:lvl1pPr>
          </a:lstStyle>
          <a:p>
            <a:r>
              <a:rPr lang="en-GB" dirty="0"/>
              <a:t>Date: DD/MM/YYYY</a:t>
            </a:r>
            <a:br>
              <a:rPr lang="en-GB" dirty="0"/>
            </a:br>
            <a:r>
              <a:rPr lang="en-GB" dirty="0"/>
              <a:t>Name of speaker</a:t>
            </a:r>
          </a:p>
        </p:txBody>
      </p:sp>
      <p:sp>
        <p:nvSpPr>
          <p:cNvPr id="7" name="Source 1"/>
          <p:cNvSpPr>
            <a:spLocks noGrp="1"/>
          </p:cNvSpPr>
          <p:nvPr>
            <p:ph type="body" sz="quarter" idx="12" hasCustomPrompt="1"/>
          </p:nvPr>
        </p:nvSpPr>
        <p:spPr>
          <a:xfrm>
            <a:off x="6768000" y="4927500"/>
            <a:ext cx="2376000" cy="216000"/>
          </a:xfrm>
        </p:spPr>
        <p:txBody>
          <a:bodyPr wrap="none" tIns="72000" rIns="108000" bIns="72000" anchor="ctr"/>
          <a:lstStyle>
            <a:lvl1pPr mar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6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Image: Please quote the image / source / name of  photographer</a:t>
            </a:r>
          </a:p>
        </p:txBody>
      </p:sp>
      <p:sp>
        <p:nvSpPr>
          <p:cNvPr id="5" name="Logo Placeholder 2">
            <a:extLst>
              <a:ext uri="{FF2B5EF4-FFF2-40B4-BE49-F238E27FC236}">
                <a16:creationId xmlns:a16="http://schemas.microsoft.com/office/drawing/2014/main" id="{2165B20C-A182-5BDD-926C-2DA793ADFAAD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14" hasCustomPrompt="1"/>
          </p:nvPr>
        </p:nvSpPr>
        <p:spPr>
          <a:xfrm>
            <a:off x="2718000" y="3747600"/>
            <a:ext cx="1512000" cy="349200"/>
          </a:xfrm>
          <a:noFill/>
        </p:spPr>
        <p:txBody>
          <a:bodyPr/>
          <a:lstStyle>
            <a:lvl1pPr marL="0" indent="0" algn="r" rtl="0">
              <a:buNone/>
              <a:defRPr sz="700"/>
            </a:lvl1pPr>
          </a:lstStyle>
          <a:p>
            <a:r>
              <a:rPr lang="en-GB" dirty="0"/>
              <a:t>Maximum size for an additional logo. Please align right and place at visually equal size.</a:t>
            </a:r>
          </a:p>
        </p:txBody>
      </p:sp>
      <p:sp>
        <p:nvSpPr>
          <p:cNvPr id="10" name="Logo Placeholder 3">
            <a:extLst>
              <a:ext uri="{FF2B5EF4-FFF2-40B4-BE49-F238E27FC236}">
                <a16:creationId xmlns:a16="http://schemas.microsoft.com/office/drawing/2014/main" id="{3CB1A6B3-BDED-7F3A-4D56-2195B241E7A1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15" hasCustomPrompt="1"/>
          </p:nvPr>
        </p:nvSpPr>
        <p:spPr>
          <a:xfrm>
            <a:off x="2718000" y="3049200"/>
            <a:ext cx="1512000" cy="349200"/>
          </a:xfrm>
        </p:spPr>
        <p:txBody>
          <a:bodyPr/>
          <a:lstStyle>
            <a:lvl1pPr marL="0" indent="0" algn="r" rtl="0">
              <a:buNone/>
              <a:defRPr sz="700"/>
            </a:lvl1pPr>
          </a:lstStyle>
          <a:p>
            <a:r>
              <a:rPr lang="en-GB" dirty="0"/>
              <a:t>Maximum size for an additional logo. Please align right and place at visually equal size..</a:t>
            </a:r>
          </a:p>
        </p:txBody>
      </p:sp>
    </p:spTree>
    <p:extLst>
      <p:ext uri="{BB962C8B-B14F-4D97-AF65-F5344CB8AC3E}">
        <p14:creationId xmlns:p14="http://schemas.microsoft.com/office/powerpoint/2010/main" val="13093688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:fade thruBlk="1"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159">
          <p15:clr>
            <a:srgbClr val="F26B43"/>
          </p15:clr>
        </p15:guide>
        <p15:guide id="10" pos="2880">
          <p15:clr>
            <a:srgbClr val="FBAE40"/>
          </p15:clr>
        </p15:guide>
        <p15:guide id="18" pos="5601">
          <p15:clr>
            <a:srgbClr val="F26B43"/>
          </p15:clr>
        </p15:guide>
        <p15:guide id="19" orient="horz" pos="159">
          <p15:clr>
            <a:srgbClr val="F26B43"/>
          </p15:clr>
        </p15:guide>
        <p15:guide id="23" orient="horz" pos="884">
          <p15:clr>
            <a:srgbClr val="FBAE40"/>
          </p15:clr>
        </p15:guide>
        <p15:guide id="24" orient="horz" pos="1066">
          <p15:clr>
            <a:srgbClr val="FBAE40"/>
          </p15:clr>
        </p15:guide>
        <p15:guide id="26" orient="horz" pos="1429">
          <p15:clr>
            <a:srgbClr val="FBAE40"/>
          </p15:clr>
        </p15:guide>
        <p15:guide id="35" orient="horz" pos="3061">
          <p15:clr>
            <a:srgbClr val="F26B43"/>
          </p15:clr>
        </p15:guide>
        <p15:guide id="38" pos="2665">
          <p15:clr>
            <a:srgbClr val="5ACBF0"/>
          </p15:clr>
        </p15:guide>
        <p15:guide id="39" pos="1712">
          <p15:clr>
            <a:srgbClr val="5ACBF0"/>
          </p15:clr>
        </p15:guide>
        <p15:guide id="40" pos="2005">
          <p15:clr>
            <a:srgbClr val="5ACBF0"/>
          </p15:clr>
        </p15:guide>
        <p15:guide id="41" orient="horz" pos="1921">
          <p15:clr>
            <a:srgbClr val="5ACBF0"/>
          </p15:clr>
        </p15:guide>
        <p15:guide id="42" orient="horz" pos="2141">
          <p15:clr>
            <a:srgbClr val="5ACBF0"/>
          </p15:clr>
        </p15:guide>
        <p15:guide id="43" orient="horz" pos="2361">
          <p15:clr>
            <a:srgbClr val="5ACBF0"/>
          </p15:clr>
        </p15:guide>
        <p15:guide id="44" orient="horz" pos="2581">
          <p15:clr>
            <a:srgbClr val="5ACBF0"/>
          </p15:clr>
        </p15:guide>
        <p15:guide id="45" orient="horz" pos="2801">
          <p15:clr>
            <a:srgbClr val="5ACBF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C8083B0D-D500-775E-542F-D85EA9942DD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959642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C8083B0D-D500-775E-542F-D85EA9942DD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fld id="{D94909C6-CC71-4962-A18E-AF0515723D95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7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EA675BB7-7C0F-40B1-B445-BDC04BCCF4BE}" type="datetime4">
              <a:rPr lang="en-GB" smtClean="0"/>
              <a:pPr/>
              <a:t>14 March 2024</a:t>
            </a:fld>
            <a:endParaRPr lang="en-GB" dirty="0"/>
          </a:p>
        </p:txBody>
      </p:sp>
      <p:sp>
        <p:nvSpPr>
          <p:cNvPr id="9" name="Footer Placeholder 1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GB" dirty="0"/>
              <a:t>Munich Re Group – Company Presentation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 baseline="0"/>
            </a:lvl1pPr>
          </a:lstStyle>
          <a:p>
            <a:r>
              <a:rPr lang="en-GB" dirty="0"/>
              <a:t>Title 20 pt, two lines max. for Agenda</a:t>
            </a:r>
            <a:endParaRPr lang="en-GB" noProof="0" dirty="0"/>
          </a:p>
        </p:txBody>
      </p:sp>
      <p:sp>
        <p:nvSpPr>
          <p:cNvPr id="3" name="Content Placeholder 1"/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1pPr marL="450000" indent="-450000" rtl="0">
              <a:spcAft>
                <a:spcPts val="900"/>
              </a:spcAft>
              <a:buClr>
                <a:schemeClr val="accent1"/>
              </a:buClr>
              <a:buSzPct val="145000"/>
              <a:buAutoNum type="arabicPeriod"/>
              <a:defRPr/>
            </a:lvl1pPr>
            <a:lvl2pPr marL="720000" rtl="0">
              <a:defRPr/>
            </a:lvl2pPr>
            <a:lvl3pPr marL="936000" rtl="0">
              <a:defRPr/>
            </a:lvl3pPr>
            <a:lvl4pPr marL="1152000" rtl="0">
              <a:defRPr/>
            </a:lvl4pPr>
            <a:lvl5pPr marL="1368000" rtl="0">
              <a:defRPr/>
            </a:lvl5pPr>
            <a:lvl6pPr marL="1584000" rtl="0">
              <a:defRPr/>
            </a:lvl6pPr>
            <a:lvl7pPr marL="1800000" rtl="0">
              <a:defRPr/>
            </a:lvl7pPr>
            <a:lvl8pPr marL="2016000" rtl="0">
              <a:defRPr baseline="0"/>
            </a:lvl8pPr>
            <a:lvl9pPr marL="2232000" rtl="0">
              <a:defRPr baseline="0"/>
            </a:lvl9pPr>
          </a:lstStyle>
          <a:p>
            <a:pPr lvl="0"/>
            <a:r>
              <a:rPr lang="en-GB" dirty="0"/>
              <a:t>To customise the hierarchy of points, use Start &gt; Paragraph &gt; Decrease / Increase List Level. Alternatively, insert table, chart, SmartArt graphic, picture or online graphic.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  <a:p>
            <a:pPr lvl="5"/>
            <a:r>
              <a:rPr lang="en-GB" dirty="0"/>
              <a:t>Sixth level</a:t>
            </a:r>
          </a:p>
          <a:p>
            <a:pPr lvl="6"/>
            <a:r>
              <a:rPr lang="en-GB" dirty="0"/>
              <a:t>Seventh level</a:t>
            </a:r>
          </a:p>
          <a:p>
            <a:pPr lvl="7"/>
            <a:r>
              <a:rPr lang="en-GB" dirty="0"/>
              <a:t>Eighth level</a:t>
            </a:r>
          </a:p>
          <a:p>
            <a:pPr lvl="8"/>
            <a:r>
              <a:rPr lang="en-GB" dirty="0"/>
              <a:t>Ninth level</a:t>
            </a:r>
          </a:p>
        </p:txBody>
      </p:sp>
    </p:spTree>
    <p:extLst>
      <p:ext uri="{BB962C8B-B14F-4D97-AF65-F5344CB8AC3E}">
        <p14:creationId xmlns:p14="http://schemas.microsoft.com/office/powerpoint/2010/main" val="27617340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159">
          <p15:clr>
            <a:srgbClr val="F26B43"/>
          </p15:clr>
        </p15:guide>
        <p15:guide id="3" pos="499">
          <p15:clr>
            <a:srgbClr val="A4A3A4"/>
          </p15:clr>
        </p15:guide>
        <p15:guide id="4" pos="839">
          <p15:clr>
            <a:srgbClr val="A4A3A4"/>
          </p15:clr>
        </p15:guide>
        <p15:guide id="5" pos="1179">
          <p15:clr>
            <a:srgbClr val="A4A3A4"/>
          </p15:clr>
        </p15:guide>
        <p15:guide id="6" pos="1519">
          <p15:clr>
            <a:srgbClr val="A4A3A4"/>
          </p15:clr>
        </p15:guide>
        <p15:guide id="7" pos="1860">
          <p15:clr>
            <a:srgbClr val="A4A3A4"/>
          </p15:clr>
        </p15:guide>
        <p15:guide id="8" pos="2200">
          <p15:clr>
            <a:srgbClr val="A4A3A4"/>
          </p15:clr>
        </p15:guide>
        <p15:guide id="9" pos="2540">
          <p15:clr>
            <a:srgbClr val="A4A3A4"/>
          </p15:clr>
        </p15:guide>
        <p15:guide id="10" pos="2880">
          <p15:clr>
            <a:srgbClr val="A4A3A4"/>
          </p15:clr>
        </p15:guide>
        <p15:guide id="11" pos="3220">
          <p15:clr>
            <a:srgbClr val="A4A3A4"/>
          </p15:clr>
        </p15:guide>
        <p15:guide id="12" pos="3560">
          <p15:clr>
            <a:srgbClr val="A4A3A4"/>
          </p15:clr>
        </p15:guide>
        <p15:guide id="13" pos="3900">
          <p15:clr>
            <a:srgbClr val="A4A3A4"/>
          </p15:clr>
        </p15:guide>
        <p15:guide id="14" pos="4241">
          <p15:clr>
            <a:srgbClr val="A4A3A4"/>
          </p15:clr>
        </p15:guide>
        <p15:guide id="15" pos="4581">
          <p15:clr>
            <a:srgbClr val="A4A3A4"/>
          </p15:clr>
        </p15:guide>
        <p15:guide id="16" pos="4921">
          <p15:clr>
            <a:srgbClr val="A4A3A4"/>
          </p15:clr>
        </p15:guide>
        <p15:guide id="17" pos="5261">
          <p15:clr>
            <a:srgbClr val="A4A3A4"/>
          </p15:clr>
        </p15:guide>
        <p15:guide id="18" pos="5601">
          <p15:clr>
            <a:srgbClr val="F26B43"/>
          </p15:clr>
        </p15:guide>
        <p15:guide id="19" orient="horz" pos="159">
          <p15:clr>
            <a:srgbClr val="F26B43"/>
          </p15:clr>
        </p15:guide>
        <p15:guide id="20" orient="horz" pos="340">
          <p15:clr>
            <a:srgbClr val="A4A3A4"/>
          </p15:clr>
        </p15:guide>
        <p15:guide id="21" orient="horz" pos="522">
          <p15:clr>
            <a:srgbClr val="A4A3A4"/>
          </p15:clr>
        </p15:guide>
        <p15:guide id="22" orient="horz" pos="703">
          <p15:clr>
            <a:srgbClr val="F26B43"/>
          </p15:clr>
        </p15:guide>
        <p15:guide id="23" orient="horz" pos="884">
          <p15:clr>
            <a:srgbClr val="A4A3A4"/>
          </p15:clr>
        </p15:guide>
        <p15:guide id="24" orient="horz" pos="1066">
          <p15:clr>
            <a:srgbClr val="A4A3A4"/>
          </p15:clr>
        </p15:guide>
        <p15:guide id="25" orient="horz" pos="1247">
          <p15:clr>
            <a:srgbClr val="A4A3A4"/>
          </p15:clr>
        </p15:guide>
        <p15:guide id="26" orient="horz" pos="1429">
          <p15:clr>
            <a:srgbClr val="A4A3A4"/>
          </p15:clr>
        </p15:guide>
        <p15:guide id="27" orient="horz" pos="1610">
          <p15:clr>
            <a:srgbClr val="A4A3A4"/>
          </p15:clr>
        </p15:guide>
        <p15:guide id="28" orient="horz" pos="1791">
          <p15:clr>
            <a:srgbClr val="A4A3A4"/>
          </p15:clr>
        </p15:guide>
        <p15:guide id="29" orient="horz" pos="1973">
          <p15:clr>
            <a:srgbClr val="A4A3A4"/>
          </p15:clr>
        </p15:guide>
        <p15:guide id="30" orient="horz" pos="2154">
          <p15:clr>
            <a:srgbClr val="A4A3A4"/>
          </p15:clr>
        </p15:guide>
        <p15:guide id="31" orient="horz" pos="2336">
          <p15:clr>
            <a:srgbClr val="A4A3A4"/>
          </p15:clr>
        </p15:guide>
        <p15:guide id="32" orient="horz" pos="2517">
          <p15:clr>
            <a:srgbClr val="A4A3A4"/>
          </p15:clr>
        </p15:guide>
        <p15:guide id="33" orient="horz" pos="2699">
          <p15:clr>
            <a:srgbClr val="A4A3A4"/>
          </p15:clr>
        </p15:guide>
        <p15:guide id="34" orient="horz" pos="2880">
          <p15:clr>
            <a:srgbClr val="A4A3A4"/>
          </p15:clr>
        </p15:guide>
        <p15:guide id="35" orient="horz" pos="3061">
          <p15:clr>
            <a:srgbClr val="F26B43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80B3C0A4-E185-440B-97AC-8912491AA8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592176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80B3C0A4-E185-440B-97AC-8912491AA8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Content Placeholder grey 2">
            <a:extLst>
              <a:ext uri="{FF2B5EF4-FFF2-40B4-BE49-F238E27FC236}">
                <a16:creationId xmlns:a16="http://schemas.microsoft.com/office/drawing/2014/main" id="{D2D16FE2-009A-442E-8EA5-4CA8FC1ABC6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222000" y="1404000"/>
            <a:ext cx="2700000" cy="2592000"/>
          </a:xfrm>
          <a:solidFill>
            <a:schemeClr val="bg1">
              <a:lumMod val="85000"/>
            </a:schemeClr>
          </a:solidFill>
        </p:spPr>
        <p:txBody>
          <a:bodyPr lIns="72000" tIns="720000" rIns="72000" bIns="108000" anchor="b" anchorCtr="0"/>
          <a:lstStyle>
            <a:lvl1pPr marL="0" indent="0" algn="l" rtl="0">
              <a:spcAft>
                <a:spcPts val="0"/>
              </a:spcAft>
              <a:buNone/>
              <a:defRPr/>
            </a:lvl1pPr>
          </a:lstStyle>
          <a:p>
            <a:pPr lvl="0"/>
            <a:r>
              <a:rPr lang="en-GB" dirty="0"/>
              <a:t>Company / Topic</a:t>
            </a:r>
            <a:br>
              <a:rPr lang="en-GB" dirty="0"/>
            </a:br>
            <a:r>
              <a:rPr lang="en-GB" dirty="0"/>
              <a:t>Name (bold)</a:t>
            </a:r>
          </a:p>
        </p:txBody>
      </p:sp>
      <p:sp>
        <p:nvSpPr>
          <p:cNvPr id="19" name="Content Placeholder grey 3">
            <a:extLst>
              <a:ext uri="{FF2B5EF4-FFF2-40B4-BE49-F238E27FC236}">
                <a16:creationId xmlns:a16="http://schemas.microsoft.com/office/drawing/2014/main" id="{53975128-4D96-42DE-8F17-40BAD05D784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192000" y="1404000"/>
            <a:ext cx="2700000" cy="2592000"/>
          </a:xfrm>
          <a:solidFill>
            <a:schemeClr val="bg1">
              <a:lumMod val="85000"/>
            </a:schemeClr>
          </a:solidFill>
        </p:spPr>
        <p:txBody>
          <a:bodyPr lIns="72000" tIns="720000" rIns="72000" bIns="108000" anchor="b" anchorCtr="0"/>
          <a:lstStyle>
            <a:lvl1pPr marL="0" indent="0" algn="l" rtl="0">
              <a:spcAft>
                <a:spcPts val="0"/>
              </a:spcAft>
              <a:buNone/>
              <a:defRPr/>
            </a:lvl1pPr>
          </a:lstStyle>
          <a:p>
            <a:pPr lvl="0"/>
            <a:r>
              <a:rPr lang="en-GB" dirty="0"/>
              <a:t>Company / Topic</a:t>
            </a:r>
            <a:br>
              <a:rPr lang="en-GB" dirty="0"/>
            </a:br>
            <a:r>
              <a:rPr lang="en-GB" dirty="0"/>
              <a:t>Name (bold)</a:t>
            </a:r>
          </a:p>
        </p:txBody>
      </p:sp>
      <p:sp>
        <p:nvSpPr>
          <p:cNvPr id="17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fld id="{D56DB8AA-803C-49D2-90AA-1140CE72DCD7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16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CB8E4B15-17B6-4F80-A70F-ADA597C13F97}" type="datetime4">
              <a:rPr lang="en-GB" smtClean="0"/>
              <a:pPr/>
              <a:t>14 March 2024</a:t>
            </a:fld>
            <a:endParaRPr lang="en-GB" dirty="0"/>
          </a:p>
        </p:txBody>
      </p:sp>
      <p:sp>
        <p:nvSpPr>
          <p:cNvPr id="18" name="Footer Placeholder 1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GB" dirty="0"/>
              <a:t>Munich Re Group – Company Presentation</a:t>
            </a:r>
          </a:p>
        </p:txBody>
      </p:sp>
      <p:sp>
        <p:nvSpPr>
          <p:cNvPr id="12" name="Titel 1"/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GB" noProof="0" dirty="0"/>
              <a:t>Title 20 pt, (agenda alternative)</a:t>
            </a:r>
          </a:p>
        </p:txBody>
      </p:sp>
      <p:sp>
        <p:nvSpPr>
          <p:cNvPr id="13" name="Text Placeholder 03"/>
          <p:cNvSpPr>
            <a:spLocks noGrp="1"/>
          </p:cNvSpPr>
          <p:nvPr>
            <p:ph type="body" sz="quarter" idx="24" hasCustomPrompt="1"/>
          </p:nvPr>
        </p:nvSpPr>
        <p:spPr>
          <a:xfrm>
            <a:off x="6192000" y="1404000"/>
            <a:ext cx="2700000" cy="576000"/>
          </a:xfrm>
          <a:noFill/>
        </p:spPr>
        <p:txBody>
          <a:bodyPr lIns="72000" tIns="0" rIns="0" bIns="0"/>
          <a:lstStyle>
            <a:lvl1pPr marL="0" indent="0" rtl="0">
              <a:buNone/>
              <a:defRPr sz="44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“03“</a:t>
            </a:r>
          </a:p>
        </p:txBody>
      </p:sp>
      <p:sp>
        <p:nvSpPr>
          <p:cNvPr id="10" name="Text Placeholder 02"/>
          <p:cNvSpPr>
            <a:spLocks noGrp="1"/>
          </p:cNvSpPr>
          <p:nvPr>
            <p:ph type="body" sz="quarter" idx="23" hasCustomPrompt="1"/>
          </p:nvPr>
        </p:nvSpPr>
        <p:spPr>
          <a:xfrm>
            <a:off x="3222000" y="1404000"/>
            <a:ext cx="2700000" cy="576000"/>
          </a:xfrm>
          <a:noFill/>
        </p:spPr>
        <p:txBody>
          <a:bodyPr lIns="72000" tIns="0" rIns="0" bIns="0"/>
          <a:lstStyle>
            <a:lvl1pPr marL="0" indent="0" rtl="0">
              <a:buNone/>
              <a:defRPr sz="44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“02“</a:t>
            </a:r>
          </a:p>
        </p:txBody>
      </p:sp>
      <p:sp>
        <p:nvSpPr>
          <p:cNvPr id="5" name="Content Placeholder grey 1"/>
          <p:cNvSpPr>
            <a:spLocks noGrp="1"/>
          </p:cNvSpPr>
          <p:nvPr>
            <p:ph type="body" sz="quarter" idx="16" hasCustomPrompt="1"/>
          </p:nvPr>
        </p:nvSpPr>
        <p:spPr>
          <a:xfrm>
            <a:off x="252000" y="1404000"/>
            <a:ext cx="2700000" cy="2592000"/>
          </a:xfrm>
          <a:solidFill>
            <a:schemeClr val="bg1">
              <a:lumMod val="85000"/>
            </a:schemeClr>
          </a:solidFill>
        </p:spPr>
        <p:txBody>
          <a:bodyPr lIns="72000" tIns="720000" rIns="72000" bIns="108000" anchor="b" anchorCtr="0"/>
          <a:lstStyle>
            <a:lvl1pPr marL="0" indent="0" algn="l" rtl="0">
              <a:spcAft>
                <a:spcPts val="0"/>
              </a:spcAft>
              <a:buNone/>
              <a:defRPr/>
            </a:lvl1pPr>
          </a:lstStyle>
          <a:p>
            <a:pPr lvl="0"/>
            <a:r>
              <a:rPr lang="en-GB" dirty="0"/>
              <a:t>Company / Topic</a:t>
            </a:r>
            <a:br>
              <a:rPr lang="en-GB" dirty="0"/>
            </a:br>
            <a:r>
              <a:rPr lang="en-GB" dirty="0"/>
              <a:t>Name (bold)</a:t>
            </a:r>
          </a:p>
        </p:txBody>
      </p:sp>
      <p:sp>
        <p:nvSpPr>
          <p:cNvPr id="9" name="Text Placeholder 01"/>
          <p:cNvSpPr>
            <a:spLocks noGrp="1"/>
          </p:cNvSpPr>
          <p:nvPr>
            <p:ph type="body" sz="quarter" idx="22" hasCustomPrompt="1"/>
          </p:nvPr>
        </p:nvSpPr>
        <p:spPr>
          <a:xfrm>
            <a:off x="252000" y="1404000"/>
            <a:ext cx="2700000" cy="576000"/>
          </a:xfrm>
          <a:noFill/>
        </p:spPr>
        <p:txBody>
          <a:bodyPr lIns="72000" tIns="0" rIns="0" bIns="0"/>
          <a:lstStyle>
            <a:lvl1pPr marL="0" indent="0" rtl="0">
              <a:buNone/>
              <a:defRPr sz="44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“01”</a:t>
            </a:r>
          </a:p>
        </p:txBody>
      </p:sp>
    </p:spTree>
    <p:extLst>
      <p:ext uri="{BB962C8B-B14F-4D97-AF65-F5344CB8AC3E}">
        <p14:creationId xmlns:p14="http://schemas.microsoft.com/office/powerpoint/2010/main" val="41083773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159">
          <p15:clr>
            <a:srgbClr val="F26B43"/>
          </p15:clr>
        </p15:guide>
        <p15:guide id="3" pos="499">
          <p15:clr>
            <a:srgbClr val="A4A3A4"/>
          </p15:clr>
        </p15:guide>
        <p15:guide id="4" pos="839">
          <p15:clr>
            <a:srgbClr val="A4A3A4"/>
          </p15:clr>
        </p15:guide>
        <p15:guide id="5" pos="1179">
          <p15:clr>
            <a:srgbClr val="A4A3A4"/>
          </p15:clr>
        </p15:guide>
        <p15:guide id="6" pos="1519">
          <p15:clr>
            <a:srgbClr val="A4A3A4"/>
          </p15:clr>
        </p15:guide>
        <p15:guide id="7" pos="1860">
          <p15:clr>
            <a:srgbClr val="FBAE40"/>
          </p15:clr>
        </p15:guide>
        <p15:guide id="8" pos="2200">
          <p15:clr>
            <a:srgbClr val="A4A3A4"/>
          </p15:clr>
        </p15:guide>
        <p15:guide id="9" pos="2540">
          <p15:clr>
            <a:srgbClr val="A4A3A4"/>
          </p15:clr>
        </p15:guide>
        <p15:guide id="10" pos="2880">
          <p15:clr>
            <a:srgbClr val="A4A3A4"/>
          </p15:clr>
        </p15:guide>
        <p15:guide id="11" pos="3220">
          <p15:clr>
            <a:srgbClr val="A4A3A4"/>
          </p15:clr>
        </p15:guide>
        <p15:guide id="12" pos="3560">
          <p15:clr>
            <a:srgbClr val="A4A3A4"/>
          </p15:clr>
        </p15:guide>
        <p15:guide id="13" pos="3900">
          <p15:clr>
            <a:srgbClr val="FBAE40"/>
          </p15:clr>
        </p15:guide>
        <p15:guide id="14" pos="4241">
          <p15:clr>
            <a:srgbClr val="A4A3A4"/>
          </p15:clr>
        </p15:guide>
        <p15:guide id="15" pos="4581">
          <p15:clr>
            <a:srgbClr val="A4A3A4"/>
          </p15:clr>
        </p15:guide>
        <p15:guide id="16" pos="4921">
          <p15:clr>
            <a:srgbClr val="A4A3A4"/>
          </p15:clr>
        </p15:guide>
        <p15:guide id="17" pos="5261">
          <p15:clr>
            <a:srgbClr val="A4A3A4"/>
          </p15:clr>
        </p15:guide>
        <p15:guide id="18" pos="5601">
          <p15:clr>
            <a:srgbClr val="F26B43"/>
          </p15:clr>
        </p15:guide>
        <p15:guide id="19" orient="horz" pos="159">
          <p15:clr>
            <a:srgbClr val="F26B43"/>
          </p15:clr>
        </p15:guide>
        <p15:guide id="20" orient="horz" pos="340">
          <p15:clr>
            <a:srgbClr val="A4A3A4"/>
          </p15:clr>
        </p15:guide>
        <p15:guide id="21" orient="horz" pos="522">
          <p15:clr>
            <a:srgbClr val="A4A3A4"/>
          </p15:clr>
        </p15:guide>
        <p15:guide id="22" orient="horz" pos="703">
          <p15:clr>
            <a:srgbClr val="A4A3A4"/>
          </p15:clr>
        </p15:guide>
        <p15:guide id="23" orient="horz" pos="884">
          <p15:clr>
            <a:srgbClr val="FBAE40"/>
          </p15:clr>
        </p15:guide>
        <p15:guide id="24" orient="horz" pos="1066">
          <p15:clr>
            <a:srgbClr val="A4A3A4"/>
          </p15:clr>
        </p15:guide>
        <p15:guide id="25" orient="horz" pos="1247">
          <p15:clr>
            <a:srgbClr val="A4A3A4"/>
          </p15:clr>
        </p15:guide>
        <p15:guide id="26" orient="horz" pos="1429">
          <p15:clr>
            <a:srgbClr val="A4A3A4"/>
          </p15:clr>
        </p15:guide>
        <p15:guide id="27" orient="horz" pos="1610">
          <p15:clr>
            <a:srgbClr val="A4A3A4"/>
          </p15:clr>
        </p15:guide>
        <p15:guide id="28" orient="horz" pos="1791">
          <p15:clr>
            <a:srgbClr val="A4A3A4"/>
          </p15:clr>
        </p15:guide>
        <p15:guide id="29" orient="horz" pos="1973">
          <p15:clr>
            <a:srgbClr val="A4A3A4"/>
          </p15:clr>
        </p15:guide>
        <p15:guide id="30" orient="horz" pos="2154">
          <p15:clr>
            <a:srgbClr val="A4A3A4"/>
          </p15:clr>
        </p15:guide>
        <p15:guide id="31" orient="horz" pos="2336">
          <p15:clr>
            <a:srgbClr val="A4A3A4"/>
          </p15:clr>
        </p15:guide>
        <p15:guide id="32" orient="horz" pos="2517">
          <p15:clr>
            <a:srgbClr val="FBAE40"/>
          </p15:clr>
        </p15:guide>
        <p15:guide id="33" orient="horz" pos="2699">
          <p15:clr>
            <a:srgbClr val="A4A3A4"/>
          </p15:clr>
        </p15:guide>
        <p15:guide id="34" orient="horz" pos="2880">
          <p15:clr>
            <a:srgbClr val="A4A3A4"/>
          </p15:clr>
        </p15:guide>
        <p15:guide id="35" orient="horz" pos="3061">
          <p15:clr>
            <a:srgbClr val="F26B43"/>
          </p15:clr>
        </p15:guide>
        <p15:guide id="36" pos="2030">
          <p15:clr>
            <a:srgbClr val="FBAE40"/>
          </p15:clr>
        </p15:guide>
        <p15:guide id="37" pos="3730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bulleted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FAEBC00B-D540-7082-99F6-3D803CDBBF8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833244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FAEBC00B-D540-7082-99F6-3D803CDBBF8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26BB25C5-A582-47D7-8F54-8B7C3233801B}" type="datetime4">
              <a:rPr lang="en-GB" smtClean="0"/>
              <a:pPr/>
              <a:t>14 March 2024</a:t>
            </a:fld>
            <a:endParaRPr lang="en-GB" dirty="0"/>
          </a:p>
        </p:txBody>
      </p:sp>
      <p:sp>
        <p:nvSpPr>
          <p:cNvPr id="8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fld id="{D94909C6-CC71-4962-A18E-AF0515723D95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9" name="Footer Placeholder 1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GB" dirty="0"/>
              <a:t>Munich Re Group – Company Presentation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GB" dirty="0"/>
              <a:t>Title 20 pt, two lines max. and bulleted list</a:t>
            </a:r>
            <a:endParaRPr lang="en-GB" noProof="0" dirty="0"/>
          </a:p>
        </p:txBody>
      </p:sp>
      <p:sp>
        <p:nvSpPr>
          <p:cNvPr id="3" name="Content Placeholder 1"/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  <a:lvl6pPr rtl="0">
              <a:defRPr/>
            </a:lvl6pPr>
            <a:lvl7pPr rtl="0">
              <a:defRPr/>
            </a:lvl7pPr>
            <a:lvl8pPr rtl="0">
              <a:defRPr/>
            </a:lvl8pPr>
            <a:lvl9pPr rtl="0">
              <a:defRPr/>
            </a:lvl9pPr>
          </a:lstStyle>
          <a:p>
            <a:pPr lvl="0"/>
            <a:r>
              <a:rPr lang="en-GB" dirty="0"/>
              <a:t>To customise the hierarchy of points, use Start &gt; Paragraph &gt; Decrease / Increase List Level. Alternatively, insert table, chart, SmartArt graphic, picture or online graphic.</a:t>
            </a:r>
            <a:br>
              <a:rPr lang="en-GB" dirty="0"/>
            </a:br>
            <a:r>
              <a:rPr lang="en-GB" dirty="0"/>
              <a:t>Formatting charts: You can use all Monochromatic colors and Colorful Palette 1 (Ribbon &gt;Chart Design &gt;Change Colors. Please use only Style 1, 2, 6 or 11. (Ribbon &gt;Chart Design &gt;Chart Styles)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  <a:p>
            <a:pPr lvl="5"/>
            <a:r>
              <a:rPr lang="en-GB" dirty="0"/>
              <a:t>Sixth level</a:t>
            </a:r>
          </a:p>
          <a:p>
            <a:pPr lvl="6"/>
            <a:r>
              <a:rPr lang="en-GB" dirty="0"/>
              <a:t>Seventh level</a:t>
            </a:r>
          </a:p>
          <a:p>
            <a:pPr lvl="7"/>
            <a:r>
              <a:rPr lang="en-GB" dirty="0"/>
              <a:t>Eighth level</a:t>
            </a:r>
          </a:p>
          <a:p>
            <a:pPr lvl="8"/>
            <a:r>
              <a:rPr lang="en-GB" dirty="0"/>
              <a:t>Ninth level</a:t>
            </a:r>
          </a:p>
        </p:txBody>
      </p:sp>
    </p:spTree>
    <p:extLst>
      <p:ext uri="{BB962C8B-B14F-4D97-AF65-F5344CB8AC3E}">
        <p14:creationId xmlns:p14="http://schemas.microsoft.com/office/powerpoint/2010/main" val="16796797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159">
          <p15:clr>
            <a:srgbClr val="F26B43"/>
          </p15:clr>
        </p15:guide>
        <p15:guide id="3" pos="499">
          <p15:clr>
            <a:srgbClr val="A4A3A4"/>
          </p15:clr>
        </p15:guide>
        <p15:guide id="4" pos="839">
          <p15:clr>
            <a:srgbClr val="A4A3A4"/>
          </p15:clr>
        </p15:guide>
        <p15:guide id="5" pos="1179">
          <p15:clr>
            <a:srgbClr val="A4A3A4"/>
          </p15:clr>
        </p15:guide>
        <p15:guide id="6" pos="1519">
          <p15:clr>
            <a:srgbClr val="A4A3A4"/>
          </p15:clr>
        </p15:guide>
        <p15:guide id="7" pos="1860">
          <p15:clr>
            <a:srgbClr val="A4A3A4"/>
          </p15:clr>
        </p15:guide>
        <p15:guide id="8" pos="2200">
          <p15:clr>
            <a:srgbClr val="A4A3A4"/>
          </p15:clr>
        </p15:guide>
        <p15:guide id="9" pos="2540">
          <p15:clr>
            <a:srgbClr val="A4A3A4"/>
          </p15:clr>
        </p15:guide>
        <p15:guide id="10" pos="2880">
          <p15:clr>
            <a:srgbClr val="A4A3A4"/>
          </p15:clr>
        </p15:guide>
        <p15:guide id="11" pos="3220">
          <p15:clr>
            <a:srgbClr val="A4A3A4"/>
          </p15:clr>
        </p15:guide>
        <p15:guide id="12" pos="3560">
          <p15:clr>
            <a:srgbClr val="A4A3A4"/>
          </p15:clr>
        </p15:guide>
        <p15:guide id="13" pos="3900">
          <p15:clr>
            <a:srgbClr val="A4A3A4"/>
          </p15:clr>
        </p15:guide>
        <p15:guide id="14" pos="4241">
          <p15:clr>
            <a:srgbClr val="A4A3A4"/>
          </p15:clr>
        </p15:guide>
        <p15:guide id="15" pos="4581">
          <p15:clr>
            <a:srgbClr val="A4A3A4"/>
          </p15:clr>
        </p15:guide>
        <p15:guide id="16" pos="4921">
          <p15:clr>
            <a:srgbClr val="A4A3A4"/>
          </p15:clr>
        </p15:guide>
        <p15:guide id="17" pos="5261">
          <p15:clr>
            <a:srgbClr val="A4A3A4"/>
          </p15:clr>
        </p15:guide>
        <p15:guide id="18" pos="5601">
          <p15:clr>
            <a:srgbClr val="F26B43"/>
          </p15:clr>
        </p15:guide>
        <p15:guide id="19" orient="horz" pos="159">
          <p15:clr>
            <a:srgbClr val="F26B43"/>
          </p15:clr>
        </p15:guide>
        <p15:guide id="20" orient="horz" pos="340">
          <p15:clr>
            <a:srgbClr val="A4A3A4"/>
          </p15:clr>
        </p15:guide>
        <p15:guide id="21" orient="horz" pos="522">
          <p15:clr>
            <a:srgbClr val="A4A3A4"/>
          </p15:clr>
        </p15:guide>
        <p15:guide id="22" orient="horz" pos="703">
          <p15:clr>
            <a:srgbClr val="F26B43"/>
          </p15:clr>
        </p15:guide>
        <p15:guide id="23" orient="horz" pos="884">
          <p15:clr>
            <a:srgbClr val="A4A3A4"/>
          </p15:clr>
        </p15:guide>
        <p15:guide id="24" orient="horz" pos="1066">
          <p15:clr>
            <a:srgbClr val="A4A3A4"/>
          </p15:clr>
        </p15:guide>
        <p15:guide id="25" orient="horz" pos="1247">
          <p15:clr>
            <a:srgbClr val="A4A3A4"/>
          </p15:clr>
        </p15:guide>
        <p15:guide id="26" orient="horz" pos="1429">
          <p15:clr>
            <a:srgbClr val="A4A3A4"/>
          </p15:clr>
        </p15:guide>
        <p15:guide id="27" orient="horz" pos="1610">
          <p15:clr>
            <a:srgbClr val="A4A3A4"/>
          </p15:clr>
        </p15:guide>
        <p15:guide id="28" orient="horz" pos="1791">
          <p15:clr>
            <a:srgbClr val="A4A3A4"/>
          </p15:clr>
        </p15:guide>
        <p15:guide id="29" orient="horz" pos="1973">
          <p15:clr>
            <a:srgbClr val="A4A3A4"/>
          </p15:clr>
        </p15:guide>
        <p15:guide id="30" orient="horz" pos="2154">
          <p15:clr>
            <a:srgbClr val="A4A3A4"/>
          </p15:clr>
        </p15:guide>
        <p15:guide id="31" orient="horz" pos="2336">
          <p15:clr>
            <a:srgbClr val="A4A3A4"/>
          </p15:clr>
        </p15:guide>
        <p15:guide id="32" orient="horz" pos="2517">
          <p15:clr>
            <a:srgbClr val="A4A3A4"/>
          </p15:clr>
        </p15:guide>
        <p15:guide id="33" orient="horz" pos="2699">
          <p15:clr>
            <a:srgbClr val="A4A3A4"/>
          </p15:clr>
        </p15:guide>
        <p15:guide id="34" orient="horz" pos="2880">
          <p15:clr>
            <a:srgbClr val="A4A3A4"/>
          </p15:clr>
        </p15:guide>
        <p15:guide id="35" orient="horz" pos="3061">
          <p15:clr>
            <a:srgbClr val="F26B43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image" Target="../media/image2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9B65DB4C-8B0D-ED3C-DA25-469AFDB277E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9"/>
            </p:custDataLst>
            <p:extLst>
              <p:ext uri="{D42A27DB-BD31-4B8C-83A1-F6EECF244321}">
                <p14:modId xmlns:p14="http://schemas.microsoft.com/office/powerpoint/2010/main" val="19097942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0" imgW="425" imgH="426" progId="TCLayout.ActiveDocument.1">
                  <p:embed/>
                </p:oleObj>
              </mc:Choice>
              <mc:Fallback>
                <p:oleObj name="think-cell Folie" r:id="rId30" imgW="425" imgH="42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9B65DB4C-8B0D-ED3C-DA25-469AFDB277E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8" name="Logo 1">
            <a:extLst>
              <a:ext uri="{FF2B5EF4-FFF2-40B4-BE49-F238E27FC236}">
                <a16:creationId xmlns:a16="http://schemas.microsoft.com/office/drawing/2014/main" id="{ECB33FF8-6057-4865-A816-0910E6D24BD6}"/>
              </a:ext>
            </a:extLst>
          </p:cNvPr>
          <p:cNvPicPr preferRelativeResize="0">
            <a:picLocks/>
          </p:cNvPicPr>
          <p:nvPr/>
        </p:nvPicPr>
        <p:blipFill>
          <a:blip r:embed="rId32"/>
          <a:stretch>
            <a:fillRect/>
          </a:stretch>
        </p:blipFill>
        <p:spPr>
          <a:xfrm>
            <a:off x="7584788" y="307350"/>
            <a:ext cx="1306800" cy="302400"/>
          </a:xfrm>
          <a:prstGeom prst="rect">
            <a:avLst/>
          </a:prstGeom>
        </p:spPr>
      </p:pic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8478000" y="4896000"/>
            <a:ext cx="360000" cy="18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 rtl="0">
              <a:defRPr sz="600" b="1">
                <a:solidFill>
                  <a:schemeClr val="tx2"/>
                </a:solidFill>
              </a:defRPr>
            </a:lvl1pPr>
          </a:lstStyle>
          <a:p>
            <a:fld id="{D56DB8AA-803C-49D2-90AA-1140CE72DCD7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3" name="Date Placeholder 1"/>
          <p:cNvSpPr>
            <a:spLocks noGrp="1"/>
          </p:cNvSpPr>
          <p:nvPr>
            <p:ph type="dt" sz="half" idx="2"/>
          </p:nvPr>
        </p:nvSpPr>
        <p:spPr>
          <a:xfrm>
            <a:off x="7632000" y="4896000"/>
            <a:ext cx="828000" cy="180000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r" rtl="0">
              <a:defRPr sz="600">
                <a:solidFill>
                  <a:schemeClr val="tx2"/>
                </a:solidFill>
              </a:defRPr>
            </a:lvl1pPr>
          </a:lstStyle>
          <a:p>
            <a:fld id="{917D212D-4344-4262-AACD-44D154DCF955}" type="datetime4">
              <a:rPr lang="en-GB" smtClean="0"/>
              <a:pPr/>
              <a:t>14 March 2024</a:t>
            </a:fld>
            <a:endParaRPr lang="en-GB" dirty="0"/>
          </a:p>
        </p:txBody>
      </p:sp>
      <p:sp>
        <p:nvSpPr>
          <p:cNvPr id="4" name="Footer Placeholder 1"/>
          <p:cNvSpPr>
            <a:spLocks noGrp="1"/>
          </p:cNvSpPr>
          <p:nvPr>
            <p:ph type="ftr" sz="quarter" idx="3"/>
          </p:nvPr>
        </p:nvSpPr>
        <p:spPr>
          <a:xfrm>
            <a:off x="3918000" y="4896000"/>
            <a:ext cx="3600000" cy="18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 rtl="0">
              <a:defRPr sz="600">
                <a:solidFill>
                  <a:schemeClr val="tx2"/>
                </a:solidFill>
              </a:defRPr>
            </a:lvl1pPr>
          </a:lstStyle>
          <a:p>
            <a:r>
              <a:rPr lang="en-GB" dirty="0"/>
              <a:t>Munich Re Group – Company Presentation</a:t>
            </a:r>
          </a:p>
        </p:txBody>
      </p:sp>
      <p:sp>
        <p:nvSpPr>
          <p:cNvPr id="5" name="Titel 1"/>
          <p:cNvSpPr>
            <a:spLocks noGrp="1"/>
          </p:cNvSpPr>
          <p:nvPr>
            <p:ph type="title"/>
          </p:nvPr>
        </p:nvSpPr>
        <p:spPr>
          <a:xfrm>
            <a:off x="252000" y="252000"/>
            <a:ext cx="6748875" cy="576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GB" noProof="0" dirty="0"/>
              <a:t>Title 20 pt,</a:t>
            </a:r>
            <a:br>
              <a:rPr lang="en-GB" noProof="0" dirty="0"/>
            </a:br>
            <a:r>
              <a:rPr lang="en-GB" noProof="0" dirty="0"/>
              <a:t>two lines max.</a:t>
            </a:r>
          </a:p>
        </p:txBody>
      </p:sp>
      <p:sp>
        <p:nvSpPr>
          <p:cNvPr id="6" name="Content Placeholder 1"/>
          <p:cNvSpPr>
            <a:spLocks noGrp="1"/>
          </p:cNvSpPr>
          <p:nvPr>
            <p:ph type="body" idx="1"/>
          </p:nvPr>
        </p:nvSpPr>
        <p:spPr>
          <a:xfrm>
            <a:off x="252000" y="1116000"/>
            <a:ext cx="8640000" cy="3744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dirty="0"/>
              <a:t>To customise the hierarchy of points, use Start &gt; Paragraph &gt; Decrease / Increase List Level. Alternatively, insert table, chart, SmartArt graphic, picture or online graphic.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  <a:p>
            <a:pPr lvl="5"/>
            <a:r>
              <a:rPr lang="en-GB" dirty="0"/>
              <a:t>Sixth level</a:t>
            </a:r>
          </a:p>
          <a:p>
            <a:pPr lvl="6"/>
            <a:r>
              <a:rPr lang="en-GB" dirty="0"/>
              <a:t>Seventh level</a:t>
            </a:r>
          </a:p>
          <a:p>
            <a:pPr lvl="7"/>
            <a:r>
              <a:rPr lang="en-GB" dirty="0"/>
              <a:t>Eighth level</a:t>
            </a:r>
          </a:p>
          <a:p>
            <a:pPr lvl="8"/>
            <a:r>
              <a:rPr lang="en-GB" dirty="0"/>
              <a:t>Ninth level</a:t>
            </a:r>
          </a:p>
        </p:txBody>
      </p:sp>
    </p:spTree>
    <p:extLst>
      <p:ext uri="{BB962C8B-B14F-4D97-AF65-F5344CB8AC3E}">
        <p14:creationId xmlns:p14="http://schemas.microsoft.com/office/powerpoint/2010/main" val="7338252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6" r:id="rId1"/>
    <p:sldLayoutId id="2147483837" r:id="rId2"/>
    <p:sldLayoutId id="2147483838" r:id="rId3"/>
    <p:sldLayoutId id="2147483839" r:id="rId4"/>
    <p:sldLayoutId id="2147483840" r:id="rId5"/>
    <p:sldLayoutId id="2147483841" r:id="rId6"/>
    <p:sldLayoutId id="2147483842" r:id="rId7"/>
    <p:sldLayoutId id="2147483843" r:id="rId8"/>
    <p:sldLayoutId id="2147483844" r:id="rId9"/>
    <p:sldLayoutId id="2147483845" r:id="rId10"/>
    <p:sldLayoutId id="2147483846" r:id="rId11"/>
    <p:sldLayoutId id="2147483847" r:id="rId12"/>
    <p:sldLayoutId id="2147483848" r:id="rId13"/>
    <p:sldLayoutId id="2147483849" r:id="rId14"/>
    <p:sldLayoutId id="2147483850" r:id="rId15"/>
    <p:sldLayoutId id="2147483851" r:id="rId16"/>
    <p:sldLayoutId id="2147483852" r:id="rId17"/>
    <p:sldLayoutId id="2147483853" r:id="rId18"/>
    <p:sldLayoutId id="2147483854" r:id="rId19"/>
    <p:sldLayoutId id="2147483855" r:id="rId20"/>
    <p:sldLayoutId id="2147483856" r:id="rId21"/>
    <p:sldLayoutId id="2147483857" r:id="rId22"/>
    <p:sldLayoutId id="2147483858" r:id="rId23"/>
    <p:sldLayoutId id="2147483859" r:id="rId24"/>
    <p:sldLayoutId id="2147483860" r:id="rId25"/>
    <p:sldLayoutId id="2147483861" r:id="rId26"/>
    <p:sldLayoutId id="2147483862" r:id="rId27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/>
  <p:txStyles>
    <p:titleStyle>
      <a:lvl1pPr algn="l" defTabSz="270000" rtl="0" eaLnBrk="1" latinLnBrk="0" hangingPunct="1">
        <a:spcBef>
          <a:spcPct val="0"/>
        </a:spcBef>
        <a:buNone/>
        <a:defRPr sz="2000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16000" indent="-216000" algn="l" defTabSz="270000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Clr>
          <a:schemeClr val="accent1"/>
        </a:buClr>
        <a:buFont typeface="Wingdings" pitchFamily="2" charset="2"/>
        <a:buChar char="§"/>
        <a:defRPr sz="1400" kern="1200">
          <a:solidFill>
            <a:schemeClr val="tx2"/>
          </a:solidFill>
          <a:latin typeface="+mn-lt"/>
          <a:ea typeface="+mn-ea"/>
          <a:cs typeface="+mn-cs"/>
        </a:defRPr>
      </a:lvl1pPr>
      <a:lvl2pPr marL="432000" indent="-216000" algn="l" defTabSz="270000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Clr>
          <a:schemeClr val="accent1"/>
        </a:buClr>
        <a:buFont typeface="Wingdings" pitchFamily="2" charset="2"/>
        <a:buChar char="§"/>
        <a:defRPr sz="1400" kern="1200">
          <a:solidFill>
            <a:schemeClr val="tx2"/>
          </a:solidFill>
          <a:latin typeface="+mn-lt"/>
          <a:ea typeface="+mn-ea"/>
          <a:cs typeface="+mn-cs"/>
        </a:defRPr>
      </a:lvl2pPr>
      <a:lvl3pPr marL="648000" indent="-216000" algn="l" defTabSz="270000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Clr>
          <a:schemeClr val="accent1"/>
        </a:buClr>
        <a:buFont typeface="Wingdings" pitchFamily="2" charset="2"/>
        <a:buChar char="§"/>
        <a:defRPr sz="1400" kern="1200">
          <a:solidFill>
            <a:schemeClr val="tx2"/>
          </a:solidFill>
          <a:latin typeface="+mn-lt"/>
          <a:ea typeface="+mn-ea"/>
          <a:cs typeface="+mn-cs"/>
        </a:defRPr>
      </a:lvl3pPr>
      <a:lvl4pPr marL="864000" indent="-216000" algn="l" defTabSz="270000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Clr>
          <a:schemeClr val="accent1"/>
        </a:buClr>
        <a:buFont typeface="Wingdings" pitchFamily="2" charset="2"/>
        <a:buChar char="§"/>
        <a:defRPr sz="1400" kern="1200">
          <a:solidFill>
            <a:schemeClr val="tx2"/>
          </a:solidFill>
          <a:latin typeface="+mn-lt"/>
          <a:ea typeface="+mn-ea"/>
          <a:cs typeface="+mn-cs"/>
        </a:defRPr>
      </a:lvl4pPr>
      <a:lvl5pPr marL="1080000" indent="-216000" algn="l" defTabSz="270000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Clr>
          <a:schemeClr val="accent1"/>
        </a:buClr>
        <a:buFont typeface="Wingdings" pitchFamily="2" charset="2"/>
        <a:buChar char="§"/>
        <a:defRPr sz="1400" kern="1200">
          <a:solidFill>
            <a:schemeClr val="tx2"/>
          </a:solidFill>
          <a:latin typeface="+mn-lt"/>
          <a:ea typeface="+mn-ea"/>
          <a:cs typeface="+mn-cs"/>
        </a:defRPr>
      </a:lvl5pPr>
      <a:lvl6pPr marL="1296000" indent="-216000" algn="l" defTabSz="270000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Clr>
          <a:schemeClr val="accent1"/>
        </a:buClr>
        <a:buFont typeface="Wingdings" pitchFamily="2" charset="2"/>
        <a:buChar char="§"/>
        <a:defRPr sz="1400" kern="1200">
          <a:solidFill>
            <a:schemeClr val="tx2"/>
          </a:solidFill>
          <a:latin typeface="+mn-lt"/>
          <a:ea typeface="+mn-ea"/>
          <a:cs typeface="+mn-cs"/>
        </a:defRPr>
      </a:lvl6pPr>
      <a:lvl7pPr marL="1512000" indent="-216000" algn="l" defTabSz="270000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Clr>
          <a:schemeClr val="accent1"/>
        </a:buClr>
        <a:buFont typeface="Wingdings" pitchFamily="2" charset="2"/>
        <a:buChar char="§"/>
        <a:defRPr sz="1400" kern="1200" baseline="0">
          <a:solidFill>
            <a:schemeClr val="tx2"/>
          </a:solidFill>
          <a:latin typeface="+mn-lt"/>
          <a:ea typeface="+mn-ea"/>
          <a:cs typeface="+mn-cs"/>
        </a:defRPr>
      </a:lvl7pPr>
      <a:lvl8pPr marL="1728000" indent="-216000" algn="l" defTabSz="270000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Clr>
          <a:schemeClr val="accent1"/>
        </a:buClr>
        <a:buFont typeface="Wingdings" pitchFamily="2" charset="2"/>
        <a:buChar char="§"/>
        <a:defRPr sz="1400" kern="1200" baseline="0">
          <a:solidFill>
            <a:schemeClr val="tx2"/>
          </a:solidFill>
          <a:latin typeface="+mn-lt"/>
          <a:ea typeface="+mn-ea"/>
          <a:cs typeface="+mn-cs"/>
        </a:defRPr>
      </a:lvl8pPr>
      <a:lvl9pPr marL="1944000" indent="-216000" algn="l" defTabSz="270000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Clr>
          <a:schemeClr val="accent1"/>
        </a:buClr>
        <a:buFont typeface="Wingdings" pitchFamily="2" charset="2"/>
        <a:buChar char="§"/>
        <a:defRPr sz="1400" kern="1200" baseline="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en-GB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7" Type="http://schemas.openxmlformats.org/officeDocument/2006/relationships/image" Target="../media/image4.emf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30.x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9.bin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.xml"/><Relationship Id="rId7" Type="http://schemas.openxmlformats.org/officeDocument/2006/relationships/image" Target="../media/image29.svg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39.xml"/><Relationship Id="rId6" Type="http://schemas.openxmlformats.org/officeDocument/2006/relationships/image" Target="../media/image28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8.bin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.xml"/><Relationship Id="rId7" Type="http://schemas.openxmlformats.org/officeDocument/2006/relationships/image" Target="../media/image30.svg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40.xml"/><Relationship Id="rId6" Type="http://schemas.openxmlformats.org/officeDocument/2006/relationships/image" Target="../media/image2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9.bin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.xml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4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0.bin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3.xml"/><Relationship Id="rId7" Type="http://schemas.openxmlformats.org/officeDocument/2006/relationships/image" Target="../media/image32.svg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42.xml"/><Relationship Id="rId6" Type="http://schemas.openxmlformats.org/officeDocument/2006/relationships/image" Target="../media/image31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1.bin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4.xml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4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2.bin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5.xml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4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3.bin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6.xml"/><Relationship Id="rId7" Type="http://schemas.openxmlformats.org/officeDocument/2006/relationships/image" Target="../media/image4.emf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45.x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4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3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0.bin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13" Type="http://schemas.openxmlformats.org/officeDocument/2006/relationships/image" Target="../media/image13.png"/><Relationship Id="rId18" Type="http://schemas.openxmlformats.org/officeDocument/2006/relationships/image" Target="../media/image17.jpg"/><Relationship Id="rId3" Type="http://schemas.openxmlformats.org/officeDocument/2006/relationships/notesSlide" Target="../notesSlides/notesSlide3.xml"/><Relationship Id="rId21" Type="http://schemas.openxmlformats.org/officeDocument/2006/relationships/image" Target="../media/image20.png"/><Relationship Id="rId7" Type="http://schemas.openxmlformats.org/officeDocument/2006/relationships/image" Target="../media/image7.png"/><Relationship Id="rId12" Type="http://schemas.openxmlformats.org/officeDocument/2006/relationships/image" Target="../media/image12.png"/><Relationship Id="rId17" Type="http://schemas.openxmlformats.org/officeDocument/2006/relationships/image" Target="../media/image16.png"/><Relationship Id="rId2" Type="http://schemas.openxmlformats.org/officeDocument/2006/relationships/slideLayout" Target="../slideLayouts/slideLayout9.xml"/><Relationship Id="rId16" Type="http://schemas.openxmlformats.org/officeDocument/2006/relationships/image" Target="../media/image15.jpg"/><Relationship Id="rId20" Type="http://schemas.openxmlformats.org/officeDocument/2006/relationships/image" Target="../media/image19.png"/><Relationship Id="rId1" Type="http://schemas.openxmlformats.org/officeDocument/2006/relationships/tags" Target="../tags/tag32.xml"/><Relationship Id="rId6" Type="http://schemas.openxmlformats.org/officeDocument/2006/relationships/image" Target="../media/image6.png"/><Relationship Id="rId11" Type="http://schemas.openxmlformats.org/officeDocument/2006/relationships/image" Target="../media/image11.png"/><Relationship Id="rId5" Type="http://schemas.openxmlformats.org/officeDocument/2006/relationships/image" Target="../media/image1.emf"/><Relationship Id="rId15" Type="http://schemas.openxmlformats.org/officeDocument/2006/relationships/image" Target="../media/image2.emf"/><Relationship Id="rId10" Type="http://schemas.openxmlformats.org/officeDocument/2006/relationships/image" Target="../media/image10.jpg"/><Relationship Id="rId19" Type="http://schemas.openxmlformats.org/officeDocument/2006/relationships/image" Target="../media/image18.png"/><Relationship Id="rId4" Type="http://schemas.openxmlformats.org/officeDocument/2006/relationships/oleObject" Target="../embeddings/oleObject31.bin"/><Relationship Id="rId9" Type="http://schemas.openxmlformats.org/officeDocument/2006/relationships/image" Target="../media/image9.png"/><Relationship Id="rId14" Type="http://schemas.openxmlformats.org/officeDocument/2006/relationships/image" Target="../media/image14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3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2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3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3.bin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png"/><Relationship Id="rId3" Type="http://schemas.openxmlformats.org/officeDocument/2006/relationships/notesSlide" Target="../notesSlides/notesSlide6.xml"/><Relationship Id="rId7" Type="http://schemas.openxmlformats.org/officeDocument/2006/relationships/image" Target="../media/image22.jpeg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35.xml"/><Relationship Id="rId6" Type="http://schemas.openxmlformats.org/officeDocument/2006/relationships/image" Target="../media/image21.png"/><Relationship Id="rId5" Type="http://schemas.openxmlformats.org/officeDocument/2006/relationships/image" Target="../media/image1.emf"/><Relationship Id="rId10" Type="http://schemas.openxmlformats.org/officeDocument/2006/relationships/image" Target="../media/image25.jpeg"/><Relationship Id="rId4" Type="http://schemas.openxmlformats.org/officeDocument/2006/relationships/oleObject" Target="../embeddings/oleObject34.bin"/><Relationship Id="rId9" Type="http://schemas.openxmlformats.org/officeDocument/2006/relationships/image" Target="../media/image24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3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5.bin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3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6.bin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7" Type="http://schemas.openxmlformats.org/officeDocument/2006/relationships/image" Target="../media/image27.svg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38.xml"/><Relationship Id="rId6" Type="http://schemas.openxmlformats.org/officeDocument/2006/relationships/image" Target="../media/image2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7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5E06970-45C9-9311-A12F-34BE575EE6D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179757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5" imgH="426" progId="TCLayout.ActiveDocument.1">
                  <p:embed/>
                </p:oleObj>
              </mc:Choice>
              <mc:Fallback>
                <p:oleObj name="think-cell Folie" r:id="rId4" imgW="425" imgH="42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5E06970-45C9-9311-A12F-34BE575EE6D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>
            <a:extLst>
              <a:ext uri="{FF2B5EF4-FFF2-40B4-BE49-F238E27FC236}">
                <a16:creationId xmlns:a16="http://schemas.microsoft.com/office/drawing/2014/main" id="{B361D974-6285-CADA-2CC2-D8EE4A540426}"/>
              </a:ext>
            </a:extLst>
          </p:cNvPr>
          <p:cNvSpPr/>
          <p:nvPr/>
        </p:nvSpPr>
        <p:spPr>
          <a:xfrm>
            <a:off x="0" y="0"/>
            <a:ext cx="4572000" cy="5148000"/>
          </a:xfrm>
          <a:prstGeom prst="rect">
            <a:avLst/>
          </a:pr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endParaRPr lang="en-GB" sz="1400" dirty="0">
              <a:solidFill>
                <a:schemeClr val="bg1"/>
              </a:solidFill>
            </a:endParaRPr>
          </a:p>
        </p:txBody>
      </p:sp>
      <p:pic>
        <p:nvPicPr>
          <p:cNvPr id="13" name="Picture Placeholder 12">
            <a:extLst>
              <a:ext uri="{FF2B5EF4-FFF2-40B4-BE49-F238E27FC236}">
                <a16:creationId xmlns:a16="http://schemas.microsoft.com/office/drawing/2014/main" id="{A0F660F8-86DC-B0C2-4A11-D8F4A3813731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 rotWithShape="1">
          <a:blip r:embed="rId6"/>
          <a:srcRect l="20398" r="20398"/>
          <a:stretch/>
        </p:blipFill>
        <p:spPr>
          <a:prstGeom prst="rect">
            <a:avLst/>
          </a:prstGeom>
        </p:spPr>
      </p:pic>
      <p:sp>
        <p:nvSpPr>
          <p:cNvPr id="14" name="Title 13">
            <a:extLst>
              <a:ext uri="{FF2B5EF4-FFF2-40B4-BE49-F238E27FC236}">
                <a16:creationId xmlns:a16="http://schemas.microsoft.com/office/drawing/2014/main" id="{D3AB1AB9-5A15-8DA4-2FE9-B4B81FC6658A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en-GB" dirty="0"/>
              <a:t>Transforming risk into trust</a:t>
            </a:r>
            <a:br>
              <a:rPr lang="en-GB" dirty="0"/>
            </a:br>
            <a:r>
              <a:rPr lang="en-GB" sz="2000" dirty="0">
                <a:solidFill>
                  <a:schemeClr val="bg2">
                    <a:lumMod val="20000"/>
                    <a:lumOff val="80000"/>
                  </a:schemeClr>
                </a:solidFill>
              </a:rPr>
              <a:t>Munich Re Group  </a:t>
            </a:r>
            <a:br>
              <a:rPr lang="en-GB" sz="2000" dirty="0">
                <a:solidFill>
                  <a:schemeClr val="bg2">
                    <a:lumMod val="20000"/>
                    <a:lumOff val="80000"/>
                  </a:schemeClr>
                </a:solidFill>
              </a:rPr>
            </a:br>
            <a:r>
              <a:rPr lang="en-GB" sz="2000" dirty="0">
                <a:solidFill>
                  <a:schemeClr val="bg2">
                    <a:lumMod val="20000"/>
                    <a:lumOff val="80000"/>
                  </a:schemeClr>
                </a:solidFill>
              </a:rPr>
              <a:t>Company Presentation</a:t>
            </a:r>
            <a:endParaRPr lang="en-GB" dirty="0">
              <a:solidFill>
                <a:schemeClr val="bg2">
                  <a:lumMod val="20000"/>
                  <a:lumOff val="80000"/>
                </a:schemeClr>
              </a:solidFill>
            </a:endParaRPr>
          </a:p>
        </p:txBody>
      </p:sp>
      <p:sp>
        <p:nvSpPr>
          <p:cNvPr id="26" name="Subtitle 25">
            <a:extLst>
              <a:ext uri="{FF2B5EF4-FFF2-40B4-BE49-F238E27FC236}">
                <a16:creationId xmlns:a16="http://schemas.microsoft.com/office/drawing/2014/main" id="{73A26B69-4048-C744-A362-91AEB3497F84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B867B34D-56E8-6FC0-3094-E851C093291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GB" dirty="0"/>
              <a:t>Image: Sasi Ponchaisang / EyeEm / Getty Images</a:t>
            </a:r>
          </a:p>
        </p:txBody>
      </p:sp>
      <p:pic>
        <p:nvPicPr>
          <p:cNvPr id="11" name="MR Logo white 1">
            <a:extLst>
              <a:ext uri="{FF2B5EF4-FFF2-40B4-BE49-F238E27FC236}">
                <a16:creationId xmlns:a16="http://schemas.microsoft.com/office/drawing/2014/main" id="{A664415F-2FA0-78D0-896B-1B767698C18F}"/>
              </a:ext>
            </a:extLst>
          </p:cNvPr>
          <p:cNvPicPr/>
          <p:nvPr/>
        </p:nvPicPr>
        <p:blipFill>
          <a:blip r:embed="rId7"/>
          <a:stretch>
            <a:fillRect/>
          </a:stretch>
        </p:blipFill>
        <p:spPr>
          <a:xfrm>
            <a:off x="2718000" y="4446000"/>
            <a:ext cx="1512000" cy="349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23081574"/>
      </p:ext>
    </p:extLst>
  </p:cSld>
  <p:clrMapOvr>
    <a:masterClrMapping/>
  </p:clrMapOvr>
  <p:transition spd="slow">
    <p:fade thruBlk="1"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1A6A978A-E65B-DC67-6740-5ABB58A2C05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741621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5" imgH="426" progId="TCLayout.ActiveDocument.1">
                  <p:embed/>
                </p:oleObj>
              </mc:Choice>
              <mc:Fallback>
                <p:oleObj name="think-cell Folie" r:id="rId4" imgW="425" imgH="42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1A6A978A-E65B-DC67-6740-5ABB58A2C05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FDFE70A-A851-830B-B70B-96D334E362F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B933BB1-209C-4FB9-875D-6D43939A5999}" type="datetime4">
              <a:rPr lang="en-GB" noProof="0" smtClean="0"/>
              <a:pPr/>
              <a:t>14 March 2024</a:t>
            </a:fld>
            <a:endParaRPr lang="en-GB" noProof="0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22DF4CD-80EB-9199-B899-9FA2E996762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94909C6-CC71-4962-A18E-AF0515723D95}" type="slidenum">
              <a:rPr lang="en-GB" noProof="0" smtClean="0"/>
              <a:pPr/>
              <a:t>10</a:t>
            </a:fld>
            <a:endParaRPr lang="en-GB" noProof="0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6BBEB53-973A-69D6-041B-57D44C4055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GB" noProof="0" dirty="0"/>
              <a:t>Munich Re Group – Company Presentation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108A6CCA-BB9F-76AC-65A3-74B18AD4E3B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>
                <a:solidFill>
                  <a:srgbClr val="004DBF"/>
                </a:solidFill>
              </a:rPr>
              <a:t>Munich Re Reinsurance Group </a:t>
            </a:r>
            <a:br>
              <a:rPr lang="en-GB" dirty="0">
                <a:solidFill>
                  <a:srgbClr val="0066FF"/>
                </a:solidFill>
              </a:rPr>
            </a:br>
            <a:r>
              <a:rPr lang="en-GB" sz="1400" dirty="0">
                <a:solidFill>
                  <a:schemeClr val="tx2"/>
                </a:solidFill>
              </a:rPr>
              <a:t>Pioneering concepts that make tomorrow’s world insurable </a:t>
            </a:r>
            <a:endParaRPr lang="en-GB" sz="1600" dirty="0">
              <a:solidFill>
                <a:schemeClr val="tx2"/>
              </a:solidFill>
            </a:endParaRPr>
          </a:p>
        </p:txBody>
      </p:sp>
      <p:sp>
        <p:nvSpPr>
          <p:cNvPr id="10" name="Rechteck 18">
            <a:extLst>
              <a:ext uri="{FF2B5EF4-FFF2-40B4-BE49-F238E27FC236}">
                <a16:creationId xmlns:a16="http://schemas.microsoft.com/office/drawing/2014/main" id="{9EA348CD-C8B7-563F-D5B7-D986E7BDC5F8}"/>
              </a:ext>
            </a:extLst>
          </p:cNvPr>
          <p:cNvSpPr/>
          <p:nvPr/>
        </p:nvSpPr>
        <p:spPr>
          <a:xfrm>
            <a:off x="0" y="3038400"/>
            <a:ext cx="2986414" cy="1821600"/>
          </a:xfrm>
          <a:prstGeom prst="rect">
            <a:avLst/>
          </a:prstGeom>
          <a:solidFill>
            <a:srgbClr val="004DBF">
              <a:alpha val="1000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52000" tIns="108000" rIns="108000" bIns="108000" rtlCol="0" anchor="t" anchorCtr="0"/>
          <a:lstStyle>
            <a:defPPr>
              <a:defRPr lang="x-none"/>
            </a:defPPr>
            <a:lvl1pPr marL="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10000"/>
              </a:lnSpc>
            </a:pPr>
            <a:r>
              <a:rPr lang="en-GB" sz="1200" dirty="0">
                <a:solidFill>
                  <a:schemeClr val="tx1"/>
                </a:solidFill>
              </a:rPr>
              <a:t>Extensive </a:t>
            </a:r>
            <a:r>
              <a:rPr lang="en-GB" sz="1200" b="1" dirty="0">
                <a:solidFill>
                  <a:srgbClr val="004DBF"/>
                </a:solidFill>
              </a:rPr>
              <a:t>underwriting</a:t>
            </a:r>
            <a:r>
              <a:rPr lang="en-GB" sz="1200" b="1" dirty="0">
                <a:solidFill>
                  <a:schemeClr val="accent1"/>
                </a:solidFill>
              </a:rPr>
              <a:t> </a:t>
            </a:r>
            <a:r>
              <a:rPr lang="en-GB" sz="1200" b="1" dirty="0">
                <a:solidFill>
                  <a:srgbClr val="004DBF"/>
                </a:solidFill>
              </a:rPr>
              <a:t>experience</a:t>
            </a:r>
            <a:r>
              <a:rPr lang="en-GB" sz="1200" dirty="0">
                <a:solidFill>
                  <a:schemeClr val="tx1"/>
                </a:solidFill>
              </a:rPr>
              <a:t>, global and local </a:t>
            </a:r>
            <a:r>
              <a:rPr lang="en-GB" sz="1200" b="1" dirty="0">
                <a:solidFill>
                  <a:srgbClr val="004DBF"/>
                </a:solidFill>
              </a:rPr>
              <a:t>market</a:t>
            </a:r>
            <a:r>
              <a:rPr lang="en-GB" sz="1200" b="1" dirty="0">
                <a:solidFill>
                  <a:schemeClr val="accent1"/>
                </a:solidFill>
              </a:rPr>
              <a:t> </a:t>
            </a:r>
            <a:r>
              <a:rPr lang="en-GB" sz="1200" b="1" dirty="0">
                <a:solidFill>
                  <a:srgbClr val="004DBF"/>
                </a:solidFill>
              </a:rPr>
              <a:t>insight</a:t>
            </a:r>
            <a:r>
              <a:rPr lang="en-GB" sz="1200" b="1" dirty="0">
                <a:solidFill>
                  <a:schemeClr val="accent1"/>
                </a:solidFill>
              </a:rPr>
              <a:t> </a:t>
            </a:r>
            <a:r>
              <a:rPr lang="en-GB" sz="1200" dirty="0">
                <a:solidFill>
                  <a:schemeClr val="tx1"/>
                </a:solidFill>
              </a:rPr>
              <a:t>and</a:t>
            </a:r>
            <a:br>
              <a:rPr lang="en-GB" sz="1200" dirty="0">
                <a:solidFill>
                  <a:schemeClr val="tx1"/>
                </a:solidFill>
              </a:rPr>
            </a:br>
            <a:r>
              <a:rPr lang="en-GB" sz="1200" b="1" dirty="0">
                <a:solidFill>
                  <a:srgbClr val="004DBF"/>
                </a:solidFill>
              </a:rPr>
              <a:t>cross-segment</a:t>
            </a:r>
            <a:r>
              <a:rPr lang="en-GB" sz="1200" b="1" dirty="0">
                <a:solidFill>
                  <a:schemeClr val="accent1"/>
                </a:solidFill>
              </a:rPr>
              <a:t> </a:t>
            </a:r>
            <a:r>
              <a:rPr lang="en-GB" sz="1200" b="1" dirty="0">
                <a:solidFill>
                  <a:srgbClr val="004DBF"/>
                </a:solidFill>
              </a:rPr>
              <a:t>expertise</a:t>
            </a:r>
            <a:r>
              <a:rPr lang="en-GB" sz="1200" dirty="0">
                <a:solidFill>
                  <a:schemeClr val="tx1"/>
                </a:solidFill>
              </a:rPr>
              <a:t>.</a:t>
            </a:r>
          </a:p>
        </p:txBody>
      </p:sp>
      <p:sp>
        <p:nvSpPr>
          <p:cNvPr id="12" name="Rechteck 18">
            <a:extLst>
              <a:ext uri="{FF2B5EF4-FFF2-40B4-BE49-F238E27FC236}">
                <a16:creationId xmlns:a16="http://schemas.microsoft.com/office/drawing/2014/main" id="{602E84CF-AEF7-E137-CF18-DB8F3044352A}"/>
              </a:ext>
            </a:extLst>
          </p:cNvPr>
          <p:cNvSpPr/>
          <p:nvPr/>
        </p:nvSpPr>
        <p:spPr>
          <a:xfrm>
            <a:off x="3078793" y="3038400"/>
            <a:ext cx="2986414" cy="1821600"/>
          </a:xfrm>
          <a:prstGeom prst="rect">
            <a:avLst/>
          </a:prstGeom>
          <a:solidFill>
            <a:srgbClr val="004DBF">
              <a:alpha val="1000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t" anchorCtr="0"/>
          <a:lstStyle>
            <a:defPPr>
              <a:defRPr lang="x-none"/>
            </a:defPPr>
            <a:lvl1pPr marL="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10000"/>
              </a:lnSpc>
            </a:pPr>
            <a:r>
              <a:rPr lang="en-GB" sz="1200" b="1" dirty="0">
                <a:solidFill>
                  <a:srgbClr val="004DBF"/>
                </a:solidFill>
              </a:rPr>
              <a:t>Specialized</a:t>
            </a:r>
            <a:r>
              <a:rPr lang="en-GB" sz="1200" b="1" dirty="0">
                <a:solidFill>
                  <a:schemeClr val="accent1"/>
                </a:solidFill>
              </a:rPr>
              <a:t> </a:t>
            </a:r>
            <a:r>
              <a:rPr lang="en-GB" sz="1200" b="1" dirty="0">
                <a:solidFill>
                  <a:srgbClr val="004DBF"/>
                </a:solidFill>
              </a:rPr>
              <a:t>products</a:t>
            </a:r>
            <a:r>
              <a:rPr lang="en-GB" sz="1200" dirty="0">
                <a:solidFill>
                  <a:schemeClr val="tx2"/>
                </a:solidFill>
              </a:rPr>
              <a:t>, </a:t>
            </a:r>
            <a:r>
              <a:rPr lang="en-GB" sz="1200" b="1" dirty="0">
                <a:solidFill>
                  <a:srgbClr val="004DBF"/>
                </a:solidFill>
              </a:rPr>
              <a:t>customized</a:t>
            </a:r>
            <a:r>
              <a:rPr lang="en-GB" sz="1200" b="1" dirty="0">
                <a:solidFill>
                  <a:schemeClr val="accent1"/>
                </a:solidFill>
              </a:rPr>
              <a:t> </a:t>
            </a:r>
            <a:r>
              <a:rPr lang="en-GB" sz="1200" b="1" dirty="0">
                <a:solidFill>
                  <a:srgbClr val="004DBF"/>
                </a:solidFill>
              </a:rPr>
              <a:t>insurance</a:t>
            </a:r>
            <a:r>
              <a:rPr lang="en-GB" sz="1200" b="1" dirty="0">
                <a:solidFill>
                  <a:schemeClr val="accent1"/>
                </a:solidFill>
              </a:rPr>
              <a:t> </a:t>
            </a:r>
            <a:r>
              <a:rPr lang="en-GB" sz="1200" b="1" dirty="0">
                <a:solidFill>
                  <a:srgbClr val="004DBF"/>
                </a:solidFill>
              </a:rPr>
              <a:t>solutions</a:t>
            </a:r>
            <a:r>
              <a:rPr lang="en-GB" sz="1200" dirty="0">
                <a:solidFill>
                  <a:schemeClr val="tx1"/>
                </a:solidFill>
              </a:rPr>
              <a:t> &amp; </a:t>
            </a:r>
            <a:r>
              <a:rPr lang="en-GB" sz="1200" b="1" dirty="0">
                <a:solidFill>
                  <a:srgbClr val="004DBF"/>
                </a:solidFill>
              </a:rPr>
              <a:t>services</a:t>
            </a:r>
            <a:r>
              <a:rPr lang="en-GB" sz="1200" dirty="0">
                <a:solidFill>
                  <a:schemeClr val="tx1"/>
                </a:solidFill>
              </a:rPr>
              <a:t> to fully serve the needs of clients handling industrial or major project business.</a:t>
            </a:r>
          </a:p>
        </p:txBody>
      </p:sp>
      <p:sp>
        <p:nvSpPr>
          <p:cNvPr id="147" name="Freeform: Shape 146">
            <a:extLst>
              <a:ext uri="{FF2B5EF4-FFF2-40B4-BE49-F238E27FC236}">
                <a16:creationId xmlns:a16="http://schemas.microsoft.com/office/drawing/2014/main" id="{C06E8616-D136-492B-E559-7316F0ACC927}"/>
              </a:ext>
            </a:extLst>
          </p:cNvPr>
          <p:cNvSpPr/>
          <p:nvPr/>
        </p:nvSpPr>
        <p:spPr>
          <a:xfrm>
            <a:off x="0" y="4112568"/>
            <a:ext cx="2986415" cy="747432"/>
          </a:xfrm>
          <a:custGeom>
            <a:avLst/>
            <a:gdLst>
              <a:gd name="connsiteX0" fmla="*/ 0 w 2986415"/>
              <a:gd name="connsiteY0" fmla="*/ 0 h 747432"/>
              <a:gd name="connsiteX1" fmla="*/ 1375679 w 2986415"/>
              <a:gd name="connsiteY1" fmla="*/ 0 h 747432"/>
              <a:gd name="connsiteX2" fmla="*/ 1493208 w 2986415"/>
              <a:gd name="connsiteY2" fmla="*/ 98931 h 747432"/>
              <a:gd name="connsiteX3" fmla="*/ 1610737 w 2986415"/>
              <a:gd name="connsiteY3" fmla="*/ 0 h 747432"/>
              <a:gd name="connsiteX4" fmla="*/ 2986415 w 2986415"/>
              <a:gd name="connsiteY4" fmla="*/ 0 h 747432"/>
              <a:gd name="connsiteX5" fmla="*/ 2986415 w 2986415"/>
              <a:gd name="connsiteY5" fmla="*/ 747432 h 747432"/>
              <a:gd name="connsiteX6" fmla="*/ 0 w 2986415"/>
              <a:gd name="connsiteY6" fmla="*/ 747432 h 7474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986415" h="747432">
                <a:moveTo>
                  <a:pt x="0" y="0"/>
                </a:moveTo>
                <a:lnTo>
                  <a:pt x="1375679" y="0"/>
                </a:lnTo>
                <a:lnTo>
                  <a:pt x="1493208" y="98931"/>
                </a:lnTo>
                <a:lnTo>
                  <a:pt x="1610737" y="0"/>
                </a:lnTo>
                <a:lnTo>
                  <a:pt x="2986415" y="0"/>
                </a:lnTo>
                <a:lnTo>
                  <a:pt x="2986415" y="747432"/>
                </a:lnTo>
                <a:lnTo>
                  <a:pt x="0" y="747432"/>
                </a:lnTo>
                <a:close/>
              </a:path>
            </a:pathLst>
          </a:custGeom>
          <a:solidFill>
            <a:srgbClr val="004DBF">
              <a:alpha val="1000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 anchorCtr="0">
            <a:noAutofit/>
          </a:bodyPr>
          <a:lstStyle/>
          <a:p>
            <a:pPr algn="ctr"/>
            <a:endParaRPr lang="en-GB" sz="1400" dirty="0">
              <a:solidFill>
                <a:schemeClr val="bg1"/>
              </a:solidFill>
            </a:endParaRPr>
          </a:p>
        </p:txBody>
      </p:sp>
      <p:sp>
        <p:nvSpPr>
          <p:cNvPr id="138" name="Freeform: Shape 137">
            <a:extLst>
              <a:ext uri="{FF2B5EF4-FFF2-40B4-BE49-F238E27FC236}">
                <a16:creationId xmlns:a16="http://schemas.microsoft.com/office/drawing/2014/main" id="{1448609F-1C4D-DD77-074B-EBD1455CEC01}"/>
              </a:ext>
            </a:extLst>
          </p:cNvPr>
          <p:cNvSpPr/>
          <p:nvPr/>
        </p:nvSpPr>
        <p:spPr>
          <a:xfrm>
            <a:off x="1" y="1116000"/>
            <a:ext cx="2986414" cy="1821600"/>
          </a:xfrm>
          <a:custGeom>
            <a:avLst/>
            <a:gdLst>
              <a:gd name="connsiteX0" fmla="*/ 0 w 2986414"/>
              <a:gd name="connsiteY0" fmla="*/ 0 h 1821600"/>
              <a:gd name="connsiteX1" fmla="*/ 2986414 w 2986414"/>
              <a:gd name="connsiteY1" fmla="*/ 0 h 1821600"/>
              <a:gd name="connsiteX2" fmla="*/ 2986414 w 2986414"/>
              <a:gd name="connsiteY2" fmla="*/ 1821600 h 1821600"/>
              <a:gd name="connsiteX3" fmla="*/ 0 w 2986414"/>
              <a:gd name="connsiteY3" fmla="*/ 1821600 h 1821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986414" h="1821600">
                <a:moveTo>
                  <a:pt x="0" y="0"/>
                </a:moveTo>
                <a:lnTo>
                  <a:pt x="2986414" y="0"/>
                </a:lnTo>
                <a:lnTo>
                  <a:pt x="2986414" y="1821600"/>
                </a:lnTo>
                <a:lnTo>
                  <a:pt x="0" y="1821600"/>
                </a:lnTo>
                <a:close/>
              </a:path>
            </a:pathLst>
          </a:custGeom>
          <a:solidFill>
            <a:srgbClr val="004DBF">
              <a:alpha val="1000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52000" tIns="108000" rIns="108000" bIns="108000" rtlCol="0" anchor="t" anchorCtr="0">
            <a:noAutofit/>
          </a:bodyPr>
          <a:lstStyle>
            <a:defPPr>
              <a:defRPr lang="x-none"/>
            </a:defPPr>
            <a:lvl1pPr marL="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10000"/>
              </a:lnSpc>
            </a:pPr>
            <a:r>
              <a:rPr lang="en-GB" sz="1200" dirty="0">
                <a:solidFill>
                  <a:schemeClr val="tx1"/>
                </a:solidFill>
              </a:rPr>
              <a:t>One of the world’s</a:t>
            </a:r>
            <a:br>
              <a:rPr lang="en-GB" sz="1200" dirty="0">
                <a:solidFill>
                  <a:schemeClr val="tx1"/>
                </a:solidFill>
              </a:rPr>
            </a:br>
            <a:r>
              <a:rPr lang="en-GB" sz="1200" b="1" dirty="0">
                <a:solidFill>
                  <a:srgbClr val="004DBF"/>
                </a:solidFill>
              </a:rPr>
              <a:t>leading</a:t>
            </a:r>
            <a:r>
              <a:rPr lang="en-GB" sz="1200" b="1" dirty="0">
                <a:solidFill>
                  <a:schemeClr val="accent1"/>
                </a:solidFill>
              </a:rPr>
              <a:t> </a:t>
            </a:r>
            <a:r>
              <a:rPr lang="en-GB" sz="1200" b="1" dirty="0">
                <a:solidFill>
                  <a:srgbClr val="004DBF"/>
                </a:solidFill>
              </a:rPr>
              <a:t>reinsurers</a:t>
            </a:r>
            <a:r>
              <a:rPr lang="en-GB" sz="1200" dirty="0">
                <a:solidFill>
                  <a:schemeClr val="tx1"/>
                </a:solidFill>
              </a:rPr>
              <a:t>.</a:t>
            </a:r>
          </a:p>
        </p:txBody>
      </p:sp>
      <p:sp>
        <p:nvSpPr>
          <p:cNvPr id="11" name="Rechteck 18">
            <a:extLst>
              <a:ext uri="{FF2B5EF4-FFF2-40B4-BE49-F238E27FC236}">
                <a16:creationId xmlns:a16="http://schemas.microsoft.com/office/drawing/2014/main" id="{4EB2F532-44FE-C397-57EA-E0302E131E1C}"/>
              </a:ext>
            </a:extLst>
          </p:cNvPr>
          <p:cNvSpPr/>
          <p:nvPr/>
        </p:nvSpPr>
        <p:spPr>
          <a:xfrm>
            <a:off x="6157586" y="3038400"/>
            <a:ext cx="2986414" cy="1821600"/>
          </a:xfrm>
          <a:prstGeom prst="rect">
            <a:avLst/>
          </a:prstGeom>
          <a:solidFill>
            <a:srgbClr val="004DBF">
              <a:alpha val="1000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306000" bIns="108000" rtlCol="0" anchor="t" anchorCtr="0"/>
          <a:lstStyle>
            <a:defPPr>
              <a:defRPr lang="x-none"/>
            </a:defPPr>
            <a:lvl1pPr marL="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10000"/>
              </a:lnSpc>
            </a:pPr>
            <a:r>
              <a:rPr lang="en-GB" sz="1200" dirty="0">
                <a:solidFill>
                  <a:schemeClr val="tx1"/>
                </a:solidFill>
              </a:rPr>
              <a:t>Business with primary insurers directly, via brokers and within the framework of strategic partnerships.</a:t>
            </a:r>
          </a:p>
        </p:txBody>
      </p:sp>
      <p:sp>
        <p:nvSpPr>
          <p:cNvPr id="17" name="Rechteck 18">
            <a:extLst>
              <a:ext uri="{FF2B5EF4-FFF2-40B4-BE49-F238E27FC236}">
                <a16:creationId xmlns:a16="http://schemas.microsoft.com/office/drawing/2014/main" id="{5E2F27DF-18B2-F2E5-85F9-66C7DDD34E77}"/>
              </a:ext>
            </a:extLst>
          </p:cNvPr>
          <p:cNvSpPr/>
          <p:nvPr/>
        </p:nvSpPr>
        <p:spPr>
          <a:xfrm>
            <a:off x="6157586" y="1116000"/>
            <a:ext cx="2986414" cy="1821600"/>
          </a:xfrm>
          <a:prstGeom prst="rect">
            <a:avLst/>
          </a:prstGeom>
          <a:solidFill>
            <a:srgbClr val="004DBF">
              <a:alpha val="1000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306000" bIns="108000" rtlCol="0" anchor="t" anchorCtr="0"/>
          <a:lstStyle>
            <a:defPPr>
              <a:defRPr lang="x-none"/>
            </a:defPPr>
            <a:lvl1pPr marL="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10000"/>
              </a:lnSpc>
            </a:pPr>
            <a:r>
              <a:rPr lang="en-GB" sz="1200" b="1" dirty="0">
                <a:solidFill>
                  <a:srgbClr val="004DBF"/>
                </a:solidFill>
              </a:rPr>
              <a:t>Life</a:t>
            </a:r>
            <a:r>
              <a:rPr lang="en-GB" sz="1200" dirty="0">
                <a:solidFill>
                  <a:schemeClr val="tx1"/>
                </a:solidFill>
              </a:rPr>
              <a:t>, </a:t>
            </a:r>
            <a:r>
              <a:rPr lang="en-GB" sz="1200" b="1" dirty="0">
                <a:solidFill>
                  <a:srgbClr val="004DBF"/>
                </a:solidFill>
              </a:rPr>
              <a:t>health</a:t>
            </a:r>
            <a:r>
              <a:rPr lang="en-GB" sz="1200" dirty="0">
                <a:solidFill>
                  <a:srgbClr val="0066FF"/>
                </a:solidFill>
              </a:rPr>
              <a:t> </a:t>
            </a:r>
            <a:r>
              <a:rPr lang="en-GB" sz="1200" dirty="0">
                <a:solidFill>
                  <a:schemeClr val="tx1"/>
                </a:solidFill>
              </a:rPr>
              <a:t>and </a:t>
            </a:r>
            <a:r>
              <a:rPr lang="en-GB" sz="1200" b="1" dirty="0">
                <a:solidFill>
                  <a:srgbClr val="004DBF"/>
                </a:solidFill>
              </a:rPr>
              <a:t>property-</a:t>
            </a:r>
            <a:br>
              <a:rPr lang="en-GB" sz="1200" dirty="0">
                <a:solidFill>
                  <a:srgbClr val="004DBF"/>
                </a:solidFill>
              </a:rPr>
            </a:br>
            <a:r>
              <a:rPr lang="en-GB" sz="1200" b="1" dirty="0">
                <a:solidFill>
                  <a:srgbClr val="004DBF"/>
                </a:solidFill>
              </a:rPr>
              <a:t>casualty</a:t>
            </a:r>
            <a:r>
              <a:rPr lang="en-GB" sz="1200" dirty="0">
                <a:solidFill>
                  <a:srgbClr val="004DBF"/>
                </a:solidFill>
              </a:rPr>
              <a:t> </a:t>
            </a:r>
            <a:r>
              <a:rPr lang="en-GB" sz="1200" b="1" dirty="0">
                <a:solidFill>
                  <a:srgbClr val="004DBF"/>
                </a:solidFill>
              </a:rPr>
              <a:t>business</a:t>
            </a:r>
            <a:r>
              <a:rPr lang="en-GB" sz="1200" dirty="0">
                <a:solidFill>
                  <a:schemeClr val="tx1"/>
                </a:solidFill>
              </a:rPr>
              <a:t>.</a:t>
            </a:r>
          </a:p>
        </p:txBody>
      </p:sp>
      <p:sp>
        <p:nvSpPr>
          <p:cNvPr id="18" name="Rechteck 18">
            <a:extLst>
              <a:ext uri="{FF2B5EF4-FFF2-40B4-BE49-F238E27FC236}">
                <a16:creationId xmlns:a16="http://schemas.microsoft.com/office/drawing/2014/main" id="{CD447910-2FB6-5469-7C89-24C7BF640BE0}"/>
              </a:ext>
            </a:extLst>
          </p:cNvPr>
          <p:cNvSpPr/>
          <p:nvPr/>
        </p:nvSpPr>
        <p:spPr>
          <a:xfrm>
            <a:off x="3078793" y="1116000"/>
            <a:ext cx="2986414" cy="1821600"/>
          </a:xfrm>
          <a:prstGeom prst="rect">
            <a:avLst/>
          </a:prstGeom>
          <a:solidFill>
            <a:srgbClr val="004DBF">
              <a:alpha val="1000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t" anchorCtr="0"/>
          <a:lstStyle>
            <a:defPPr>
              <a:defRPr lang="x-none"/>
            </a:defPPr>
            <a:lvl1pPr marL="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10000"/>
              </a:lnSpc>
            </a:pPr>
            <a:r>
              <a:rPr lang="en-GB" sz="1200" b="1" dirty="0">
                <a:solidFill>
                  <a:srgbClr val="004DBF"/>
                </a:solidFill>
              </a:rPr>
              <a:t>4000+</a:t>
            </a:r>
            <a:r>
              <a:rPr lang="en-GB" sz="1200" dirty="0">
                <a:solidFill>
                  <a:srgbClr val="004DBF"/>
                </a:solidFill>
              </a:rPr>
              <a:t> </a:t>
            </a:r>
            <a:r>
              <a:rPr lang="en-GB" sz="1200" dirty="0">
                <a:solidFill>
                  <a:schemeClr val="tx1"/>
                </a:solidFill>
              </a:rPr>
              <a:t>corporate clients</a:t>
            </a:r>
            <a:br>
              <a:rPr lang="en-GB" sz="1200" dirty="0">
                <a:solidFill>
                  <a:schemeClr val="tx1"/>
                </a:solidFill>
              </a:rPr>
            </a:br>
            <a:r>
              <a:rPr lang="en-GB" sz="1200" dirty="0">
                <a:solidFill>
                  <a:schemeClr val="tx1"/>
                </a:solidFill>
              </a:rPr>
              <a:t>in </a:t>
            </a:r>
            <a:r>
              <a:rPr lang="en-GB" sz="1200" b="1" dirty="0">
                <a:solidFill>
                  <a:srgbClr val="004DBF"/>
                </a:solidFill>
              </a:rPr>
              <a:t>160+</a:t>
            </a:r>
            <a:r>
              <a:rPr lang="en-GB" sz="1200" b="1" dirty="0">
                <a:solidFill>
                  <a:schemeClr val="accent1"/>
                </a:solidFill>
              </a:rPr>
              <a:t> </a:t>
            </a:r>
            <a:r>
              <a:rPr lang="en-GB" sz="1200" dirty="0">
                <a:solidFill>
                  <a:schemeClr val="tx1"/>
                </a:solidFill>
              </a:rPr>
              <a:t>countries.</a:t>
            </a:r>
          </a:p>
        </p:txBody>
      </p:sp>
      <p:sp>
        <p:nvSpPr>
          <p:cNvPr id="144" name="Freeform: Shape 143">
            <a:extLst>
              <a:ext uri="{FF2B5EF4-FFF2-40B4-BE49-F238E27FC236}">
                <a16:creationId xmlns:a16="http://schemas.microsoft.com/office/drawing/2014/main" id="{D920B766-5575-2EAD-A29C-BA31A3282F66}"/>
              </a:ext>
            </a:extLst>
          </p:cNvPr>
          <p:cNvSpPr/>
          <p:nvPr/>
        </p:nvSpPr>
        <p:spPr>
          <a:xfrm>
            <a:off x="0" y="2190168"/>
            <a:ext cx="2986415" cy="747432"/>
          </a:xfrm>
          <a:custGeom>
            <a:avLst/>
            <a:gdLst>
              <a:gd name="connsiteX0" fmla="*/ 0 w 2986415"/>
              <a:gd name="connsiteY0" fmla="*/ 0 h 747432"/>
              <a:gd name="connsiteX1" fmla="*/ 1375679 w 2986415"/>
              <a:gd name="connsiteY1" fmla="*/ 0 h 747432"/>
              <a:gd name="connsiteX2" fmla="*/ 1493208 w 2986415"/>
              <a:gd name="connsiteY2" fmla="*/ 98931 h 747432"/>
              <a:gd name="connsiteX3" fmla="*/ 1610737 w 2986415"/>
              <a:gd name="connsiteY3" fmla="*/ 0 h 747432"/>
              <a:gd name="connsiteX4" fmla="*/ 2986415 w 2986415"/>
              <a:gd name="connsiteY4" fmla="*/ 0 h 747432"/>
              <a:gd name="connsiteX5" fmla="*/ 2986415 w 2986415"/>
              <a:gd name="connsiteY5" fmla="*/ 747432 h 747432"/>
              <a:gd name="connsiteX6" fmla="*/ 0 w 2986415"/>
              <a:gd name="connsiteY6" fmla="*/ 747432 h 7474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986415" h="747432">
                <a:moveTo>
                  <a:pt x="0" y="0"/>
                </a:moveTo>
                <a:lnTo>
                  <a:pt x="1375679" y="0"/>
                </a:lnTo>
                <a:lnTo>
                  <a:pt x="1493208" y="98931"/>
                </a:lnTo>
                <a:lnTo>
                  <a:pt x="1610737" y="0"/>
                </a:lnTo>
                <a:lnTo>
                  <a:pt x="2986415" y="0"/>
                </a:lnTo>
                <a:lnTo>
                  <a:pt x="2986415" y="747432"/>
                </a:lnTo>
                <a:lnTo>
                  <a:pt x="0" y="747432"/>
                </a:lnTo>
                <a:close/>
              </a:path>
            </a:pathLst>
          </a:custGeom>
          <a:solidFill>
            <a:srgbClr val="004DBF">
              <a:alpha val="1000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 anchorCtr="0">
            <a:noAutofit/>
          </a:bodyPr>
          <a:lstStyle/>
          <a:p>
            <a:pPr algn="ctr"/>
            <a:endParaRPr lang="en-GB" sz="1400" dirty="0">
              <a:solidFill>
                <a:schemeClr val="bg1"/>
              </a:solidFill>
            </a:endParaRPr>
          </a:p>
        </p:txBody>
      </p:sp>
      <p:sp>
        <p:nvSpPr>
          <p:cNvPr id="149" name="Freeform: Shape 148">
            <a:extLst>
              <a:ext uri="{FF2B5EF4-FFF2-40B4-BE49-F238E27FC236}">
                <a16:creationId xmlns:a16="http://schemas.microsoft.com/office/drawing/2014/main" id="{ED819DF2-44A2-F613-9D48-9EBCC3EBCCAE}"/>
              </a:ext>
            </a:extLst>
          </p:cNvPr>
          <p:cNvSpPr/>
          <p:nvPr/>
        </p:nvSpPr>
        <p:spPr>
          <a:xfrm flipH="1">
            <a:off x="6157585" y="4112568"/>
            <a:ext cx="2986415" cy="747432"/>
          </a:xfrm>
          <a:custGeom>
            <a:avLst/>
            <a:gdLst>
              <a:gd name="connsiteX0" fmla="*/ 0 w 2986415"/>
              <a:gd name="connsiteY0" fmla="*/ 0 h 747432"/>
              <a:gd name="connsiteX1" fmla="*/ 1375679 w 2986415"/>
              <a:gd name="connsiteY1" fmla="*/ 0 h 747432"/>
              <a:gd name="connsiteX2" fmla="*/ 1493208 w 2986415"/>
              <a:gd name="connsiteY2" fmla="*/ 98931 h 747432"/>
              <a:gd name="connsiteX3" fmla="*/ 1610737 w 2986415"/>
              <a:gd name="connsiteY3" fmla="*/ 0 h 747432"/>
              <a:gd name="connsiteX4" fmla="*/ 2986415 w 2986415"/>
              <a:gd name="connsiteY4" fmla="*/ 0 h 747432"/>
              <a:gd name="connsiteX5" fmla="*/ 2986415 w 2986415"/>
              <a:gd name="connsiteY5" fmla="*/ 747432 h 747432"/>
              <a:gd name="connsiteX6" fmla="*/ 0 w 2986415"/>
              <a:gd name="connsiteY6" fmla="*/ 747432 h 7474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986415" h="747432">
                <a:moveTo>
                  <a:pt x="0" y="0"/>
                </a:moveTo>
                <a:lnTo>
                  <a:pt x="1375679" y="0"/>
                </a:lnTo>
                <a:lnTo>
                  <a:pt x="1493208" y="98931"/>
                </a:lnTo>
                <a:lnTo>
                  <a:pt x="1610737" y="0"/>
                </a:lnTo>
                <a:lnTo>
                  <a:pt x="2986415" y="0"/>
                </a:lnTo>
                <a:lnTo>
                  <a:pt x="2986415" y="747432"/>
                </a:lnTo>
                <a:lnTo>
                  <a:pt x="0" y="747432"/>
                </a:lnTo>
                <a:close/>
              </a:path>
            </a:pathLst>
          </a:custGeom>
          <a:solidFill>
            <a:srgbClr val="004DBF">
              <a:alpha val="1000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 anchorCtr="0">
            <a:noAutofit/>
          </a:bodyPr>
          <a:lstStyle/>
          <a:p>
            <a:pPr algn="ctr"/>
            <a:endParaRPr lang="en-GB" sz="1400" dirty="0">
              <a:solidFill>
                <a:schemeClr val="bg1"/>
              </a:solidFill>
            </a:endParaRPr>
          </a:p>
        </p:txBody>
      </p:sp>
      <p:sp>
        <p:nvSpPr>
          <p:cNvPr id="150" name="Freeform: Shape 149">
            <a:extLst>
              <a:ext uri="{FF2B5EF4-FFF2-40B4-BE49-F238E27FC236}">
                <a16:creationId xmlns:a16="http://schemas.microsoft.com/office/drawing/2014/main" id="{CC455387-B098-F732-0DF1-B0435F2F4F85}"/>
              </a:ext>
            </a:extLst>
          </p:cNvPr>
          <p:cNvSpPr/>
          <p:nvPr/>
        </p:nvSpPr>
        <p:spPr>
          <a:xfrm flipH="1">
            <a:off x="6157585" y="2190168"/>
            <a:ext cx="2986415" cy="747432"/>
          </a:xfrm>
          <a:custGeom>
            <a:avLst/>
            <a:gdLst>
              <a:gd name="connsiteX0" fmla="*/ 0 w 2986415"/>
              <a:gd name="connsiteY0" fmla="*/ 0 h 747432"/>
              <a:gd name="connsiteX1" fmla="*/ 1375679 w 2986415"/>
              <a:gd name="connsiteY1" fmla="*/ 0 h 747432"/>
              <a:gd name="connsiteX2" fmla="*/ 1493208 w 2986415"/>
              <a:gd name="connsiteY2" fmla="*/ 98931 h 747432"/>
              <a:gd name="connsiteX3" fmla="*/ 1610737 w 2986415"/>
              <a:gd name="connsiteY3" fmla="*/ 0 h 747432"/>
              <a:gd name="connsiteX4" fmla="*/ 2986415 w 2986415"/>
              <a:gd name="connsiteY4" fmla="*/ 0 h 747432"/>
              <a:gd name="connsiteX5" fmla="*/ 2986415 w 2986415"/>
              <a:gd name="connsiteY5" fmla="*/ 747432 h 747432"/>
              <a:gd name="connsiteX6" fmla="*/ 0 w 2986415"/>
              <a:gd name="connsiteY6" fmla="*/ 747432 h 7474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986415" h="747432">
                <a:moveTo>
                  <a:pt x="0" y="0"/>
                </a:moveTo>
                <a:lnTo>
                  <a:pt x="1375679" y="0"/>
                </a:lnTo>
                <a:lnTo>
                  <a:pt x="1493208" y="98931"/>
                </a:lnTo>
                <a:lnTo>
                  <a:pt x="1610737" y="0"/>
                </a:lnTo>
                <a:lnTo>
                  <a:pt x="2986415" y="0"/>
                </a:lnTo>
                <a:lnTo>
                  <a:pt x="2986415" y="747432"/>
                </a:lnTo>
                <a:lnTo>
                  <a:pt x="0" y="747432"/>
                </a:lnTo>
                <a:close/>
              </a:path>
            </a:pathLst>
          </a:custGeom>
          <a:solidFill>
            <a:srgbClr val="004DBF">
              <a:alpha val="1000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 anchorCtr="0">
            <a:noAutofit/>
          </a:bodyPr>
          <a:lstStyle/>
          <a:p>
            <a:pPr algn="ctr"/>
            <a:endParaRPr lang="en-GB" sz="1400" dirty="0">
              <a:solidFill>
                <a:schemeClr val="bg1"/>
              </a:solidFill>
            </a:endParaRPr>
          </a:p>
        </p:txBody>
      </p:sp>
      <p:sp>
        <p:nvSpPr>
          <p:cNvPr id="156" name="Freeform: Shape 155">
            <a:extLst>
              <a:ext uri="{FF2B5EF4-FFF2-40B4-BE49-F238E27FC236}">
                <a16:creationId xmlns:a16="http://schemas.microsoft.com/office/drawing/2014/main" id="{9887F217-A57A-976B-34C2-1F60E3945D28}"/>
              </a:ext>
            </a:extLst>
          </p:cNvPr>
          <p:cNvSpPr/>
          <p:nvPr/>
        </p:nvSpPr>
        <p:spPr>
          <a:xfrm>
            <a:off x="3078793" y="2190168"/>
            <a:ext cx="2986414" cy="747432"/>
          </a:xfrm>
          <a:custGeom>
            <a:avLst/>
            <a:gdLst>
              <a:gd name="connsiteX0" fmla="*/ 0 w 2986414"/>
              <a:gd name="connsiteY0" fmla="*/ 0 h 747432"/>
              <a:gd name="connsiteX1" fmla="*/ 106805 w 2986414"/>
              <a:gd name="connsiteY1" fmla="*/ 0 h 747432"/>
              <a:gd name="connsiteX2" fmla="*/ 647908 w 2986414"/>
              <a:gd name="connsiteY2" fmla="*/ 0 h 747432"/>
              <a:gd name="connsiteX3" fmla="*/ 1375678 w 2986414"/>
              <a:gd name="connsiteY3" fmla="*/ 0 h 747432"/>
              <a:gd name="connsiteX4" fmla="*/ 1493207 w 2986414"/>
              <a:gd name="connsiteY4" fmla="*/ 98931 h 747432"/>
              <a:gd name="connsiteX5" fmla="*/ 1610736 w 2986414"/>
              <a:gd name="connsiteY5" fmla="*/ 0 h 747432"/>
              <a:gd name="connsiteX6" fmla="*/ 2338506 w 2986414"/>
              <a:gd name="connsiteY6" fmla="*/ 0 h 747432"/>
              <a:gd name="connsiteX7" fmla="*/ 2879609 w 2986414"/>
              <a:gd name="connsiteY7" fmla="*/ 0 h 747432"/>
              <a:gd name="connsiteX8" fmla="*/ 2986414 w 2986414"/>
              <a:gd name="connsiteY8" fmla="*/ 0 h 747432"/>
              <a:gd name="connsiteX9" fmla="*/ 2986414 w 2986414"/>
              <a:gd name="connsiteY9" fmla="*/ 747432 h 747432"/>
              <a:gd name="connsiteX10" fmla="*/ 2879609 w 2986414"/>
              <a:gd name="connsiteY10" fmla="*/ 747432 h 747432"/>
              <a:gd name="connsiteX11" fmla="*/ 2338506 w 2986414"/>
              <a:gd name="connsiteY11" fmla="*/ 747432 h 747432"/>
              <a:gd name="connsiteX12" fmla="*/ 647908 w 2986414"/>
              <a:gd name="connsiteY12" fmla="*/ 747432 h 747432"/>
              <a:gd name="connsiteX13" fmla="*/ 106805 w 2986414"/>
              <a:gd name="connsiteY13" fmla="*/ 747432 h 747432"/>
              <a:gd name="connsiteX14" fmla="*/ 0 w 2986414"/>
              <a:gd name="connsiteY14" fmla="*/ 747432 h 7474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2986414" h="747432">
                <a:moveTo>
                  <a:pt x="0" y="0"/>
                </a:moveTo>
                <a:lnTo>
                  <a:pt x="106805" y="0"/>
                </a:lnTo>
                <a:lnTo>
                  <a:pt x="647908" y="0"/>
                </a:lnTo>
                <a:lnTo>
                  <a:pt x="1375678" y="0"/>
                </a:lnTo>
                <a:lnTo>
                  <a:pt x="1493207" y="98931"/>
                </a:lnTo>
                <a:lnTo>
                  <a:pt x="1610736" y="0"/>
                </a:lnTo>
                <a:lnTo>
                  <a:pt x="2338506" y="0"/>
                </a:lnTo>
                <a:lnTo>
                  <a:pt x="2879609" y="0"/>
                </a:lnTo>
                <a:lnTo>
                  <a:pt x="2986414" y="0"/>
                </a:lnTo>
                <a:lnTo>
                  <a:pt x="2986414" y="747432"/>
                </a:lnTo>
                <a:lnTo>
                  <a:pt x="2879609" y="747432"/>
                </a:lnTo>
                <a:lnTo>
                  <a:pt x="2338506" y="747432"/>
                </a:lnTo>
                <a:lnTo>
                  <a:pt x="647908" y="747432"/>
                </a:lnTo>
                <a:lnTo>
                  <a:pt x="106805" y="747432"/>
                </a:lnTo>
                <a:lnTo>
                  <a:pt x="0" y="747432"/>
                </a:lnTo>
                <a:close/>
              </a:path>
            </a:pathLst>
          </a:custGeom>
          <a:solidFill>
            <a:srgbClr val="004DBF">
              <a:alpha val="1000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 anchorCtr="0">
            <a:noAutofit/>
          </a:bodyPr>
          <a:lstStyle/>
          <a:p>
            <a:pPr algn="ctr"/>
            <a:endParaRPr lang="en-GB" sz="1400" dirty="0">
              <a:solidFill>
                <a:schemeClr val="bg1"/>
              </a:solidFill>
            </a:endParaRPr>
          </a:p>
        </p:txBody>
      </p:sp>
      <p:sp>
        <p:nvSpPr>
          <p:cNvPr id="155" name="Freeform: Shape 154">
            <a:extLst>
              <a:ext uri="{FF2B5EF4-FFF2-40B4-BE49-F238E27FC236}">
                <a16:creationId xmlns:a16="http://schemas.microsoft.com/office/drawing/2014/main" id="{CAAD9453-97C3-E418-268F-2C8EF28FBEF4}"/>
              </a:ext>
            </a:extLst>
          </p:cNvPr>
          <p:cNvSpPr/>
          <p:nvPr/>
        </p:nvSpPr>
        <p:spPr>
          <a:xfrm>
            <a:off x="3078793" y="4112568"/>
            <a:ext cx="2986414" cy="747432"/>
          </a:xfrm>
          <a:custGeom>
            <a:avLst/>
            <a:gdLst>
              <a:gd name="connsiteX0" fmla="*/ 0 w 2986414"/>
              <a:gd name="connsiteY0" fmla="*/ 0 h 747432"/>
              <a:gd name="connsiteX1" fmla="*/ 106805 w 2986414"/>
              <a:gd name="connsiteY1" fmla="*/ 0 h 747432"/>
              <a:gd name="connsiteX2" fmla="*/ 647908 w 2986414"/>
              <a:gd name="connsiteY2" fmla="*/ 0 h 747432"/>
              <a:gd name="connsiteX3" fmla="*/ 1375678 w 2986414"/>
              <a:gd name="connsiteY3" fmla="*/ 0 h 747432"/>
              <a:gd name="connsiteX4" fmla="*/ 1493207 w 2986414"/>
              <a:gd name="connsiteY4" fmla="*/ 98931 h 747432"/>
              <a:gd name="connsiteX5" fmla="*/ 1610736 w 2986414"/>
              <a:gd name="connsiteY5" fmla="*/ 0 h 747432"/>
              <a:gd name="connsiteX6" fmla="*/ 2338506 w 2986414"/>
              <a:gd name="connsiteY6" fmla="*/ 0 h 747432"/>
              <a:gd name="connsiteX7" fmla="*/ 2879609 w 2986414"/>
              <a:gd name="connsiteY7" fmla="*/ 0 h 747432"/>
              <a:gd name="connsiteX8" fmla="*/ 2986414 w 2986414"/>
              <a:gd name="connsiteY8" fmla="*/ 0 h 747432"/>
              <a:gd name="connsiteX9" fmla="*/ 2986414 w 2986414"/>
              <a:gd name="connsiteY9" fmla="*/ 747432 h 747432"/>
              <a:gd name="connsiteX10" fmla="*/ 2879609 w 2986414"/>
              <a:gd name="connsiteY10" fmla="*/ 747432 h 747432"/>
              <a:gd name="connsiteX11" fmla="*/ 2338506 w 2986414"/>
              <a:gd name="connsiteY11" fmla="*/ 747432 h 747432"/>
              <a:gd name="connsiteX12" fmla="*/ 647908 w 2986414"/>
              <a:gd name="connsiteY12" fmla="*/ 747432 h 747432"/>
              <a:gd name="connsiteX13" fmla="*/ 106805 w 2986414"/>
              <a:gd name="connsiteY13" fmla="*/ 747432 h 747432"/>
              <a:gd name="connsiteX14" fmla="*/ 0 w 2986414"/>
              <a:gd name="connsiteY14" fmla="*/ 747432 h 7474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2986414" h="747432">
                <a:moveTo>
                  <a:pt x="0" y="0"/>
                </a:moveTo>
                <a:lnTo>
                  <a:pt x="106805" y="0"/>
                </a:lnTo>
                <a:lnTo>
                  <a:pt x="647908" y="0"/>
                </a:lnTo>
                <a:lnTo>
                  <a:pt x="1375678" y="0"/>
                </a:lnTo>
                <a:lnTo>
                  <a:pt x="1493207" y="98931"/>
                </a:lnTo>
                <a:lnTo>
                  <a:pt x="1610736" y="0"/>
                </a:lnTo>
                <a:lnTo>
                  <a:pt x="2338506" y="0"/>
                </a:lnTo>
                <a:lnTo>
                  <a:pt x="2879609" y="0"/>
                </a:lnTo>
                <a:lnTo>
                  <a:pt x="2986414" y="0"/>
                </a:lnTo>
                <a:lnTo>
                  <a:pt x="2986414" y="747432"/>
                </a:lnTo>
                <a:lnTo>
                  <a:pt x="2879609" y="747432"/>
                </a:lnTo>
                <a:lnTo>
                  <a:pt x="2338506" y="747432"/>
                </a:lnTo>
                <a:lnTo>
                  <a:pt x="647908" y="747432"/>
                </a:lnTo>
                <a:lnTo>
                  <a:pt x="106805" y="747432"/>
                </a:lnTo>
                <a:lnTo>
                  <a:pt x="0" y="747432"/>
                </a:lnTo>
                <a:close/>
              </a:path>
            </a:pathLst>
          </a:custGeom>
          <a:solidFill>
            <a:srgbClr val="004DBF">
              <a:alpha val="1000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 anchorCtr="0">
            <a:noAutofit/>
          </a:bodyPr>
          <a:lstStyle/>
          <a:p>
            <a:pPr algn="ctr"/>
            <a:endParaRPr lang="en-GB" sz="1400" dirty="0">
              <a:solidFill>
                <a:schemeClr val="bg1"/>
              </a:solidFill>
            </a:endParaRPr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2A6DF8AE-9C31-6764-432B-5C311E260DB1}"/>
              </a:ext>
            </a:extLst>
          </p:cNvPr>
          <p:cNvGrpSpPr/>
          <p:nvPr/>
        </p:nvGrpSpPr>
        <p:grpSpPr>
          <a:xfrm>
            <a:off x="1303500" y="2420364"/>
            <a:ext cx="379414" cy="370800"/>
            <a:chOff x="1303500" y="2420364"/>
            <a:chExt cx="379414" cy="370800"/>
          </a:xfrm>
        </p:grpSpPr>
        <p:grpSp>
          <p:nvGrpSpPr>
            <p:cNvPr id="158" name="Group 157">
              <a:extLst>
                <a:ext uri="{FF2B5EF4-FFF2-40B4-BE49-F238E27FC236}">
                  <a16:creationId xmlns:a16="http://schemas.microsoft.com/office/drawing/2014/main" id="{1E5C002E-CBAF-DA83-E7B3-15F167564ECF}"/>
                </a:ext>
              </a:extLst>
            </p:cNvPr>
            <p:cNvGrpSpPr/>
            <p:nvPr/>
          </p:nvGrpSpPr>
          <p:grpSpPr>
            <a:xfrm>
              <a:off x="1549194" y="2420364"/>
              <a:ext cx="131347" cy="370800"/>
              <a:chOff x="7264414" y="3229005"/>
              <a:chExt cx="182475" cy="515137"/>
            </a:xfrm>
            <a:solidFill>
              <a:srgbClr val="004DBF"/>
            </a:solidFill>
          </p:grpSpPr>
          <p:sp>
            <p:nvSpPr>
              <p:cNvPr id="181" name="Freihandform: Form 1054">
                <a:extLst>
                  <a:ext uri="{FF2B5EF4-FFF2-40B4-BE49-F238E27FC236}">
                    <a16:creationId xmlns:a16="http://schemas.microsoft.com/office/drawing/2014/main" id="{022FD7B2-4663-45F2-F00C-C7E62EE126FE}"/>
                  </a:ext>
                </a:extLst>
              </p:cNvPr>
              <p:cNvSpPr/>
              <p:nvPr/>
            </p:nvSpPr>
            <p:spPr>
              <a:xfrm>
                <a:off x="7422231" y="3266081"/>
                <a:ext cx="24655" cy="172753"/>
              </a:xfrm>
              <a:custGeom>
                <a:avLst/>
                <a:gdLst>
                  <a:gd name="connsiteX0" fmla="*/ 6483 w 24655"/>
                  <a:gd name="connsiteY0" fmla="*/ 172753 h 172753"/>
                  <a:gd name="connsiteX1" fmla="*/ 6006 w 24655"/>
                  <a:gd name="connsiteY1" fmla="*/ 172734 h 172753"/>
                  <a:gd name="connsiteX2" fmla="*/ 18 w 24655"/>
                  <a:gd name="connsiteY2" fmla="*/ 165812 h 172753"/>
                  <a:gd name="connsiteX3" fmla="*/ 11727 w 24655"/>
                  <a:gd name="connsiteY3" fmla="*/ 6006 h 172753"/>
                  <a:gd name="connsiteX4" fmla="*/ 18650 w 24655"/>
                  <a:gd name="connsiteY4" fmla="*/ 18 h 172753"/>
                  <a:gd name="connsiteX5" fmla="*/ 24638 w 24655"/>
                  <a:gd name="connsiteY5" fmla="*/ 6941 h 172753"/>
                  <a:gd name="connsiteX6" fmla="*/ 12929 w 24655"/>
                  <a:gd name="connsiteY6" fmla="*/ 166746 h 172753"/>
                  <a:gd name="connsiteX7" fmla="*/ 6483 w 24655"/>
                  <a:gd name="connsiteY7" fmla="*/ 172753 h 1727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4655" h="172753">
                    <a:moveTo>
                      <a:pt x="6483" y="172753"/>
                    </a:moveTo>
                    <a:cubicBezTo>
                      <a:pt x="6330" y="172753"/>
                      <a:pt x="6159" y="172753"/>
                      <a:pt x="6006" y="172734"/>
                    </a:cubicBezTo>
                    <a:cubicBezTo>
                      <a:pt x="2440" y="172467"/>
                      <a:pt x="-249" y="169378"/>
                      <a:pt x="18" y="165812"/>
                    </a:cubicBezTo>
                    <a:lnTo>
                      <a:pt x="11727" y="6006"/>
                    </a:lnTo>
                    <a:cubicBezTo>
                      <a:pt x="11994" y="2440"/>
                      <a:pt x="15026" y="-249"/>
                      <a:pt x="18650" y="18"/>
                    </a:cubicBezTo>
                    <a:cubicBezTo>
                      <a:pt x="22216" y="285"/>
                      <a:pt x="24905" y="3374"/>
                      <a:pt x="24638" y="6941"/>
                    </a:cubicBezTo>
                    <a:lnTo>
                      <a:pt x="12929" y="166746"/>
                    </a:lnTo>
                    <a:cubicBezTo>
                      <a:pt x="12700" y="170160"/>
                      <a:pt x="9858" y="172753"/>
                      <a:pt x="6483" y="172753"/>
                    </a:cubicBezTo>
                    <a:close/>
                  </a:path>
                </a:pathLst>
              </a:custGeom>
              <a:grpFill/>
              <a:ln w="190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182" name="Freihandform: Form 1062">
                <a:extLst>
                  <a:ext uri="{FF2B5EF4-FFF2-40B4-BE49-F238E27FC236}">
                    <a16:creationId xmlns:a16="http://schemas.microsoft.com/office/drawing/2014/main" id="{0FAD136B-C60B-751E-5AF5-0B298A380E87}"/>
                  </a:ext>
                </a:extLst>
              </p:cNvPr>
              <p:cNvSpPr/>
              <p:nvPr/>
            </p:nvSpPr>
            <p:spPr>
              <a:xfrm>
                <a:off x="7315265" y="3262819"/>
                <a:ext cx="131624" cy="94510"/>
              </a:xfrm>
              <a:custGeom>
                <a:avLst/>
                <a:gdLst>
                  <a:gd name="connsiteX0" fmla="*/ 118617 w 131624"/>
                  <a:gd name="connsiteY0" fmla="*/ 94511 h 94510"/>
                  <a:gd name="connsiteX1" fmla="*/ 118388 w 131624"/>
                  <a:gd name="connsiteY1" fmla="*/ 94511 h 94510"/>
                  <a:gd name="connsiteX2" fmla="*/ 6257 w 131624"/>
                  <a:gd name="connsiteY2" fmla="*/ 90601 h 94510"/>
                  <a:gd name="connsiteX3" fmla="*/ 2 w 131624"/>
                  <a:gd name="connsiteY3" fmla="*/ 83946 h 94510"/>
                  <a:gd name="connsiteX4" fmla="*/ 2195 w 131624"/>
                  <a:gd name="connsiteY4" fmla="*/ 6293 h 94510"/>
                  <a:gd name="connsiteX5" fmla="*/ 8851 w 131624"/>
                  <a:gd name="connsiteY5" fmla="*/ 0 h 94510"/>
                  <a:gd name="connsiteX6" fmla="*/ 125330 w 131624"/>
                  <a:gd name="connsiteY6" fmla="*/ 3280 h 94510"/>
                  <a:gd name="connsiteX7" fmla="*/ 131623 w 131624"/>
                  <a:gd name="connsiteY7" fmla="*/ 9936 h 94510"/>
                  <a:gd name="connsiteX8" fmla="*/ 124967 w 131624"/>
                  <a:gd name="connsiteY8" fmla="*/ 16229 h 94510"/>
                  <a:gd name="connsiteX9" fmla="*/ 14953 w 131624"/>
                  <a:gd name="connsiteY9" fmla="*/ 13140 h 94510"/>
                  <a:gd name="connsiteX10" fmla="*/ 13122 w 131624"/>
                  <a:gd name="connsiteY10" fmla="*/ 77901 h 94510"/>
                  <a:gd name="connsiteX11" fmla="*/ 118827 w 131624"/>
                  <a:gd name="connsiteY11" fmla="*/ 81581 h 94510"/>
                  <a:gd name="connsiteX12" fmla="*/ 125062 w 131624"/>
                  <a:gd name="connsiteY12" fmla="*/ 88275 h 94510"/>
                  <a:gd name="connsiteX13" fmla="*/ 118617 w 131624"/>
                  <a:gd name="connsiteY13" fmla="*/ 94511 h 945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31624" h="94510">
                    <a:moveTo>
                      <a:pt x="118617" y="94511"/>
                    </a:moveTo>
                    <a:cubicBezTo>
                      <a:pt x="118541" y="94511"/>
                      <a:pt x="118464" y="94511"/>
                      <a:pt x="118388" y="94511"/>
                    </a:cubicBezTo>
                    <a:lnTo>
                      <a:pt x="6257" y="90601"/>
                    </a:lnTo>
                    <a:cubicBezTo>
                      <a:pt x="2710" y="90487"/>
                      <a:pt x="-93" y="87512"/>
                      <a:pt x="2" y="83946"/>
                    </a:cubicBezTo>
                    <a:lnTo>
                      <a:pt x="2195" y="6293"/>
                    </a:lnTo>
                    <a:cubicBezTo>
                      <a:pt x="2291" y="2727"/>
                      <a:pt x="5227" y="-38"/>
                      <a:pt x="8851" y="0"/>
                    </a:cubicBezTo>
                    <a:lnTo>
                      <a:pt x="125330" y="3280"/>
                    </a:lnTo>
                    <a:cubicBezTo>
                      <a:pt x="128896" y="3376"/>
                      <a:pt x="131718" y="6351"/>
                      <a:pt x="131623" y="9936"/>
                    </a:cubicBezTo>
                    <a:cubicBezTo>
                      <a:pt x="131527" y="13502"/>
                      <a:pt x="128514" y="16305"/>
                      <a:pt x="124967" y="16229"/>
                    </a:cubicBezTo>
                    <a:lnTo>
                      <a:pt x="14953" y="13140"/>
                    </a:lnTo>
                    <a:lnTo>
                      <a:pt x="13122" y="77901"/>
                    </a:lnTo>
                    <a:lnTo>
                      <a:pt x="118827" y="81581"/>
                    </a:lnTo>
                    <a:cubicBezTo>
                      <a:pt x="122393" y="81696"/>
                      <a:pt x="125196" y="84690"/>
                      <a:pt x="125062" y="88275"/>
                    </a:cubicBezTo>
                    <a:cubicBezTo>
                      <a:pt x="124948" y="91765"/>
                      <a:pt x="122088" y="94511"/>
                      <a:pt x="118617" y="94511"/>
                    </a:cubicBezTo>
                    <a:close/>
                  </a:path>
                </a:pathLst>
              </a:custGeom>
              <a:grpFill/>
              <a:ln w="190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183" name="Freihandform: Form 1063">
                <a:extLst>
                  <a:ext uri="{FF2B5EF4-FFF2-40B4-BE49-F238E27FC236}">
                    <a16:creationId xmlns:a16="http://schemas.microsoft.com/office/drawing/2014/main" id="{555DBDED-3BB4-D002-4E66-10D438DFB3DA}"/>
                  </a:ext>
                </a:extLst>
              </p:cNvPr>
              <p:cNvSpPr/>
              <p:nvPr/>
            </p:nvSpPr>
            <p:spPr>
              <a:xfrm>
                <a:off x="7264414" y="3229005"/>
                <a:ext cx="99273" cy="92168"/>
              </a:xfrm>
              <a:custGeom>
                <a:avLst/>
                <a:gdLst>
                  <a:gd name="connsiteX0" fmla="*/ 55907 w 99273"/>
                  <a:gd name="connsiteY0" fmla="*/ 92168 h 92168"/>
                  <a:gd name="connsiteX1" fmla="*/ 55697 w 99273"/>
                  <a:gd name="connsiteY1" fmla="*/ 92168 h 92168"/>
                  <a:gd name="connsiteX2" fmla="*/ 6268 w 99273"/>
                  <a:gd name="connsiteY2" fmla="*/ 90605 h 92168"/>
                  <a:gd name="connsiteX3" fmla="*/ 871 w 99273"/>
                  <a:gd name="connsiteY3" fmla="*/ 87382 h 92168"/>
                  <a:gd name="connsiteX4" fmla="*/ 776 w 99273"/>
                  <a:gd name="connsiteY4" fmla="*/ 81089 h 92168"/>
                  <a:gd name="connsiteX5" fmla="*/ 19750 w 99273"/>
                  <a:gd name="connsiteY5" fmla="*/ 45657 h 92168"/>
                  <a:gd name="connsiteX6" fmla="*/ 2797 w 99273"/>
                  <a:gd name="connsiteY6" fmla="*/ 9214 h 92168"/>
                  <a:gd name="connsiteX7" fmla="*/ 3255 w 99273"/>
                  <a:gd name="connsiteY7" fmla="*/ 2921 h 92168"/>
                  <a:gd name="connsiteX8" fmla="*/ 8842 w 99273"/>
                  <a:gd name="connsiteY8" fmla="*/ 4 h 92168"/>
                  <a:gd name="connsiteX9" fmla="*/ 92978 w 99273"/>
                  <a:gd name="connsiteY9" fmla="*/ 2368 h 92168"/>
                  <a:gd name="connsiteX10" fmla="*/ 97498 w 99273"/>
                  <a:gd name="connsiteY10" fmla="*/ 4390 h 92168"/>
                  <a:gd name="connsiteX11" fmla="*/ 99271 w 99273"/>
                  <a:gd name="connsiteY11" fmla="*/ 9024 h 92168"/>
                  <a:gd name="connsiteX12" fmla="*/ 98375 w 99273"/>
                  <a:gd name="connsiteY12" fmla="*/ 40584 h 92168"/>
                  <a:gd name="connsiteX13" fmla="*/ 91720 w 99273"/>
                  <a:gd name="connsiteY13" fmla="*/ 46877 h 92168"/>
                  <a:gd name="connsiteX14" fmla="*/ 85427 w 99273"/>
                  <a:gd name="connsiteY14" fmla="*/ 40222 h 92168"/>
                  <a:gd name="connsiteX15" fmla="*/ 86132 w 99273"/>
                  <a:gd name="connsiteY15" fmla="*/ 15145 h 92168"/>
                  <a:gd name="connsiteX16" fmla="*/ 18949 w 99273"/>
                  <a:gd name="connsiteY16" fmla="*/ 13257 h 92168"/>
                  <a:gd name="connsiteX17" fmla="*/ 32851 w 99273"/>
                  <a:gd name="connsiteY17" fmla="*/ 43140 h 92168"/>
                  <a:gd name="connsiteX18" fmla="*/ 32699 w 99273"/>
                  <a:gd name="connsiteY18" fmla="*/ 48918 h 92168"/>
                  <a:gd name="connsiteX19" fmla="*/ 17118 w 99273"/>
                  <a:gd name="connsiteY19" fmla="*/ 77999 h 92168"/>
                  <a:gd name="connsiteX20" fmla="*/ 56116 w 99273"/>
                  <a:gd name="connsiteY20" fmla="*/ 79239 h 92168"/>
                  <a:gd name="connsiteX21" fmla="*/ 62390 w 99273"/>
                  <a:gd name="connsiteY21" fmla="*/ 85913 h 92168"/>
                  <a:gd name="connsiteX22" fmla="*/ 55907 w 99273"/>
                  <a:gd name="connsiteY22" fmla="*/ 92168 h 921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99273" h="92168">
                    <a:moveTo>
                      <a:pt x="55907" y="92168"/>
                    </a:moveTo>
                    <a:cubicBezTo>
                      <a:pt x="55830" y="92168"/>
                      <a:pt x="55773" y="92168"/>
                      <a:pt x="55697" y="92168"/>
                    </a:cubicBezTo>
                    <a:lnTo>
                      <a:pt x="6268" y="90605"/>
                    </a:lnTo>
                    <a:cubicBezTo>
                      <a:pt x="4017" y="90528"/>
                      <a:pt x="1977" y="89308"/>
                      <a:pt x="871" y="87382"/>
                    </a:cubicBezTo>
                    <a:cubicBezTo>
                      <a:pt x="-254" y="85437"/>
                      <a:pt x="-292" y="83072"/>
                      <a:pt x="776" y="81089"/>
                    </a:cubicBezTo>
                    <a:lnTo>
                      <a:pt x="19750" y="45657"/>
                    </a:lnTo>
                    <a:lnTo>
                      <a:pt x="2797" y="9214"/>
                    </a:lnTo>
                    <a:cubicBezTo>
                      <a:pt x="1843" y="7174"/>
                      <a:pt x="2015" y="4809"/>
                      <a:pt x="3255" y="2921"/>
                    </a:cubicBezTo>
                    <a:cubicBezTo>
                      <a:pt x="4494" y="1052"/>
                      <a:pt x="6592" y="-73"/>
                      <a:pt x="8842" y="4"/>
                    </a:cubicBezTo>
                    <a:lnTo>
                      <a:pt x="92978" y="2368"/>
                    </a:lnTo>
                    <a:cubicBezTo>
                      <a:pt x="94695" y="2425"/>
                      <a:pt x="96316" y="3150"/>
                      <a:pt x="97498" y="4390"/>
                    </a:cubicBezTo>
                    <a:cubicBezTo>
                      <a:pt x="98680" y="5629"/>
                      <a:pt x="99309" y="7307"/>
                      <a:pt x="99271" y="9024"/>
                    </a:cubicBezTo>
                    <a:lnTo>
                      <a:pt x="98375" y="40584"/>
                    </a:lnTo>
                    <a:cubicBezTo>
                      <a:pt x="98280" y="44150"/>
                      <a:pt x="95362" y="46935"/>
                      <a:pt x="91720" y="46877"/>
                    </a:cubicBezTo>
                    <a:cubicBezTo>
                      <a:pt x="88154" y="46782"/>
                      <a:pt x="85331" y="43788"/>
                      <a:pt x="85427" y="40222"/>
                    </a:cubicBezTo>
                    <a:lnTo>
                      <a:pt x="86132" y="15145"/>
                    </a:lnTo>
                    <a:lnTo>
                      <a:pt x="18949" y="13257"/>
                    </a:lnTo>
                    <a:lnTo>
                      <a:pt x="32851" y="43140"/>
                    </a:lnTo>
                    <a:cubicBezTo>
                      <a:pt x="33709" y="44989"/>
                      <a:pt x="33652" y="47125"/>
                      <a:pt x="32699" y="48918"/>
                    </a:cubicBezTo>
                    <a:lnTo>
                      <a:pt x="17118" y="77999"/>
                    </a:lnTo>
                    <a:lnTo>
                      <a:pt x="56116" y="79239"/>
                    </a:lnTo>
                    <a:cubicBezTo>
                      <a:pt x="59702" y="79353"/>
                      <a:pt x="62505" y="82328"/>
                      <a:pt x="62390" y="85913"/>
                    </a:cubicBezTo>
                    <a:cubicBezTo>
                      <a:pt x="62257" y="89403"/>
                      <a:pt x="59377" y="92168"/>
                      <a:pt x="55907" y="92168"/>
                    </a:cubicBezTo>
                    <a:close/>
                  </a:path>
                </a:pathLst>
              </a:custGeom>
              <a:grpFill/>
              <a:ln w="190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184" name="Freihandform: Form 1064">
                <a:extLst>
                  <a:ext uri="{FF2B5EF4-FFF2-40B4-BE49-F238E27FC236}">
                    <a16:creationId xmlns:a16="http://schemas.microsoft.com/office/drawing/2014/main" id="{5E0CF274-00C3-3399-ABAE-C29C1BFFF566}"/>
                  </a:ext>
                </a:extLst>
              </p:cNvPr>
              <p:cNvSpPr/>
              <p:nvPr/>
            </p:nvSpPr>
            <p:spPr>
              <a:xfrm>
                <a:off x="7317443" y="3231375"/>
                <a:ext cx="46240" cy="44392"/>
              </a:xfrm>
              <a:custGeom>
                <a:avLst/>
                <a:gdLst>
                  <a:gd name="connsiteX0" fmla="*/ 6482 w 46240"/>
                  <a:gd name="connsiteY0" fmla="*/ 44393 h 44392"/>
                  <a:gd name="connsiteX1" fmla="*/ 1771 w 46240"/>
                  <a:gd name="connsiteY1" fmla="*/ 42371 h 44392"/>
                  <a:gd name="connsiteX2" fmla="*/ 2038 w 46240"/>
                  <a:gd name="connsiteY2" fmla="*/ 33218 h 44392"/>
                  <a:gd name="connsiteX3" fmla="*/ 35315 w 46240"/>
                  <a:gd name="connsiteY3" fmla="*/ 1771 h 44392"/>
                  <a:gd name="connsiteX4" fmla="*/ 44469 w 46240"/>
                  <a:gd name="connsiteY4" fmla="*/ 2038 h 44392"/>
                  <a:gd name="connsiteX5" fmla="*/ 44202 w 46240"/>
                  <a:gd name="connsiteY5" fmla="*/ 11192 h 44392"/>
                  <a:gd name="connsiteX6" fmla="*/ 10944 w 46240"/>
                  <a:gd name="connsiteY6" fmla="*/ 42638 h 44392"/>
                  <a:gd name="connsiteX7" fmla="*/ 6482 w 46240"/>
                  <a:gd name="connsiteY7" fmla="*/ 44393 h 443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6240" h="44392">
                    <a:moveTo>
                      <a:pt x="6482" y="44393"/>
                    </a:moveTo>
                    <a:cubicBezTo>
                      <a:pt x="4766" y="44393"/>
                      <a:pt x="3049" y="43725"/>
                      <a:pt x="1771" y="42371"/>
                    </a:cubicBezTo>
                    <a:cubicBezTo>
                      <a:pt x="-689" y="39778"/>
                      <a:pt x="-574" y="35678"/>
                      <a:pt x="2038" y="33218"/>
                    </a:cubicBezTo>
                    <a:lnTo>
                      <a:pt x="35315" y="1771"/>
                    </a:lnTo>
                    <a:cubicBezTo>
                      <a:pt x="37890" y="-689"/>
                      <a:pt x="42009" y="-574"/>
                      <a:pt x="44469" y="2038"/>
                    </a:cubicBezTo>
                    <a:cubicBezTo>
                      <a:pt x="46929" y="4632"/>
                      <a:pt x="46814" y="8732"/>
                      <a:pt x="44202" y="11192"/>
                    </a:cubicBezTo>
                    <a:lnTo>
                      <a:pt x="10944" y="42638"/>
                    </a:lnTo>
                    <a:cubicBezTo>
                      <a:pt x="9685" y="43801"/>
                      <a:pt x="8084" y="44393"/>
                      <a:pt x="6482" y="44393"/>
                    </a:cubicBezTo>
                    <a:close/>
                  </a:path>
                </a:pathLst>
              </a:custGeom>
              <a:grpFill/>
              <a:ln w="190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185" name="Freihandform: Form 1052">
                <a:extLst>
                  <a:ext uri="{FF2B5EF4-FFF2-40B4-BE49-F238E27FC236}">
                    <a16:creationId xmlns:a16="http://schemas.microsoft.com/office/drawing/2014/main" id="{8EFE56A5-CC33-C127-1CC7-567AC48F3859}"/>
                  </a:ext>
                </a:extLst>
              </p:cNvPr>
              <p:cNvSpPr/>
              <p:nvPr/>
            </p:nvSpPr>
            <p:spPr>
              <a:xfrm>
                <a:off x="7399881" y="3579570"/>
                <a:ext cx="24045" cy="164572"/>
              </a:xfrm>
              <a:custGeom>
                <a:avLst/>
                <a:gdLst>
                  <a:gd name="connsiteX0" fmla="*/ 6483 w 24045"/>
                  <a:gd name="connsiteY0" fmla="*/ 164572 h 164572"/>
                  <a:gd name="connsiteX1" fmla="*/ 6006 w 24045"/>
                  <a:gd name="connsiteY1" fmla="*/ 164553 h 164572"/>
                  <a:gd name="connsiteX2" fmla="*/ 18 w 24045"/>
                  <a:gd name="connsiteY2" fmla="*/ 157631 h 164572"/>
                  <a:gd name="connsiteX3" fmla="*/ 11117 w 24045"/>
                  <a:gd name="connsiteY3" fmla="*/ 6006 h 164572"/>
                  <a:gd name="connsiteX4" fmla="*/ 18039 w 24045"/>
                  <a:gd name="connsiteY4" fmla="*/ 18 h 164572"/>
                  <a:gd name="connsiteX5" fmla="*/ 24027 w 24045"/>
                  <a:gd name="connsiteY5" fmla="*/ 6941 h 164572"/>
                  <a:gd name="connsiteX6" fmla="*/ 12929 w 24045"/>
                  <a:gd name="connsiteY6" fmla="*/ 158565 h 164572"/>
                  <a:gd name="connsiteX7" fmla="*/ 6483 w 24045"/>
                  <a:gd name="connsiteY7" fmla="*/ 164572 h 1645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4045" h="164572">
                    <a:moveTo>
                      <a:pt x="6483" y="164572"/>
                    </a:moveTo>
                    <a:cubicBezTo>
                      <a:pt x="6330" y="164572"/>
                      <a:pt x="6159" y="164572"/>
                      <a:pt x="6006" y="164553"/>
                    </a:cubicBezTo>
                    <a:cubicBezTo>
                      <a:pt x="2440" y="164286"/>
                      <a:pt x="-249" y="161197"/>
                      <a:pt x="18" y="157631"/>
                    </a:cubicBezTo>
                    <a:lnTo>
                      <a:pt x="11117" y="6006"/>
                    </a:lnTo>
                    <a:cubicBezTo>
                      <a:pt x="11384" y="2440"/>
                      <a:pt x="14416" y="-249"/>
                      <a:pt x="18039" y="18"/>
                    </a:cubicBezTo>
                    <a:cubicBezTo>
                      <a:pt x="21605" y="285"/>
                      <a:pt x="24294" y="3375"/>
                      <a:pt x="24027" y="6941"/>
                    </a:cubicBezTo>
                    <a:lnTo>
                      <a:pt x="12929" y="158565"/>
                    </a:lnTo>
                    <a:cubicBezTo>
                      <a:pt x="12681" y="161979"/>
                      <a:pt x="9858" y="164572"/>
                      <a:pt x="6483" y="164572"/>
                    </a:cubicBezTo>
                    <a:close/>
                  </a:path>
                </a:pathLst>
              </a:custGeom>
              <a:grpFill/>
              <a:ln w="190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186" name="Freihandform: Form 1053">
                <a:extLst>
                  <a:ext uri="{FF2B5EF4-FFF2-40B4-BE49-F238E27FC236}">
                    <a16:creationId xmlns:a16="http://schemas.microsoft.com/office/drawing/2014/main" id="{5F157197-9D00-10D3-7162-DB8C90CF2B0E}"/>
                  </a:ext>
                </a:extLst>
              </p:cNvPr>
              <p:cNvSpPr/>
              <p:nvPr/>
            </p:nvSpPr>
            <p:spPr>
              <a:xfrm>
                <a:off x="7413612" y="3467156"/>
                <a:ext cx="18553" cy="89453"/>
              </a:xfrm>
              <a:custGeom>
                <a:avLst/>
                <a:gdLst>
                  <a:gd name="connsiteX0" fmla="*/ 6483 w 18553"/>
                  <a:gd name="connsiteY0" fmla="*/ 89454 h 89453"/>
                  <a:gd name="connsiteX1" fmla="*/ 6006 w 18553"/>
                  <a:gd name="connsiteY1" fmla="*/ 89435 h 89453"/>
                  <a:gd name="connsiteX2" fmla="*/ 18 w 18553"/>
                  <a:gd name="connsiteY2" fmla="*/ 82512 h 89453"/>
                  <a:gd name="connsiteX3" fmla="*/ 5625 w 18553"/>
                  <a:gd name="connsiteY3" fmla="*/ 6004 h 89453"/>
                  <a:gd name="connsiteX4" fmla="*/ 12547 w 18553"/>
                  <a:gd name="connsiteY4" fmla="*/ 16 h 89453"/>
                  <a:gd name="connsiteX5" fmla="*/ 18535 w 18553"/>
                  <a:gd name="connsiteY5" fmla="*/ 6938 h 89453"/>
                  <a:gd name="connsiteX6" fmla="*/ 12929 w 18553"/>
                  <a:gd name="connsiteY6" fmla="*/ 83447 h 89453"/>
                  <a:gd name="connsiteX7" fmla="*/ 6483 w 18553"/>
                  <a:gd name="connsiteY7" fmla="*/ 89454 h 894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8553" h="89453">
                    <a:moveTo>
                      <a:pt x="6483" y="89454"/>
                    </a:moveTo>
                    <a:cubicBezTo>
                      <a:pt x="6331" y="89454"/>
                      <a:pt x="6159" y="89454"/>
                      <a:pt x="6006" y="89435"/>
                    </a:cubicBezTo>
                    <a:cubicBezTo>
                      <a:pt x="2440" y="89168"/>
                      <a:pt x="-249" y="86078"/>
                      <a:pt x="18" y="82512"/>
                    </a:cubicBezTo>
                    <a:lnTo>
                      <a:pt x="5625" y="6004"/>
                    </a:lnTo>
                    <a:cubicBezTo>
                      <a:pt x="5892" y="2438"/>
                      <a:pt x="8867" y="-232"/>
                      <a:pt x="12547" y="16"/>
                    </a:cubicBezTo>
                    <a:cubicBezTo>
                      <a:pt x="16113" y="283"/>
                      <a:pt x="18802" y="3372"/>
                      <a:pt x="18535" y="6938"/>
                    </a:cubicBezTo>
                    <a:lnTo>
                      <a:pt x="12929" y="83447"/>
                    </a:lnTo>
                    <a:cubicBezTo>
                      <a:pt x="12681" y="86841"/>
                      <a:pt x="9858" y="89454"/>
                      <a:pt x="6483" y="89454"/>
                    </a:cubicBezTo>
                    <a:close/>
                  </a:path>
                </a:pathLst>
              </a:custGeom>
              <a:grpFill/>
              <a:ln w="190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</p:grpSp>
        <p:grpSp>
          <p:nvGrpSpPr>
            <p:cNvPr id="159" name="Group 158">
              <a:extLst>
                <a:ext uri="{FF2B5EF4-FFF2-40B4-BE49-F238E27FC236}">
                  <a16:creationId xmlns:a16="http://schemas.microsoft.com/office/drawing/2014/main" id="{14B24266-FA77-A520-0DBE-B54C58A79C82}"/>
                </a:ext>
              </a:extLst>
            </p:cNvPr>
            <p:cNvGrpSpPr/>
            <p:nvPr/>
          </p:nvGrpSpPr>
          <p:grpSpPr>
            <a:xfrm>
              <a:off x="1303500" y="2520100"/>
              <a:ext cx="379414" cy="268401"/>
              <a:chOff x="6923082" y="3367563"/>
              <a:chExt cx="527104" cy="372879"/>
            </a:xfrm>
            <a:solidFill>
              <a:schemeClr val="tx2"/>
            </a:solidFill>
          </p:grpSpPr>
          <p:grpSp>
            <p:nvGrpSpPr>
              <p:cNvPr id="160" name="Grafik 289">
                <a:extLst>
                  <a:ext uri="{FF2B5EF4-FFF2-40B4-BE49-F238E27FC236}">
                    <a16:creationId xmlns:a16="http://schemas.microsoft.com/office/drawing/2014/main" id="{0E2ACD1E-EB38-3681-8CC7-C312BD0F6331}"/>
                  </a:ext>
                </a:extLst>
              </p:cNvPr>
              <p:cNvGrpSpPr/>
              <p:nvPr/>
            </p:nvGrpSpPr>
            <p:grpSpPr>
              <a:xfrm>
                <a:off x="7210706" y="3367563"/>
                <a:ext cx="239480" cy="372879"/>
                <a:chOff x="7210706" y="3367563"/>
                <a:chExt cx="239480" cy="372879"/>
              </a:xfrm>
              <a:grpFill/>
            </p:grpSpPr>
            <p:sp>
              <p:nvSpPr>
                <p:cNvPr id="175" name="Freihandform: Form 1056">
                  <a:extLst>
                    <a:ext uri="{FF2B5EF4-FFF2-40B4-BE49-F238E27FC236}">
                      <a16:creationId xmlns:a16="http://schemas.microsoft.com/office/drawing/2014/main" id="{A133F6DB-BFFE-0DDB-5FE9-64A7ED58553E}"/>
                    </a:ext>
                  </a:extLst>
                </p:cNvPr>
                <p:cNvSpPr/>
                <p:nvPr/>
              </p:nvSpPr>
              <p:spPr>
                <a:xfrm>
                  <a:off x="7210706" y="3426093"/>
                  <a:ext cx="239480" cy="314350"/>
                </a:xfrm>
                <a:custGeom>
                  <a:avLst/>
                  <a:gdLst>
                    <a:gd name="connsiteX0" fmla="*/ 6466 w 239480"/>
                    <a:gd name="connsiteY0" fmla="*/ 314350 h 314350"/>
                    <a:gd name="connsiteX1" fmla="*/ 3530 w 239480"/>
                    <a:gd name="connsiteY1" fmla="*/ 313645 h 314350"/>
                    <a:gd name="connsiteX2" fmla="*/ 707 w 239480"/>
                    <a:gd name="connsiteY2" fmla="*/ 304930 h 314350"/>
                    <a:gd name="connsiteX3" fmla="*/ 34766 w 239480"/>
                    <a:gd name="connsiteY3" fmla="*/ 238185 h 314350"/>
                    <a:gd name="connsiteX4" fmla="*/ 42489 w 239480"/>
                    <a:gd name="connsiteY4" fmla="*/ 173786 h 314350"/>
                    <a:gd name="connsiteX5" fmla="*/ 48630 w 239480"/>
                    <a:gd name="connsiteY5" fmla="*/ 74413 h 314350"/>
                    <a:gd name="connsiteX6" fmla="*/ 87761 w 239480"/>
                    <a:gd name="connsiteY6" fmla="*/ 33699 h 314350"/>
                    <a:gd name="connsiteX7" fmla="*/ 89745 w 239480"/>
                    <a:gd name="connsiteY7" fmla="*/ 33394 h 314350"/>
                    <a:gd name="connsiteX8" fmla="*/ 106698 w 239480"/>
                    <a:gd name="connsiteY8" fmla="*/ 33032 h 314350"/>
                    <a:gd name="connsiteX9" fmla="*/ 153705 w 239480"/>
                    <a:gd name="connsiteY9" fmla="*/ 38428 h 314350"/>
                    <a:gd name="connsiteX10" fmla="*/ 195277 w 239480"/>
                    <a:gd name="connsiteY10" fmla="*/ 20217 h 314350"/>
                    <a:gd name="connsiteX11" fmla="*/ 204393 w 239480"/>
                    <a:gd name="connsiteY11" fmla="*/ 3397 h 314350"/>
                    <a:gd name="connsiteX12" fmla="*/ 210609 w 239480"/>
                    <a:gd name="connsiteY12" fmla="*/ 22 h 314350"/>
                    <a:gd name="connsiteX13" fmla="*/ 233531 w 239480"/>
                    <a:gd name="connsiteY13" fmla="*/ 1909 h 314350"/>
                    <a:gd name="connsiteX14" fmla="*/ 238223 w 239480"/>
                    <a:gd name="connsiteY14" fmla="*/ 4541 h 314350"/>
                    <a:gd name="connsiteX15" fmla="*/ 239328 w 239480"/>
                    <a:gd name="connsiteY15" fmla="*/ 9785 h 314350"/>
                    <a:gd name="connsiteX16" fmla="*/ 232044 w 239480"/>
                    <a:gd name="connsiteY16" fmla="*/ 42147 h 314350"/>
                    <a:gd name="connsiteX17" fmla="*/ 229069 w 239480"/>
                    <a:gd name="connsiteY17" fmla="*/ 46266 h 314350"/>
                    <a:gd name="connsiteX18" fmla="*/ 166081 w 239480"/>
                    <a:gd name="connsiteY18" fmla="*/ 84291 h 314350"/>
                    <a:gd name="connsiteX19" fmla="*/ 162668 w 239480"/>
                    <a:gd name="connsiteY19" fmla="*/ 85226 h 314350"/>
                    <a:gd name="connsiteX20" fmla="*/ 114821 w 239480"/>
                    <a:gd name="connsiteY20" fmla="*/ 84692 h 314350"/>
                    <a:gd name="connsiteX21" fmla="*/ 108414 w 239480"/>
                    <a:gd name="connsiteY21" fmla="*/ 78151 h 314350"/>
                    <a:gd name="connsiteX22" fmla="*/ 114955 w 239480"/>
                    <a:gd name="connsiteY22" fmla="*/ 71743 h 314350"/>
                    <a:gd name="connsiteX23" fmla="*/ 160970 w 239480"/>
                    <a:gd name="connsiteY23" fmla="*/ 72258 h 314350"/>
                    <a:gd name="connsiteX24" fmla="*/ 220011 w 239480"/>
                    <a:gd name="connsiteY24" fmla="*/ 36598 h 314350"/>
                    <a:gd name="connsiteX25" fmla="*/ 225045 w 239480"/>
                    <a:gd name="connsiteY25" fmla="*/ 14190 h 314350"/>
                    <a:gd name="connsiteX26" fmla="*/ 213756 w 239480"/>
                    <a:gd name="connsiteY26" fmla="*/ 13256 h 314350"/>
                    <a:gd name="connsiteX27" fmla="*/ 205594 w 239480"/>
                    <a:gd name="connsiteY27" fmla="*/ 28321 h 314350"/>
                    <a:gd name="connsiteX28" fmla="*/ 202505 w 239480"/>
                    <a:gd name="connsiteY28" fmla="*/ 31163 h 314350"/>
                    <a:gd name="connsiteX29" fmla="*/ 157309 w 239480"/>
                    <a:gd name="connsiteY29" fmla="*/ 50957 h 314350"/>
                    <a:gd name="connsiteX30" fmla="*/ 153972 w 239480"/>
                    <a:gd name="connsiteY30" fmla="*/ 51453 h 314350"/>
                    <a:gd name="connsiteX31" fmla="*/ 105229 w 239480"/>
                    <a:gd name="connsiteY31" fmla="*/ 45847 h 314350"/>
                    <a:gd name="connsiteX32" fmla="*/ 91766 w 239480"/>
                    <a:gd name="connsiteY32" fmla="*/ 46132 h 314350"/>
                    <a:gd name="connsiteX33" fmla="*/ 89764 w 239480"/>
                    <a:gd name="connsiteY33" fmla="*/ 46457 h 314350"/>
                    <a:gd name="connsiteX34" fmla="*/ 61502 w 239480"/>
                    <a:gd name="connsiteY34" fmla="*/ 75576 h 314350"/>
                    <a:gd name="connsiteX35" fmla="*/ 55362 w 239480"/>
                    <a:gd name="connsiteY35" fmla="*/ 174911 h 314350"/>
                    <a:gd name="connsiteX36" fmla="*/ 47467 w 239480"/>
                    <a:gd name="connsiteY36" fmla="*/ 240836 h 314350"/>
                    <a:gd name="connsiteX37" fmla="*/ 46799 w 239480"/>
                    <a:gd name="connsiteY37" fmla="*/ 243010 h 314350"/>
                    <a:gd name="connsiteX38" fmla="*/ 12225 w 239480"/>
                    <a:gd name="connsiteY38" fmla="*/ 310784 h 314350"/>
                    <a:gd name="connsiteX39" fmla="*/ 6466 w 239480"/>
                    <a:gd name="connsiteY39" fmla="*/ 314350 h 3143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</a:cxnLst>
                  <a:rect l="l" t="t" r="r" b="b"/>
                  <a:pathLst>
                    <a:path w="239480" h="314350">
                      <a:moveTo>
                        <a:pt x="6466" y="314350"/>
                      </a:moveTo>
                      <a:cubicBezTo>
                        <a:pt x="5475" y="314350"/>
                        <a:pt x="4483" y="314121"/>
                        <a:pt x="3530" y="313645"/>
                      </a:cubicBezTo>
                      <a:cubicBezTo>
                        <a:pt x="345" y="312024"/>
                        <a:pt x="-914" y="308114"/>
                        <a:pt x="707" y="304930"/>
                      </a:cubicBezTo>
                      <a:lnTo>
                        <a:pt x="34766" y="238185"/>
                      </a:lnTo>
                      <a:lnTo>
                        <a:pt x="42489" y="173786"/>
                      </a:lnTo>
                      <a:lnTo>
                        <a:pt x="48630" y="74413"/>
                      </a:lnTo>
                      <a:cubicBezTo>
                        <a:pt x="51261" y="53493"/>
                        <a:pt x="67337" y="36922"/>
                        <a:pt x="87761" y="33699"/>
                      </a:cubicBezTo>
                      <a:lnTo>
                        <a:pt x="89745" y="33394"/>
                      </a:lnTo>
                      <a:cubicBezTo>
                        <a:pt x="95332" y="32517"/>
                        <a:pt x="101053" y="32383"/>
                        <a:pt x="106698" y="33032"/>
                      </a:cubicBezTo>
                      <a:lnTo>
                        <a:pt x="153705" y="38428"/>
                      </a:lnTo>
                      <a:lnTo>
                        <a:pt x="195277" y="20217"/>
                      </a:lnTo>
                      <a:lnTo>
                        <a:pt x="204393" y="3397"/>
                      </a:lnTo>
                      <a:cubicBezTo>
                        <a:pt x="205613" y="1147"/>
                        <a:pt x="208054" y="-188"/>
                        <a:pt x="210609" y="22"/>
                      </a:cubicBezTo>
                      <a:lnTo>
                        <a:pt x="233531" y="1909"/>
                      </a:lnTo>
                      <a:cubicBezTo>
                        <a:pt x="235400" y="2062"/>
                        <a:pt x="237117" y="3016"/>
                        <a:pt x="238223" y="4541"/>
                      </a:cubicBezTo>
                      <a:cubicBezTo>
                        <a:pt x="239328" y="6048"/>
                        <a:pt x="239729" y="7974"/>
                        <a:pt x="239328" y="9785"/>
                      </a:cubicBezTo>
                      <a:lnTo>
                        <a:pt x="232044" y="42147"/>
                      </a:lnTo>
                      <a:cubicBezTo>
                        <a:pt x="231663" y="43863"/>
                        <a:pt x="230575" y="45351"/>
                        <a:pt x="229069" y="46266"/>
                      </a:cubicBezTo>
                      <a:lnTo>
                        <a:pt x="166081" y="84291"/>
                      </a:lnTo>
                      <a:cubicBezTo>
                        <a:pt x="165051" y="84902"/>
                        <a:pt x="163564" y="85188"/>
                        <a:pt x="162668" y="85226"/>
                      </a:cubicBezTo>
                      <a:lnTo>
                        <a:pt x="114821" y="84692"/>
                      </a:lnTo>
                      <a:cubicBezTo>
                        <a:pt x="111236" y="84654"/>
                        <a:pt x="108376" y="81717"/>
                        <a:pt x="108414" y="78151"/>
                      </a:cubicBezTo>
                      <a:cubicBezTo>
                        <a:pt x="108452" y="74566"/>
                        <a:pt x="111065" y="71705"/>
                        <a:pt x="114955" y="71743"/>
                      </a:cubicBezTo>
                      <a:lnTo>
                        <a:pt x="160970" y="72258"/>
                      </a:lnTo>
                      <a:lnTo>
                        <a:pt x="220011" y="36598"/>
                      </a:lnTo>
                      <a:lnTo>
                        <a:pt x="225045" y="14190"/>
                      </a:lnTo>
                      <a:lnTo>
                        <a:pt x="213756" y="13256"/>
                      </a:lnTo>
                      <a:lnTo>
                        <a:pt x="205594" y="28321"/>
                      </a:lnTo>
                      <a:cubicBezTo>
                        <a:pt x="204908" y="29580"/>
                        <a:pt x="203820" y="30591"/>
                        <a:pt x="202505" y="31163"/>
                      </a:cubicBezTo>
                      <a:lnTo>
                        <a:pt x="157309" y="50957"/>
                      </a:lnTo>
                      <a:cubicBezTo>
                        <a:pt x="156260" y="51415"/>
                        <a:pt x="155116" y="51606"/>
                        <a:pt x="153972" y="51453"/>
                      </a:cubicBezTo>
                      <a:lnTo>
                        <a:pt x="105229" y="45847"/>
                      </a:lnTo>
                      <a:cubicBezTo>
                        <a:pt x="100748" y="45332"/>
                        <a:pt x="96228" y="45427"/>
                        <a:pt x="91766" y="46132"/>
                      </a:cubicBezTo>
                      <a:lnTo>
                        <a:pt x="89764" y="46457"/>
                      </a:lnTo>
                      <a:cubicBezTo>
                        <a:pt x="75004" y="48783"/>
                        <a:pt x="63390" y="60759"/>
                        <a:pt x="61502" y="75576"/>
                      </a:cubicBezTo>
                      <a:lnTo>
                        <a:pt x="55362" y="174911"/>
                      </a:lnTo>
                      <a:lnTo>
                        <a:pt x="47467" y="240836"/>
                      </a:lnTo>
                      <a:cubicBezTo>
                        <a:pt x="47371" y="241599"/>
                        <a:pt x="47143" y="242323"/>
                        <a:pt x="46799" y="243010"/>
                      </a:cubicBezTo>
                      <a:lnTo>
                        <a:pt x="12225" y="310784"/>
                      </a:lnTo>
                      <a:cubicBezTo>
                        <a:pt x="11081" y="313053"/>
                        <a:pt x="8812" y="314350"/>
                        <a:pt x="6466" y="314350"/>
                      </a:cubicBezTo>
                      <a:close/>
                    </a:path>
                  </a:pathLst>
                </a:custGeom>
                <a:grpFill/>
                <a:ln w="190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GB" dirty="0"/>
                </a:p>
              </p:txBody>
            </p:sp>
            <p:sp>
              <p:nvSpPr>
                <p:cNvPr id="176" name="Freihandform: Form 1057">
                  <a:extLst>
                    <a:ext uri="{FF2B5EF4-FFF2-40B4-BE49-F238E27FC236}">
                      <a16:creationId xmlns:a16="http://schemas.microsoft.com/office/drawing/2014/main" id="{7519C829-2ABB-1AEA-976B-3E6232EF2111}"/>
                    </a:ext>
                  </a:extLst>
                </p:cNvPr>
                <p:cNvSpPr/>
                <p:nvPr/>
              </p:nvSpPr>
              <p:spPr>
                <a:xfrm>
                  <a:off x="7254693" y="3608219"/>
                  <a:ext cx="56703" cy="132224"/>
                </a:xfrm>
                <a:custGeom>
                  <a:avLst/>
                  <a:gdLst>
                    <a:gd name="connsiteX0" fmla="*/ 6474 w 56703"/>
                    <a:gd name="connsiteY0" fmla="*/ 132224 h 132224"/>
                    <a:gd name="connsiteX1" fmla="*/ 3670 w 56703"/>
                    <a:gd name="connsiteY1" fmla="*/ 131595 h 132224"/>
                    <a:gd name="connsiteX2" fmla="*/ 638 w 56703"/>
                    <a:gd name="connsiteY2" fmla="*/ 122957 h 132224"/>
                    <a:gd name="connsiteX3" fmla="*/ 29758 w 56703"/>
                    <a:gd name="connsiteY3" fmla="*/ 62257 h 132224"/>
                    <a:gd name="connsiteX4" fmla="*/ 43946 w 56703"/>
                    <a:gd name="connsiteY4" fmla="*/ 4914 h 132224"/>
                    <a:gd name="connsiteX5" fmla="*/ 51784 w 56703"/>
                    <a:gd name="connsiteY5" fmla="*/ 185 h 132224"/>
                    <a:gd name="connsiteX6" fmla="*/ 56513 w 56703"/>
                    <a:gd name="connsiteY6" fmla="*/ 8022 h 132224"/>
                    <a:gd name="connsiteX7" fmla="*/ 42173 w 56703"/>
                    <a:gd name="connsiteY7" fmla="*/ 66014 h 132224"/>
                    <a:gd name="connsiteX8" fmla="*/ 41715 w 56703"/>
                    <a:gd name="connsiteY8" fmla="*/ 67253 h 132224"/>
                    <a:gd name="connsiteX9" fmla="*/ 12290 w 56703"/>
                    <a:gd name="connsiteY9" fmla="*/ 128563 h 132224"/>
                    <a:gd name="connsiteX10" fmla="*/ 6474 w 56703"/>
                    <a:gd name="connsiteY10" fmla="*/ 132224 h 13222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56703" h="132224">
                      <a:moveTo>
                        <a:pt x="6474" y="132224"/>
                      </a:moveTo>
                      <a:cubicBezTo>
                        <a:pt x="5539" y="132224"/>
                        <a:pt x="4586" y="132015"/>
                        <a:pt x="3670" y="131595"/>
                      </a:cubicBezTo>
                      <a:cubicBezTo>
                        <a:pt x="448" y="130050"/>
                        <a:pt x="-906" y="126179"/>
                        <a:pt x="638" y="122957"/>
                      </a:cubicBezTo>
                      <a:lnTo>
                        <a:pt x="29758" y="62257"/>
                      </a:lnTo>
                      <a:lnTo>
                        <a:pt x="43946" y="4914"/>
                      </a:lnTo>
                      <a:cubicBezTo>
                        <a:pt x="44804" y="1443"/>
                        <a:pt x="48313" y="-655"/>
                        <a:pt x="51784" y="185"/>
                      </a:cubicBezTo>
                      <a:cubicBezTo>
                        <a:pt x="55254" y="1043"/>
                        <a:pt x="57371" y="4552"/>
                        <a:pt x="56513" y="8022"/>
                      </a:cubicBezTo>
                      <a:lnTo>
                        <a:pt x="42173" y="66014"/>
                      </a:lnTo>
                      <a:cubicBezTo>
                        <a:pt x="42058" y="66452"/>
                        <a:pt x="41906" y="66853"/>
                        <a:pt x="41715" y="67253"/>
                      </a:cubicBezTo>
                      <a:lnTo>
                        <a:pt x="12290" y="128563"/>
                      </a:lnTo>
                      <a:cubicBezTo>
                        <a:pt x="11203" y="130871"/>
                        <a:pt x="8896" y="132224"/>
                        <a:pt x="6474" y="132224"/>
                      </a:cubicBezTo>
                      <a:close/>
                    </a:path>
                  </a:pathLst>
                </a:custGeom>
                <a:grpFill/>
                <a:ln w="190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GB" dirty="0"/>
                </a:p>
              </p:txBody>
            </p:sp>
            <p:sp>
              <p:nvSpPr>
                <p:cNvPr id="177" name="Freihandform: Form 1058">
                  <a:extLst>
                    <a:ext uri="{FF2B5EF4-FFF2-40B4-BE49-F238E27FC236}">
                      <a16:creationId xmlns:a16="http://schemas.microsoft.com/office/drawing/2014/main" id="{A307B837-AA89-688D-C8B1-7EC1DFBFE142}"/>
                    </a:ext>
                  </a:extLst>
                </p:cNvPr>
                <p:cNvSpPr/>
                <p:nvPr/>
              </p:nvSpPr>
              <p:spPr>
                <a:xfrm>
                  <a:off x="7334064" y="3499485"/>
                  <a:ext cx="39646" cy="240958"/>
                </a:xfrm>
                <a:custGeom>
                  <a:avLst/>
                  <a:gdLst>
                    <a:gd name="connsiteX0" fmla="*/ 18256 w 39646"/>
                    <a:gd name="connsiteY0" fmla="*/ 240958 h 240958"/>
                    <a:gd name="connsiteX1" fmla="*/ 17054 w 39646"/>
                    <a:gd name="connsiteY1" fmla="*/ 240844 h 240958"/>
                    <a:gd name="connsiteX2" fmla="*/ 11887 w 39646"/>
                    <a:gd name="connsiteY2" fmla="*/ 233292 h 240958"/>
                    <a:gd name="connsiteX3" fmla="*/ 26456 w 39646"/>
                    <a:gd name="connsiteY3" fmla="*/ 155659 h 240958"/>
                    <a:gd name="connsiteX4" fmla="*/ 521 w 39646"/>
                    <a:gd name="connsiteY4" fmla="*/ 94521 h 240958"/>
                    <a:gd name="connsiteX5" fmla="*/ 44 w 39646"/>
                    <a:gd name="connsiteY5" fmla="*/ 91241 h 240958"/>
                    <a:gd name="connsiteX6" fmla="*/ 10018 w 39646"/>
                    <a:gd name="connsiteY6" fmla="*/ 5731 h 240958"/>
                    <a:gd name="connsiteX7" fmla="*/ 17207 w 39646"/>
                    <a:gd name="connsiteY7" fmla="*/ 49 h 240958"/>
                    <a:gd name="connsiteX8" fmla="*/ 22890 w 39646"/>
                    <a:gd name="connsiteY8" fmla="*/ 7238 h 240958"/>
                    <a:gd name="connsiteX9" fmla="*/ 13107 w 39646"/>
                    <a:gd name="connsiteY9" fmla="*/ 91050 h 240958"/>
                    <a:gd name="connsiteX10" fmla="*/ 39137 w 39646"/>
                    <a:gd name="connsiteY10" fmla="*/ 152398 h 240958"/>
                    <a:gd name="connsiteX11" fmla="*/ 39538 w 39646"/>
                    <a:gd name="connsiteY11" fmla="*/ 156117 h 240958"/>
                    <a:gd name="connsiteX12" fmla="*/ 24606 w 39646"/>
                    <a:gd name="connsiteY12" fmla="*/ 235676 h 240958"/>
                    <a:gd name="connsiteX13" fmla="*/ 18256 w 39646"/>
                    <a:gd name="connsiteY13" fmla="*/ 240958 h 24095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</a:cxnLst>
                  <a:rect l="l" t="t" r="r" b="b"/>
                  <a:pathLst>
                    <a:path w="39646" h="240958">
                      <a:moveTo>
                        <a:pt x="18256" y="240958"/>
                      </a:moveTo>
                      <a:cubicBezTo>
                        <a:pt x="17855" y="240958"/>
                        <a:pt x="17455" y="240920"/>
                        <a:pt x="17054" y="240844"/>
                      </a:cubicBezTo>
                      <a:cubicBezTo>
                        <a:pt x="13546" y="240196"/>
                        <a:pt x="11219" y="236801"/>
                        <a:pt x="11887" y="233292"/>
                      </a:cubicBezTo>
                      <a:lnTo>
                        <a:pt x="26456" y="155659"/>
                      </a:lnTo>
                      <a:lnTo>
                        <a:pt x="521" y="94521"/>
                      </a:lnTo>
                      <a:cubicBezTo>
                        <a:pt x="82" y="93491"/>
                        <a:pt x="-89" y="92366"/>
                        <a:pt x="44" y="91241"/>
                      </a:cubicBezTo>
                      <a:lnTo>
                        <a:pt x="10018" y="5731"/>
                      </a:lnTo>
                      <a:cubicBezTo>
                        <a:pt x="10437" y="2185"/>
                        <a:pt x="13546" y="-390"/>
                        <a:pt x="17207" y="49"/>
                      </a:cubicBezTo>
                      <a:cubicBezTo>
                        <a:pt x="20754" y="468"/>
                        <a:pt x="23309" y="3672"/>
                        <a:pt x="22890" y="7238"/>
                      </a:cubicBezTo>
                      <a:lnTo>
                        <a:pt x="13107" y="91050"/>
                      </a:lnTo>
                      <a:lnTo>
                        <a:pt x="39137" y="152398"/>
                      </a:lnTo>
                      <a:cubicBezTo>
                        <a:pt x="39633" y="153580"/>
                        <a:pt x="39767" y="154877"/>
                        <a:pt x="39538" y="156117"/>
                      </a:cubicBezTo>
                      <a:lnTo>
                        <a:pt x="24606" y="235676"/>
                      </a:lnTo>
                      <a:cubicBezTo>
                        <a:pt x="24034" y="238784"/>
                        <a:pt x="21307" y="240958"/>
                        <a:pt x="18256" y="240958"/>
                      </a:cubicBezTo>
                      <a:close/>
                    </a:path>
                  </a:pathLst>
                </a:custGeom>
                <a:grpFill/>
                <a:ln w="190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GB" dirty="0"/>
                </a:p>
              </p:txBody>
            </p:sp>
            <p:sp>
              <p:nvSpPr>
                <p:cNvPr id="178" name="Freihandform: Form 1059">
                  <a:extLst>
                    <a:ext uri="{FF2B5EF4-FFF2-40B4-BE49-F238E27FC236}">
                      <a16:creationId xmlns:a16="http://schemas.microsoft.com/office/drawing/2014/main" id="{994B1506-F12A-8A10-173F-0189DA7DB782}"/>
                    </a:ext>
                  </a:extLst>
                </p:cNvPr>
                <p:cNvSpPr/>
                <p:nvPr/>
              </p:nvSpPr>
              <p:spPr>
                <a:xfrm>
                  <a:off x="7297390" y="3620073"/>
                  <a:ext cx="37895" cy="120369"/>
                </a:xfrm>
                <a:custGeom>
                  <a:avLst/>
                  <a:gdLst>
                    <a:gd name="connsiteX0" fmla="*/ 16428 w 37895"/>
                    <a:gd name="connsiteY0" fmla="*/ 120370 h 120369"/>
                    <a:gd name="connsiteX1" fmla="*/ 14903 w 37895"/>
                    <a:gd name="connsiteY1" fmla="*/ 120179 h 120369"/>
                    <a:gd name="connsiteX2" fmla="*/ 10135 w 37895"/>
                    <a:gd name="connsiteY2" fmla="*/ 112379 h 120369"/>
                    <a:gd name="connsiteX3" fmla="*/ 24533 w 37895"/>
                    <a:gd name="connsiteY3" fmla="*/ 52748 h 120369"/>
                    <a:gd name="connsiteX4" fmla="*/ 810 w 37895"/>
                    <a:gd name="connsiteY4" fmla="*/ 9593 h 120369"/>
                    <a:gd name="connsiteX5" fmla="*/ 3366 w 37895"/>
                    <a:gd name="connsiteY5" fmla="*/ 802 h 120369"/>
                    <a:gd name="connsiteX6" fmla="*/ 12157 w 37895"/>
                    <a:gd name="connsiteY6" fmla="*/ 3357 h 120369"/>
                    <a:gd name="connsiteX7" fmla="*/ 37100 w 37895"/>
                    <a:gd name="connsiteY7" fmla="*/ 48705 h 120369"/>
                    <a:gd name="connsiteX8" fmla="*/ 37710 w 37895"/>
                    <a:gd name="connsiteY8" fmla="*/ 53339 h 120369"/>
                    <a:gd name="connsiteX9" fmla="*/ 22721 w 37895"/>
                    <a:gd name="connsiteY9" fmla="*/ 115412 h 120369"/>
                    <a:gd name="connsiteX10" fmla="*/ 16428 w 37895"/>
                    <a:gd name="connsiteY10" fmla="*/ 120370 h 12036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37895" h="120369">
                      <a:moveTo>
                        <a:pt x="16428" y="120370"/>
                      </a:moveTo>
                      <a:cubicBezTo>
                        <a:pt x="15913" y="120370"/>
                        <a:pt x="15418" y="120313"/>
                        <a:pt x="14903" y="120179"/>
                      </a:cubicBezTo>
                      <a:cubicBezTo>
                        <a:pt x="11432" y="119340"/>
                        <a:pt x="9296" y="115850"/>
                        <a:pt x="10135" y="112379"/>
                      </a:cubicBezTo>
                      <a:lnTo>
                        <a:pt x="24533" y="52748"/>
                      </a:lnTo>
                      <a:lnTo>
                        <a:pt x="810" y="9593"/>
                      </a:lnTo>
                      <a:cubicBezTo>
                        <a:pt x="-925" y="6466"/>
                        <a:pt x="219" y="2518"/>
                        <a:pt x="3366" y="802"/>
                      </a:cubicBezTo>
                      <a:cubicBezTo>
                        <a:pt x="6474" y="-914"/>
                        <a:pt x="10440" y="211"/>
                        <a:pt x="12157" y="3357"/>
                      </a:cubicBezTo>
                      <a:lnTo>
                        <a:pt x="37100" y="48705"/>
                      </a:lnTo>
                      <a:cubicBezTo>
                        <a:pt x="37882" y="50117"/>
                        <a:pt x="38092" y="51776"/>
                        <a:pt x="37710" y="53339"/>
                      </a:cubicBezTo>
                      <a:lnTo>
                        <a:pt x="22721" y="115412"/>
                      </a:lnTo>
                      <a:cubicBezTo>
                        <a:pt x="21997" y="118367"/>
                        <a:pt x="19346" y="120370"/>
                        <a:pt x="16428" y="120370"/>
                      </a:cubicBezTo>
                      <a:close/>
                    </a:path>
                  </a:pathLst>
                </a:custGeom>
                <a:grpFill/>
                <a:ln w="190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GB" dirty="0"/>
                </a:p>
              </p:txBody>
            </p:sp>
            <p:sp>
              <p:nvSpPr>
                <p:cNvPr id="179" name="Freihandform: Form 1060">
                  <a:extLst>
                    <a:ext uri="{FF2B5EF4-FFF2-40B4-BE49-F238E27FC236}">
                      <a16:creationId xmlns:a16="http://schemas.microsoft.com/office/drawing/2014/main" id="{7C1C5B1F-9F70-247A-8D5D-6E9BF1077FE0}"/>
                    </a:ext>
                  </a:extLst>
                </p:cNvPr>
                <p:cNvSpPr/>
                <p:nvPr/>
              </p:nvSpPr>
              <p:spPr>
                <a:xfrm>
                  <a:off x="7341107" y="3499762"/>
                  <a:ext cx="98367" cy="89342"/>
                </a:xfrm>
                <a:custGeom>
                  <a:avLst/>
                  <a:gdLst>
                    <a:gd name="connsiteX0" fmla="*/ 79255 w 98367"/>
                    <a:gd name="connsiteY0" fmla="*/ 89342 h 89342"/>
                    <a:gd name="connsiteX1" fmla="*/ 78893 w 98367"/>
                    <a:gd name="connsiteY1" fmla="*/ 89342 h 89342"/>
                    <a:gd name="connsiteX2" fmla="*/ 62435 w 98367"/>
                    <a:gd name="connsiteY2" fmla="*/ 88999 h 89342"/>
                    <a:gd name="connsiteX3" fmla="*/ 59670 w 98367"/>
                    <a:gd name="connsiteY3" fmla="*/ 88313 h 89342"/>
                    <a:gd name="connsiteX4" fmla="*/ 24067 w 98367"/>
                    <a:gd name="connsiteY4" fmla="*/ 70501 h 89342"/>
                    <a:gd name="connsiteX5" fmla="*/ 22122 w 98367"/>
                    <a:gd name="connsiteY5" fmla="*/ 68995 h 89342"/>
                    <a:gd name="connsiteX6" fmla="*/ 1622 w 98367"/>
                    <a:gd name="connsiteY6" fmla="*/ 45787 h 89342"/>
                    <a:gd name="connsiteX7" fmla="*/ 2194 w 98367"/>
                    <a:gd name="connsiteY7" fmla="*/ 36652 h 89342"/>
                    <a:gd name="connsiteX8" fmla="*/ 11328 w 98367"/>
                    <a:gd name="connsiteY8" fmla="*/ 37224 h 89342"/>
                    <a:gd name="connsiteX9" fmla="*/ 31008 w 98367"/>
                    <a:gd name="connsiteY9" fmla="*/ 59479 h 89342"/>
                    <a:gd name="connsiteX10" fmla="*/ 64190 w 98367"/>
                    <a:gd name="connsiteY10" fmla="*/ 76070 h 89342"/>
                    <a:gd name="connsiteX11" fmla="*/ 79179 w 98367"/>
                    <a:gd name="connsiteY11" fmla="*/ 76375 h 89342"/>
                    <a:gd name="connsiteX12" fmla="*/ 79274 w 98367"/>
                    <a:gd name="connsiteY12" fmla="*/ 76375 h 89342"/>
                    <a:gd name="connsiteX13" fmla="*/ 84251 w 98367"/>
                    <a:gd name="connsiteY13" fmla="*/ 72160 h 89342"/>
                    <a:gd name="connsiteX14" fmla="*/ 85338 w 98367"/>
                    <a:gd name="connsiteY14" fmla="*/ 65505 h 89342"/>
                    <a:gd name="connsiteX15" fmla="*/ 84347 w 98367"/>
                    <a:gd name="connsiteY15" fmla="*/ 61596 h 89342"/>
                    <a:gd name="connsiteX16" fmla="*/ 80819 w 98367"/>
                    <a:gd name="connsiteY16" fmla="*/ 59670 h 89342"/>
                    <a:gd name="connsiteX17" fmla="*/ 64686 w 98367"/>
                    <a:gd name="connsiteY17" fmla="*/ 58220 h 89342"/>
                    <a:gd name="connsiteX18" fmla="*/ 62206 w 98367"/>
                    <a:gd name="connsiteY18" fmla="*/ 57477 h 89342"/>
                    <a:gd name="connsiteX19" fmla="*/ 42107 w 98367"/>
                    <a:gd name="connsiteY19" fmla="*/ 46683 h 89342"/>
                    <a:gd name="connsiteX20" fmla="*/ 39037 w 98367"/>
                    <a:gd name="connsiteY20" fmla="*/ 43022 h 89342"/>
                    <a:gd name="connsiteX21" fmla="*/ 27576 w 98367"/>
                    <a:gd name="connsiteY21" fmla="*/ 8505 h 89342"/>
                    <a:gd name="connsiteX22" fmla="*/ 31676 w 98367"/>
                    <a:gd name="connsiteY22" fmla="*/ 324 h 89342"/>
                    <a:gd name="connsiteX23" fmla="*/ 39857 w 98367"/>
                    <a:gd name="connsiteY23" fmla="*/ 4424 h 89342"/>
                    <a:gd name="connsiteX24" fmla="*/ 50517 w 98367"/>
                    <a:gd name="connsiteY24" fmla="*/ 36519 h 89342"/>
                    <a:gd name="connsiteX25" fmla="*/ 67184 w 98367"/>
                    <a:gd name="connsiteY25" fmla="*/ 45463 h 89342"/>
                    <a:gd name="connsiteX26" fmla="*/ 82001 w 98367"/>
                    <a:gd name="connsiteY26" fmla="*/ 46797 h 89342"/>
                    <a:gd name="connsiteX27" fmla="*/ 94606 w 98367"/>
                    <a:gd name="connsiteY27" fmla="*/ 53701 h 89342"/>
                    <a:gd name="connsiteX28" fmla="*/ 98134 w 98367"/>
                    <a:gd name="connsiteY28" fmla="*/ 67622 h 89342"/>
                    <a:gd name="connsiteX29" fmla="*/ 97047 w 98367"/>
                    <a:gd name="connsiteY29" fmla="*/ 74277 h 89342"/>
                    <a:gd name="connsiteX30" fmla="*/ 79255 w 98367"/>
                    <a:gd name="connsiteY30" fmla="*/ 89342 h 8934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</a:cxnLst>
                  <a:rect l="l" t="t" r="r" b="b"/>
                  <a:pathLst>
                    <a:path w="98367" h="89342">
                      <a:moveTo>
                        <a:pt x="79255" y="89342"/>
                      </a:moveTo>
                      <a:cubicBezTo>
                        <a:pt x="79140" y="89342"/>
                        <a:pt x="79007" y="89342"/>
                        <a:pt x="78893" y="89342"/>
                      </a:cubicBezTo>
                      <a:lnTo>
                        <a:pt x="62435" y="88999"/>
                      </a:lnTo>
                      <a:cubicBezTo>
                        <a:pt x="61482" y="88980"/>
                        <a:pt x="60528" y="88751"/>
                        <a:pt x="59670" y="88313"/>
                      </a:cubicBezTo>
                      <a:lnTo>
                        <a:pt x="24067" y="70501"/>
                      </a:lnTo>
                      <a:cubicBezTo>
                        <a:pt x="23323" y="70120"/>
                        <a:pt x="22656" y="69624"/>
                        <a:pt x="22122" y="68995"/>
                      </a:cubicBezTo>
                      <a:lnTo>
                        <a:pt x="1622" y="45787"/>
                      </a:lnTo>
                      <a:cubicBezTo>
                        <a:pt x="-743" y="43098"/>
                        <a:pt x="-495" y="39017"/>
                        <a:pt x="2194" y="36652"/>
                      </a:cubicBezTo>
                      <a:cubicBezTo>
                        <a:pt x="4883" y="34288"/>
                        <a:pt x="8964" y="34536"/>
                        <a:pt x="11328" y="37224"/>
                      </a:cubicBezTo>
                      <a:lnTo>
                        <a:pt x="31008" y="59479"/>
                      </a:lnTo>
                      <a:lnTo>
                        <a:pt x="64190" y="76070"/>
                      </a:lnTo>
                      <a:lnTo>
                        <a:pt x="79179" y="76375"/>
                      </a:lnTo>
                      <a:cubicBezTo>
                        <a:pt x="79217" y="76375"/>
                        <a:pt x="79236" y="76375"/>
                        <a:pt x="79274" y="76375"/>
                      </a:cubicBezTo>
                      <a:cubicBezTo>
                        <a:pt x="81715" y="76375"/>
                        <a:pt x="83851" y="74582"/>
                        <a:pt x="84251" y="72160"/>
                      </a:cubicBezTo>
                      <a:lnTo>
                        <a:pt x="85338" y="65505"/>
                      </a:lnTo>
                      <a:cubicBezTo>
                        <a:pt x="85567" y="64113"/>
                        <a:pt x="85224" y="62721"/>
                        <a:pt x="84347" y="61596"/>
                      </a:cubicBezTo>
                      <a:cubicBezTo>
                        <a:pt x="83488" y="60471"/>
                        <a:pt x="82230" y="59784"/>
                        <a:pt x="80819" y="59670"/>
                      </a:cubicBezTo>
                      <a:lnTo>
                        <a:pt x="64686" y="58220"/>
                      </a:lnTo>
                      <a:cubicBezTo>
                        <a:pt x="63828" y="58144"/>
                        <a:pt x="62969" y="57877"/>
                        <a:pt x="62206" y="57477"/>
                      </a:cubicBezTo>
                      <a:lnTo>
                        <a:pt x="42107" y="46683"/>
                      </a:lnTo>
                      <a:cubicBezTo>
                        <a:pt x="40658" y="45901"/>
                        <a:pt x="39551" y="44585"/>
                        <a:pt x="39037" y="43022"/>
                      </a:cubicBezTo>
                      <a:lnTo>
                        <a:pt x="27576" y="8505"/>
                      </a:lnTo>
                      <a:cubicBezTo>
                        <a:pt x="26450" y="5111"/>
                        <a:pt x="28281" y="1449"/>
                        <a:pt x="31676" y="324"/>
                      </a:cubicBezTo>
                      <a:cubicBezTo>
                        <a:pt x="35051" y="-782"/>
                        <a:pt x="38732" y="1030"/>
                        <a:pt x="39857" y="4424"/>
                      </a:cubicBezTo>
                      <a:lnTo>
                        <a:pt x="50517" y="36519"/>
                      </a:lnTo>
                      <a:lnTo>
                        <a:pt x="67184" y="45463"/>
                      </a:lnTo>
                      <a:lnTo>
                        <a:pt x="82001" y="46797"/>
                      </a:lnTo>
                      <a:cubicBezTo>
                        <a:pt x="86959" y="47255"/>
                        <a:pt x="91555" y="49753"/>
                        <a:pt x="94606" y="53701"/>
                      </a:cubicBezTo>
                      <a:cubicBezTo>
                        <a:pt x="97657" y="57648"/>
                        <a:pt x="98935" y="62721"/>
                        <a:pt x="98134" y="67622"/>
                      </a:cubicBezTo>
                      <a:lnTo>
                        <a:pt x="97047" y="74277"/>
                      </a:lnTo>
                      <a:cubicBezTo>
                        <a:pt x="95579" y="82935"/>
                        <a:pt x="87970" y="89342"/>
                        <a:pt x="79255" y="89342"/>
                      </a:cubicBezTo>
                      <a:close/>
                    </a:path>
                  </a:pathLst>
                </a:custGeom>
                <a:grpFill/>
                <a:ln w="190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GB" dirty="0"/>
                </a:p>
              </p:txBody>
            </p:sp>
            <p:sp>
              <p:nvSpPr>
                <p:cNvPr id="180" name="Freihandform: Form 1061">
                  <a:extLst>
                    <a:ext uri="{FF2B5EF4-FFF2-40B4-BE49-F238E27FC236}">
                      <a16:creationId xmlns:a16="http://schemas.microsoft.com/office/drawing/2014/main" id="{04578314-3E49-DFB4-5351-6B02A074323F}"/>
                    </a:ext>
                  </a:extLst>
                </p:cNvPr>
                <p:cNvSpPr/>
                <p:nvPr/>
              </p:nvSpPr>
              <p:spPr>
                <a:xfrm>
                  <a:off x="7289542" y="3367563"/>
                  <a:ext cx="71207" cy="82045"/>
                </a:xfrm>
                <a:custGeom>
                  <a:avLst/>
                  <a:gdLst>
                    <a:gd name="connsiteX0" fmla="*/ 35108 w 71207"/>
                    <a:gd name="connsiteY0" fmla="*/ 82045 h 82045"/>
                    <a:gd name="connsiteX1" fmla="*/ 29063 w 71207"/>
                    <a:gd name="connsiteY1" fmla="*/ 81549 h 82045"/>
                    <a:gd name="connsiteX2" fmla="*/ 763 w 71207"/>
                    <a:gd name="connsiteY2" fmla="*/ 35400 h 82045"/>
                    <a:gd name="connsiteX3" fmla="*/ 763 w 71207"/>
                    <a:gd name="connsiteY3" fmla="*/ 35400 h 82045"/>
                    <a:gd name="connsiteX4" fmla="*/ 42145 w 71207"/>
                    <a:gd name="connsiteY4" fmla="*/ 483 h 82045"/>
                    <a:gd name="connsiteX5" fmla="*/ 70444 w 71207"/>
                    <a:gd name="connsiteY5" fmla="*/ 46632 h 82045"/>
                    <a:gd name="connsiteX6" fmla="*/ 35108 w 71207"/>
                    <a:gd name="connsiteY6" fmla="*/ 82045 h 82045"/>
                    <a:gd name="connsiteX7" fmla="*/ 13540 w 71207"/>
                    <a:gd name="connsiteY7" fmla="*/ 37460 h 82045"/>
                    <a:gd name="connsiteX8" fmla="*/ 31122 w 71207"/>
                    <a:gd name="connsiteY8" fmla="*/ 68773 h 82045"/>
                    <a:gd name="connsiteX9" fmla="*/ 57649 w 71207"/>
                    <a:gd name="connsiteY9" fmla="*/ 44592 h 82045"/>
                    <a:gd name="connsiteX10" fmla="*/ 40066 w 71207"/>
                    <a:gd name="connsiteY10" fmla="*/ 13279 h 82045"/>
                    <a:gd name="connsiteX11" fmla="*/ 13540 w 71207"/>
                    <a:gd name="connsiteY11" fmla="*/ 37460 h 82045"/>
                    <a:gd name="connsiteX12" fmla="*/ 13540 w 71207"/>
                    <a:gd name="connsiteY12" fmla="*/ 37460 h 8204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</a:cxnLst>
                  <a:rect l="l" t="t" r="r" b="b"/>
                  <a:pathLst>
                    <a:path w="71207" h="82045">
                      <a:moveTo>
                        <a:pt x="35108" y="82045"/>
                      </a:moveTo>
                      <a:cubicBezTo>
                        <a:pt x="33144" y="82045"/>
                        <a:pt x="31122" y="81874"/>
                        <a:pt x="29063" y="81549"/>
                      </a:cubicBezTo>
                      <a:cubicBezTo>
                        <a:pt x="8219" y="78193"/>
                        <a:pt x="-3146" y="59638"/>
                        <a:pt x="763" y="35400"/>
                      </a:cubicBezTo>
                      <a:lnTo>
                        <a:pt x="763" y="35400"/>
                      </a:lnTo>
                      <a:cubicBezTo>
                        <a:pt x="4672" y="11162"/>
                        <a:pt x="21301" y="-2835"/>
                        <a:pt x="42145" y="483"/>
                      </a:cubicBezTo>
                      <a:cubicBezTo>
                        <a:pt x="62988" y="3840"/>
                        <a:pt x="74354" y="22395"/>
                        <a:pt x="70444" y="46632"/>
                      </a:cubicBezTo>
                      <a:cubicBezTo>
                        <a:pt x="66916" y="68487"/>
                        <a:pt x="53053" y="82045"/>
                        <a:pt x="35108" y="82045"/>
                      </a:cubicBezTo>
                      <a:close/>
                      <a:moveTo>
                        <a:pt x="13540" y="37460"/>
                      </a:moveTo>
                      <a:cubicBezTo>
                        <a:pt x="11385" y="50885"/>
                        <a:pt x="14856" y="66141"/>
                        <a:pt x="31122" y="68773"/>
                      </a:cubicBezTo>
                      <a:cubicBezTo>
                        <a:pt x="47408" y="71442"/>
                        <a:pt x="55494" y="57998"/>
                        <a:pt x="57649" y="44592"/>
                      </a:cubicBezTo>
                      <a:cubicBezTo>
                        <a:pt x="59803" y="31186"/>
                        <a:pt x="56333" y="15911"/>
                        <a:pt x="40066" y="13279"/>
                      </a:cubicBezTo>
                      <a:cubicBezTo>
                        <a:pt x="23800" y="10590"/>
                        <a:pt x="15714" y="24054"/>
                        <a:pt x="13540" y="37460"/>
                      </a:cubicBezTo>
                      <a:lnTo>
                        <a:pt x="13540" y="37460"/>
                      </a:lnTo>
                      <a:close/>
                    </a:path>
                  </a:pathLst>
                </a:custGeom>
                <a:grpFill/>
                <a:ln w="190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GB" dirty="0"/>
                </a:p>
              </p:txBody>
            </p:sp>
          </p:grpSp>
          <p:sp>
            <p:nvSpPr>
              <p:cNvPr id="161" name="Freihandform: Form 1066">
                <a:extLst>
                  <a:ext uri="{FF2B5EF4-FFF2-40B4-BE49-F238E27FC236}">
                    <a16:creationId xmlns:a16="http://schemas.microsoft.com/office/drawing/2014/main" id="{AF6E9D1E-AABB-27E5-453A-B46271271C46}"/>
                  </a:ext>
                </a:extLst>
              </p:cNvPr>
              <p:cNvSpPr/>
              <p:nvPr/>
            </p:nvSpPr>
            <p:spPr>
              <a:xfrm>
                <a:off x="7119687" y="3374035"/>
                <a:ext cx="71264" cy="80970"/>
              </a:xfrm>
              <a:custGeom>
                <a:avLst/>
                <a:gdLst>
                  <a:gd name="connsiteX0" fmla="*/ 35623 w 71264"/>
                  <a:gd name="connsiteY0" fmla="*/ 80971 h 80970"/>
                  <a:gd name="connsiteX1" fmla="*/ 0 w 71264"/>
                  <a:gd name="connsiteY1" fmla="*/ 40485 h 80970"/>
                  <a:gd name="connsiteX2" fmla="*/ 35623 w 71264"/>
                  <a:gd name="connsiteY2" fmla="*/ 0 h 80970"/>
                  <a:gd name="connsiteX3" fmla="*/ 71264 w 71264"/>
                  <a:gd name="connsiteY3" fmla="*/ 40485 h 80970"/>
                  <a:gd name="connsiteX4" fmla="*/ 35623 w 71264"/>
                  <a:gd name="connsiteY4" fmla="*/ 80971 h 80970"/>
                  <a:gd name="connsiteX5" fmla="*/ 35623 w 71264"/>
                  <a:gd name="connsiteY5" fmla="*/ 12948 h 80970"/>
                  <a:gd name="connsiteX6" fmla="*/ 12949 w 71264"/>
                  <a:gd name="connsiteY6" fmla="*/ 40485 h 80970"/>
                  <a:gd name="connsiteX7" fmla="*/ 35623 w 71264"/>
                  <a:gd name="connsiteY7" fmla="*/ 68022 h 80970"/>
                  <a:gd name="connsiteX8" fmla="*/ 58316 w 71264"/>
                  <a:gd name="connsiteY8" fmla="*/ 40485 h 80970"/>
                  <a:gd name="connsiteX9" fmla="*/ 35623 w 71264"/>
                  <a:gd name="connsiteY9" fmla="*/ 12948 h 809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71264" h="80970">
                    <a:moveTo>
                      <a:pt x="35623" y="80971"/>
                    </a:moveTo>
                    <a:cubicBezTo>
                      <a:pt x="14646" y="80971"/>
                      <a:pt x="0" y="64323"/>
                      <a:pt x="0" y="40485"/>
                    </a:cubicBezTo>
                    <a:cubicBezTo>
                      <a:pt x="0" y="16648"/>
                      <a:pt x="14646" y="0"/>
                      <a:pt x="35623" y="0"/>
                    </a:cubicBezTo>
                    <a:cubicBezTo>
                      <a:pt x="56599" y="0"/>
                      <a:pt x="71264" y="16648"/>
                      <a:pt x="71264" y="40485"/>
                    </a:cubicBezTo>
                    <a:cubicBezTo>
                      <a:pt x="71264" y="64323"/>
                      <a:pt x="56599" y="80971"/>
                      <a:pt x="35623" y="80971"/>
                    </a:cubicBezTo>
                    <a:close/>
                    <a:moveTo>
                      <a:pt x="35623" y="12948"/>
                    </a:moveTo>
                    <a:cubicBezTo>
                      <a:pt x="18879" y="12948"/>
                      <a:pt x="12949" y="27785"/>
                      <a:pt x="12949" y="40485"/>
                    </a:cubicBezTo>
                    <a:cubicBezTo>
                      <a:pt x="12949" y="53186"/>
                      <a:pt x="18879" y="68022"/>
                      <a:pt x="35623" y="68022"/>
                    </a:cubicBezTo>
                    <a:cubicBezTo>
                      <a:pt x="52366" y="68022"/>
                      <a:pt x="58316" y="53186"/>
                      <a:pt x="58316" y="40485"/>
                    </a:cubicBezTo>
                    <a:cubicBezTo>
                      <a:pt x="58316" y="27785"/>
                      <a:pt x="52366" y="12948"/>
                      <a:pt x="35623" y="12948"/>
                    </a:cubicBezTo>
                    <a:close/>
                  </a:path>
                </a:pathLst>
              </a:custGeom>
              <a:grpFill/>
              <a:ln w="190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162" name="Freihandform: Form 1067">
                <a:extLst>
                  <a:ext uri="{FF2B5EF4-FFF2-40B4-BE49-F238E27FC236}">
                    <a16:creationId xmlns:a16="http://schemas.microsoft.com/office/drawing/2014/main" id="{D4E8AC0D-20F6-6D8A-3FBB-7589E8389FB3}"/>
                  </a:ext>
                </a:extLst>
              </p:cNvPr>
              <p:cNvSpPr/>
              <p:nvPr/>
            </p:nvSpPr>
            <p:spPr>
              <a:xfrm>
                <a:off x="7070378" y="3461478"/>
                <a:ext cx="150505" cy="277744"/>
              </a:xfrm>
              <a:custGeom>
                <a:avLst/>
                <a:gdLst>
                  <a:gd name="connsiteX0" fmla="*/ 131519 w 150505"/>
                  <a:gd name="connsiteY0" fmla="*/ 277744 h 277744"/>
                  <a:gd name="connsiteX1" fmla="*/ 130566 w 150505"/>
                  <a:gd name="connsiteY1" fmla="*/ 277668 h 277744"/>
                  <a:gd name="connsiteX2" fmla="*/ 125112 w 150505"/>
                  <a:gd name="connsiteY2" fmla="*/ 270326 h 277744"/>
                  <a:gd name="connsiteX3" fmla="*/ 137145 w 150505"/>
                  <a:gd name="connsiteY3" fmla="*/ 188268 h 277744"/>
                  <a:gd name="connsiteX4" fmla="*/ 96545 w 150505"/>
                  <a:gd name="connsiteY4" fmla="*/ 138649 h 277744"/>
                  <a:gd name="connsiteX5" fmla="*/ 95191 w 150505"/>
                  <a:gd name="connsiteY5" fmla="*/ 133404 h 277744"/>
                  <a:gd name="connsiteX6" fmla="*/ 112487 w 150505"/>
                  <a:gd name="connsiteY6" fmla="*/ 36644 h 277744"/>
                  <a:gd name="connsiteX7" fmla="*/ 109455 w 150505"/>
                  <a:gd name="connsiteY7" fmla="*/ 23047 h 277744"/>
                  <a:gd name="connsiteX8" fmla="*/ 97632 w 150505"/>
                  <a:gd name="connsiteY8" fmla="*/ 15667 h 277744"/>
                  <a:gd name="connsiteX9" fmla="*/ 85599 w 150505"/>
                  <a:gd name="connsiteY9" fmla="*/ 13703 h 277744"/>
                  <a:gd name="connsiteX10" fmla="*/ 26692 w 150505"/>
                  <a:gd name="connsiteY10" fmla="*/ 42517 h 277744"/>
                  <a:gd name="connsiteX11" fmla="*/ 15174 w 150505"/>
                  <a:gd name="connsiteY11" fmla="*/ 63647 h 277744"/>
                  <a:gd name="connsiteX12" fmla="*/ 17329 w 150505"/>
                  <a:gd name="connsiteY12" fmla="*/ 84948 h 277744"/>
                  <a:gd name="connsiteX13" fmla="*/ 50224 w 150505"/>
                  <a:gd name="connsiteY13" fmla="*/ 123812 h 277744"/>
                  <a:gd name="connsiteX14" fmla="*/ 55278 w 150505"/>
                  <a:gd name="connsiteY14" fmla="*/ 126310 h 277744"/>
                  <a:gd name="connsiteX15" fmla="*/ 60560 w 150505"/>
                  <a:gd name="connsiteY15" fmla="*/ 124346 h 277744"/>
                  <a:gd name="connsiteX16" fmla="*/ 61571 w 150505"/>
                  <a:gd name="connsiteY16" fmla="*/ 115288 h 277744"/>
                  <a:gd name="connsiteX17" fmla="*/ 39107 w 150505"/>
                  <a:gd name="connsiteY17" fmla="*/ 81420 h 277744"/>
                  <a:gd name="connsiteX18" fmla="*/ 38782 w 150505"/>
                  <a:gd name="connsiteY18" fmla="*/ 74822 h 277744"/>
                  <a:gd name="connsiteX19" fmla="*/ 53752 w 150505"/>
                  <a:gd name="connsiteY19" fmla="*/ 46484 h 277744"/>
                  <a:gd name="connsiteX20" fmla="*/ 62505 w 150505"/>
                  <a:gd name="connsiteY20" fmla="*/ 43776 h 277744"/>
                  <a:gd name="connsiteX21" fmla="*/ 65213 w 150505"/>
                  <a:gd name="connsiteY21" fmla="*/ 52529 h 277744"/>
                  <a:gd name="connsiteX22" fmla="*/ 52036 w 150505"/>
                  <a:gd name="connsiteY22" fmla="*/ 77472 h 277744"/>
                  <a:gd name="connsiteX23" fmla="*/ 72383 w 150505"/>
                  <a:gd name="connsiteY23" fmla="*/ 108137 h 277744"/>
                  <a:gd name="connsiteX24" fmla="*/ 69542 w 150505"/>
                  <a:gd name="connsiteY24" fmla="*/ 133709 h 277744"/>
                  <a:gd name="connsiteX25" fmla="*/ 54649 w 150505"/>
                  <a:gd name="connsiteY25" fmla="*/ 139240 h 277744"/>
                  <a:gd name="connsiteX26" fmla="*/ 40384 w 150505"/>
                  <a:gd name="connsiteY26" fmla="*/ 132165 h 277744"/>
                  <a:gd name="connsiteX27" fmla="*/ 7508 w 150505"/>
                  <a:gd name="connsiteY27" fmla="*/ 93300 h 277744"/>
                  <a:gd name="connsiteX28" fmla="*/ 3865 w 150505"/>
                  <a:gd name="connsiteY28" fmla="*/ 57430 h 277744"/>
                  <a:gd name="connsiteX29" fmla="*/ 15384 w 150505"/>
                  <a:gd name="connsiteY29" fmla="*/ 36301 h 277744"/>
                  <a:gd name="connsiteX30" fmla="*/ 87754 w 150505"/>
                  <a:gd name="connsiteY30" fmla="*/ 907 h 277744"/>
                  <a:gd name="connsiteX31" fmla="*/ 99787 w 150505"/>
                  <a:gd name="connsiteY31" fmla="*/ 2871 h 277744"/>
                  <a:gd name="connsiteX32" fmla="*/ 120096 w 150505"/>
                  <a:gd name="connsiteY32" fmla="*/ 15552 h 277744"/>
                  <a:gd name="connsiteX33" fmla="*/ 125302 w 150505"/>
                  <a:gd name="connsiteY33" fmla="*/ 38913 h 277744"/>
                  <a:gd name="connsiteX34" fmla="*/ 108521 w 150505"/>
                  <a:gd name="connsiteY34" fmla="*/ 132737 h 277744"/>
                  <a:gd name="connsiteX35" fmla="*/ 149044 w 150505"/>
                  <a:gd name="connsiteY35" fmla="*/ 182261 h 277744"/>
                  <a:gd name="connsiteX36" fmla="*/ 150436 w 150505"/>
                  <a:gd name="connsiteY36" fmla="*/ 187296 h 277744"/>
                  <a:gd name="connsiteX37" fmla="*/ 138003 w 150505"/>
                  <a:gd name="connsiteY37" fmla="*/ 272195 h 277744"/>
                  <a:gd name="connsiteX38" fmla="*/ 131519 w 150505"/>
                  <a:gd name="connsiteY38" fmla="*/ 277744 h 2777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</a:cxnLst>
                <a:rect l="l" t="t" r="r" b="b"/>
                <a:pathLst>
                  <a:path w="150505" h="277744">
                    <a:moveTo>
                      <a:pt x="131519" y="277744"/>
                    </a:moveTo>
                    <a:cubicBezTo>
                      <a:pt x="131214" y="277744"/>
                      <a:pt x="130890" y="277725"/>
                      <a:pt x="130566" y="277668"/>
                    </a:cubicBezTo>
                    <a:cubicBezTo>
                      <a:pt x="127038" y="277153"/>
                      <a:pt x="124578" y="273854"/>
                      <a:pt x="125112" y="270326"/>
                    </a:cubicBezTo>
                    <a:lnTo>
                      <a:pt x="137145" y="188268"/>
                    </a:lnTo>
                    <a:lnTo>
                      <a:pt x="96545" y="138649"/>
                    </a:lnTo>
                    <a:cubicBezTo>
                      <a:pt x="95344" y="137180"/>
                      <a:pt x="94848" y="135273"/>
                      <a:pt x="95191" y="133404"/>
                    </a:cubicBezTo>
                    <a:lnTo>
                      <a:pt x="112487" y="36644"/>
                    </a:lnTo>
                    <a:cubicBezTo>
                      <a:pt x="113346" y="31838"/>
                      <a:pt x="112259" y="27014"/>
                      <a:pt x="109455" y="23047"/>
                    </a:cubicBezTo>
                    <a:cubicBezTo>
                      <a:pt x="106633" y="19080"/>
                      <a:pt x="102438" y="16468"/>
                      <a:pt x="97632" y="15667"/>
                    </a:cubicBezTo>
                    <a:lnTo>
                      <a:pt x="85599" y="13703"/>
                    </a:lnTo>
                    <a:cubicBezTo>
                      <a:pt x="61895" y="9832"/>
                      <a:pt x="38210" y="21407"/>
                      <a:pt x="26692" y="42517"/>
                    </a:cubicBezTo>
                    <a:lnTo>
                      <a:pt x="15174" y="63647"/>
                    </a:lnTo>
                    <a:cubicBezTo>
                      <a:pt x="11455" y="70474"/>
                      <a:pt x="12313" y="79036"/>
                      <a:pt x="17329" y="84948"/>
                    </a:cubicBezTo>
                    <a:lnTo>
                      <a:pt x="50224" y="123812"/>
                    </a:lnTo>
                    <a:cubicBezTo>
                      <a:pt x="51502" y="125319"/>
                      <a:pt x="53295" y="126215"/>
                      <a:pt x="55278" y="126310"/>
                    </a:cubicBezTo>
                    <a:cubicBezTo>
                      <a:pt x="57318" y="126425"/>
                      <a:pt x="59130" y="125719"/>
                      <a:pt x="60560" y="124346"/>
                    </a:cubicBezTo>
                    <a:cubicBezTo>
                      <a:pt x="63039" y="121962"/>
                      <a:pt x="63478" y="118149"/>
                      <a:pt x="61571" y="115288"/>
                    </a:cubicBezTo>
                    <a:lnTo>
                      <a:pt x="39107" y="81420"/>
                    </a:lnTo>
                    <a:cubicBezTo>
                      <a:pt x="37791" y="79456"/>
                      <a:pt x="37657" y="76919"/>
                      <a:pt x="38782" y="74822"/>
                    </a:cubicBezTo>
                    <a:lnTo>
                      <a:pt x="53752" y="46484"/>
                    </a:lnTo>
                    <a:cubicBezTo>
                      <a:pt x="55411" y="43318"/>
                      <a:pt x="59340" y="42098"/>
                      <a:pt x="62505" y="43776"/>
                    </a:cubicBezTo>
                    <a:cubicBezTo>
                      <a:pt x="65671" y="45454"/>
                      <a:pt x="66872" y="49363"/>
                      <a:pt x="65213" y="52529"/>
                    </a:cubicBezTo>
                    <a:lnTo>
                      <a:pt x="52036" y="77472"/>
                    </a:lnTo>
                    <a:lnTo>
                      <a:pt x="72383" y="108137"/>
                    </a:lnTo>
                    <a:cubicBezTo>
                      <a:pt x="77761" y="116222"/>
                      <a:pt x="76560" y="126978"/>
                      <a:pt x="69542" y="133709"/>
                    </a:cubicBezTo>
                    <a:cubicBezTo>
                      <a:pt x="65576" y="137504"/>
                      <a:pt x="60236" y="139564"/>
                      <a:pt x="54649" y="139240"/>
                    </a:cubicBezTo>
                    <a:cubicBezTo>
                      <a:pt x="49156" y="138954"/>
                      <a:pt x="43950" y="136379"/>
                      <a:pt x="40384" y="132165"/>
                    </a:cubicBezTo>
                    <a:lnTo>
                      <a:pt x="7508" y="93300"/>
                    </a:lnTo>
                    <a:cubicBezTo>
                      <a:pt x="-940" y="83327"/>
                      <a:pt x="-2409" y="68910"/>
                      <a:pt x="3865" y="57430"/>
                    </a:cubicBezTo>
                    <a:lnTo>
                      <a:pt x="15384" y="36301"/>
                    </a:lnTo>
                    <a:cubicBezTo>
                      <a:pt x="29514" y="10365"/>
                      <a:pt x="58596" y="-3842"/>
                      <a:pt x="87754" y="907"/>
                    </a:cubicBezTo>
                    <a:lnTo>
                      <a:pt x="99787" y="2871"/>
                    </a:lnTo>
                    <a:cubicBezTo>
                      <a:pt x="108044" y="4225"/>
                      <a:pt x="115253" y="8725"/>
                      <a:pt x="120096" y="15552"/>
                    </a:cubicBezTo>
                    <a:cubicBezTo>
                      <a:pt x="124940" y="22380"/>
                      <a:pt x="126790" y="30675"/>
                      <a:pt x="125302" y="38913"/>
                    </a:cubicBezTo>
                    <a:lnTo>
                      <a:pt x="108521" y="132737"/>
                    </a:lnTo>
                    <a:lnTo>
                      <a:pt x="149044" y="182261"/>
                    </a:lnTo>
                    <a:cubicBezTo>
                      <a:pt x="150189" y="183673"/>
                      <a:pt x="150703" y="185503"/>
                      <a:pt x="150436" y="187296"/>
                    </a:cubicBezTo>
                    <a:lnTo>
                      <a:pt x="138003" y="272195"/>
                    </a:lnTo>
                    <a:cubicBezTo>
                      <a:pt x="137450" y="275437"/>
                      <a:pt x="134685" y="277744"/>
                      <a:pt x="131519" y="277744"/>
                    </a:cubicBezTo>
                    <a:close/>
                  </a:path>
                </a:pathLst>
              </a:custGeom>
              <a:grpFill/>
              <a:ln w="190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163" name="Freihandform: Form 1068">
                <a:extLst>
                  <a:ext uri="{FF2B5EF4-FFF2-40B4-BE49-F238E27FC236}">
                    <a16:creationId xmlns:a16="http://schemas.microsoft.com/office/drawing/2014/main" id="{9D566584-F870-7CFA-C9A5-F6D7E8EF0D26}"/>
                  </a:ext>
                </a:extLst>
              </p:cNvPr>
              <p:cNvSpPr/>
              <p:nvPr/>
            </p:nvSpPr>
            <p:spPr>
              <a:xfrm>
                <a:off x="7092907" y="3568517"/>
                <a:ext cx="91453" cy="170705"/>
              </a:xfrm>
              <a:custGeom>
                <a:avLst/>
                <a:gdLst>
                  <a:gd name="connsiteX0" fmla="*/ 74970 w 91453"/>
                  <a:gd name="connsiteY0" fmla="*/ 170705 h 170705"/>
                  <a:gd name="connsiteX1" fmla="*/ 74073 w 91453"/>
                  <a:gd name="connsiteY1" fmla="*/ 170648 h 170705"/>
                  <a:gd name="connsiteX2" fmla="*/ 68562 w 91453"/>
                  <a:gd name="connsiteY2" fmla="*/ 163344 h 170705"/>
                  <a:gd name="connsiteX3" fmla="*/ 77868 w 91453"/>
                  <a:gd name="connsiteY3" fmla="*/ 96810 h 170705"/>
                  <a:gd name="connsiteX4" fmla="*/ 23672 w 91453"/>
                  <a:gd name="connsiteY4" fmla="*/ 74784 h 170705"/>
                  <a:gd name="connsiteX5" fmla="*/ 22833 w 91453"/>
                  <a:gd name="connsiteY5" fmla="*/ 74364 h 170705"/>
                  <a:gd name="connsiteX6" fmla="*/ 1303 w 91453"/>
                  <a:gd name="connsiteY6" fmla="*/ 35004 h 170705"/>
                  <a:gd name="connsiteX7" fmla="*/ 6 w 91453"/>
                  <a:gd name="connsiteY7" fmla="*/ 6762 h 170705"/>
                  <a:gd name="connsiteX8" fmla="*/ 6185 w 91453"/>
                  <a:gd name="connsiteY8" fmla="*/ 11 h 170705"/>
                  <a:gd name="connsiteX9" fmla="*/ 12935 w 91453"/>
                  <a:gd name="connsiteY9" fmla="*/ 6190 h 170705"/>
                  <a:gd name="connsiteX10" fmla="*/ 14232 w 91453"/>
                  <a:gd name="connsiteY10" fmla="*/ 34966 h 170705"/>
                  <a:gd name="connsiteX11" fmla="*/ 29011 w 91453"/>
                  <a:gd name="connsiteY11" fmla="*/ 62999 h 170705"/>
                  <a:gd name="connsiteX12" fmla="*/ 87422 w 91453"/>
                  <a:gd name="connsiteY12" fmla="*/ 86741 h 170705"/>
                  <a:gd name="connsiteX13" fmla="*/ 91389 w 91453"/>
                  <a:gd name="connsiteY13" fmla="*/ 93644 h 170705"/>
                  <a:gd name="connsiteX14" fmla="*/ 81377 w 91453"/>
                  <a:gd name="connsiteY14" fmla="*/ 165175 h 170705"/>
                  <a:gd name="connsiteX15" fmla="*/ 74970 w 91453"/>
                  <a:gd name="connsiteY15" fmla="*/ 170705 h 1707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91453" h="170705">
                    <a:moveTo>
                      <a:pt x="74970" y="170705"/>
                    </a:moveTo>
                    <a:cubicBezTo>
                      <a:pt x="74665" y="170705"/>
                      <a:pt x="74359" y="170686"/>
                      <a:pt x="74073" y="170648"/>
                    </a:cubicBezTo>
                    <a:cubicBezTo>
                      <a:pt x="70526" y="170152"/>
                      <a:pt x="68066" y="166872"/>
                      <a:pt x="68562" y="163344"/>
                    </a:cubicBezTo>
                    <a:lnTo>
                      <a:pt x="77868" y="96810"/>
                    </a:lnTo>
                    <a:lnTo>
                      <a:pt x="23672" y="74784"/>
                    </a:lnTo>
                    <a:cubicBezTo>
                      <a:pt x="23386" y="74670"/>
                      <a:pt x="23100" y="74517"/>
                      <a:pt x="22833" y="74364"/>
                    </a:cubicBezTo>
                    <a:cubicBezTo>
                      <a:pt x="8950" y="66183"/>
                      <a:pt x="693" y="51099"/>
                      <a:pt x="1303" y="35004"/>
                    </a:cubicBezTo>
                    <a:lnTo>
                      <a:pt x="6" y="6762"/>
                    </a:lnTo>
                    <a:cubicBezTo>
                      <a:pt x="-147" y="3196"/>
                      <a:pt x="2619" y="164"/>
                      <a:pt x="6185" y="11"/>
                    </a:cubicBezTo>
                    <a:cubicBezTo>
                      <a:pt x="9770" y="-199"/>
                      <a:pt x="12783" y="2624"/>
                      <a:pt x="12935" y="6190"/>
                    </a:cubicBezTo>
                    <a:lnTo>
                      <a:pt x="14232" y="34966"/>
                    </a:lnTo>
                    <a:cubicBezTo>
                      <a:pt x="13813" y="46675"/>
                      <a:pt x="19457" y="57182"/>
                      <a:pt x="29011" y="62999"/>
                    </a:cubicBezTo>
                    <a:lnTo>
                      <a:pt x="87422" y="86741"/>
                    </a:lnTo>
                    <a:cubicBezTo>
                      <a:pt x="90168" y="87866"/>
                      <a:pt x="91808" y="90707"/>
                      <a:pt x="91389" y="93644"/>
                    </a:cubicBezTo>
                    <a:lnTo>
                      <a:pt x="81377" y="165175"/>
                    </a:lnTo>
                    <a:cubicBezTo>
                      <a:pt x="80919" y="168360"/>
                      <a:pt x="78154" y="170705"/>
                      <a:pt x="74970" y="170705"/>
                    </a:cubicBezTo>
                    <a:close/>
                  </a:path>
                </a:pathLst>
              </a:custGeom>
              <a:grpFill/>
              <a:ln w="190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164" name="Freihandform: Form 1069">
                <a:extLst>
                  <a:ext uri="{FF2B5EF4-FFF2-40B4-BE49-F238E27FC236}">
                    <a16:creationId xmlns:a16="http://schemas.microsoft.com/office/drawing/2014/main" id="{82C8E86A-3614-D6D9-7CF6-B53608E9F727}"/>
                  </a:ext>
                </a:extLst>
              </p:cNvPr>
              <p:cNvSpPr/>
              <p:nvPr/>
            </p:nvSpPr>
            <p:spPr>
              <a:xfrm>
                <a:off x="7182218" y="3499286"/>
                <a:ext cx="87395" cy="18611"/>
              </a:xfrm>
              <a:custGeom>
                <a:avLst/>
                <a:gdLst>
                  <a:gd name="connsiteX0" fmla="*/ 6464 w 87395"/>
                  <a:gd name="connsiteY0" fmla="*/ 18612 h 18611"/>
                  <a:gd name="connsiteX1" fmla="*/ 18 w 87395"/>
                  <a:gd name="connsiteY1" fmla="*/ 12624 h 18611"/>
                  <a:gd name="connsiteX2" fmla="*/ 5987 w 87395"/>
                  <a:gd name="connsiteY2" fmla="*/ 5682 h 18611"/>
                  <a:gd name="connsiteX3" fmla="*/ 80436 w 87395"/>
                  <a:gd name="connsiteY3" fmla="*/ 18 h 18611"/>
                  <a:gd name="connsiteX4" fmla="*/ 87377 w 87395"/>
                  <a:gd name="connsiteY4" fmla="*/ 5987 h 18611"/>
                  <a:gd name="connsiteX5" fmla="*/ 81408 w 87395"/>
                  <a:gd name="connsiteY5" fmla="*/ 12929 h 18611"/>
                  <a:gd name="connsiteX6" fmla="*/ 6960 w 87395"/>
                  <a:gd name="connsiteY6" fmla="*/ 18592 h 18611"/>
                  <a:gd name="connsiteX7" fmla="*/ 6464 w 87395"/>
                  <a:gd name="connsiteY7" fmla="*/ 18612 h 186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87395" h="18611">
                    <a:moveTo>
                      <a:pt x="6464" y="18612"/>
                    </a:moveTo>
                    <a:cubicBezTo>
                      <a:pt x="3108" y="18612"/>
                      <a:pt x="266" y="16018"/>
                      <a:pt x="18" y="12624"/>
                    </a:cubicBezTo>
                    <a:cubicBezTo>
                      <a:pt x="-249" y="9058"/>
                      <a:pt x="2421" y="5949"/>
                      <a:pt x="5987" y="5682"/>
                    </a:cubicBezTo>
                    <a:lnTo>
                      <a:pt x="80436" y="18"/>
                    </a:lnTo>
                    <a:cubicBezTo>
                      <a:pt x="84116" y="-249"/>
                      <a:pt x="87110" y="2421"/>
                      <a:pt x="87377" y="5987"/>
                    </a:cubicBezTo>
                    <a:cubicBezTo>
                      <a:pt x="87644" y="9553"/>
                      <a:pt x="84975" y="12662"/>
                      <a:pt x="81408" y="12929"/>
                    </a:cubicBezTo>
                    <a:lnTo>
                      <a:pt x="6960" y="18592"/>
                    </a:lnTo>
                    <a:cubicBezTo>
                      <a:pt x="6788" y="18592"/>
                      <a:pt x="6636" y="18612"/>
                      <a:pt x="6464" y="18612"/>
                    </a:cubicBezTo>
                    <a:close/>
                  </a:path>
                </a:pathLst>
              </a:custGeom>
              <a:grpFill/>
              <a:ln w="190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165" name="Freihandform: Form 1070">
                <a:extLst>
                  <a:ext uri="{FF2B5EF4-FFF2-40B4-BE49-F238E27FC236}">
                    <a16:creationId xmlns:a16="http://schemas.microsoft.com/office/drawing/2014/main" id="{AAC30CAD-3221-06AA-F6D2-118DACE061BC}"/>
                  </a:ext>
                </a:extLst>
              </p:cNvPr>
              <p:cNvSpPr/>
              <p:nvPr/>
            </p:nvSpPr>
            <p:spPr>
              <a:xfrm>
                <a:off x="7155236" y="3463092"/>
                <a:ext cx="123165" cy="20766"/>
              </a:xfrm>
              <a:custGeom>
                <a:avLst/>
                <a:gdLst>
                  <a:gd name="connsiteX0" fmla="*/ 116704 w 123165"/>
                  <a:gd name="connsiteY0" fmla="*/ 20766 h 20766"/>
                  <a:gd name="connsiteX1" fmla="*/ 116247 w 123165"/>
                  <a:gd name="connsiteY1" fmla="*/ 20747 h 20766"/>
                  <a:gd name="connsiteX2" fmla="*/ 6023 w 123165"/>
                  <a:gd name="connsiteY2" fmla="*/ 12928 h 20766"/>
                  <a:gd name="connsiteX3" fmla="*/ 16 w 123165"/>
                  <a:gd name="connsiteY3" fmla="*/ 6025 h 20766"/>
                  <a:gd name="connsiteX4" fmla="*/ 6919 w 123165"/>
                  <a:gd name="connsiteY4" fmla="*/ 18 h 20766"/>
                  <a:gd name="connsiteX5" fmla="*/ 117143 w 123165"/>
                  <a:gd name="connsiteY5" fmla="*/ 7837 h 20766"/>
                  <a:gd name="connsiteX6" fmla="*/ 123150 w 123165"/>
                  <a:gd name="connsiteY6" fmla="*/ 14740 h 20766"/>
                  <a:gd name="connsiteX7" fmla="*/ 116704 w 123165"/>
                  <a:gd name="connsiteY7" fmla="*/ 20766 h 207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23165" h="20766">
                    <a:moveTo>
                      <a:pt x="116704" y="20766"/>
                    </a:moveTo>
                    <a:cubicBezTo>
                      <a:pt x="116552" y="20766"/>
                      <a:pt x="116399" y="20766"/>
                      <a:pt x="116247" y="20747"/>
                    </a:cubicBezTo>
                    <a:lnTo>
                      <a:pt x="6023" y="12928"/>
                    </a:lnTo>
                    <a:cubicBezTo>
                      <a:pt x="2457" y="12680"/>
                      <a:pt x="-232" y="9591"/>
                      <a:pt x="16" y="6025"/>
                    </a:cubicBezTo>
                    <a:cubicBezTo>
                      <a:pt x="264" y="2459"/>
                      <a:pt x="3391" y="-249"/>
                      <a:pt x="6919" y="18"/>
                    </a:cubicBezTo>
                    <a:lnTo>
                      <a:pt x="117143" y="7837"/>
                    </a:lnTo>
                    <a:cubicBezTo>
                      <a:pt x="120709" y="8085"/>
                      <a:pt x="123398" y="11174"/>
                      <a:pt x="123150" y="14740"/>
                    </a:cubicBezTo>
                    <a:cubicBezTo>
                      <a:pt x="122921" y="18154"/>
                      <a:pt x="120080" y="20766"/>
                      <a:pt x="116704" y="20766"/>
                    </a:cubicBezTo>
                    <a:close/>
                  </a:path>
                </a:pathLst>
              </a:custGeom>
              <a:grpFill/>
              <a:ln w="190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166" name="Freihandform: Form 1071">
                <a:extLst>
                  <a:ext uri="{FF2B5EF4-FFF2-40B4-BE49-F238E27FC236}">
                    <a16:creationId xmlns:a16="http://schemas.microsoft.com/office/drawing/2014/main" id="{500636D8-20C4-5626-D65E-96F4F9622538}"/>
                  </a:ext>
                </a:extLst>
              </p:cNvPr>
              <p:cNvSpPr/>
              <p:nvPr/>
            </p:nvSpPr>
            <p:spPr>
              <a:xfrm>
                <a:off x="7107956" y="3664722"/>
                <a:ext cx="35627" cy="74500"/>
              </a:xfrm>
              <a:custGeom>
                <a:avLst/>
                <a:gdLst>
                  <a:gd name="connsiteX0" fmla="*/ 6467 w 35627"/>
                  <a:gd name="connsiteY0" fmla="*/ 74501 h 74500"/>
                  <a:gd name="connsiteX1" fmla="*/ 4236 w 35627"/>
                  <a:gd name="connsiteY1" fmla="*/ 74100 h 74500"/>
                  <a:gd name="connsiteX2" fmla="*/ 403 w 35627"/>
                  <a:gd name="connsiteY2" fmla="*/ 65786 h 74500"/>
                  <a:gd name="connsiteX3" fmla="*/ 23077 w 35627"/>
                  <a:gd name="connsiteY3" fmla="*/ 4228 h 74500"/>
                  <a:gd name="connsiteX4" fmla="*/ 31391 w 35627"/>
                  <a:gd name="connsiteY4" fmla="*/ 395 h 74500"/>
                  <a:gd name="connsiteX5" fmla="*/ 35224 w 35627"/>
                  <a:gd name="connsiteY5" fmla="*/ 8710 h 74500"/>
                  <a:gd name="connsiteX6" fmla="*/ 12551 w 35627"/>
                  <a:gd name="connsiteY6" fmla="*/ 70267 h 74500"/>
                  <a:gd name="connsiteX7" fmla="*/ 6467 w 35627"/>
                  <a:gd name="connsiteY7" fmla="*/ 74501 h 745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5627" h="74500">
                    <a:moveTo>
                      <a:pt x="6467" y="74501"/>
                    </a:moveTo>
                    <a:cubicBezTo>
                      <a:pt x="5723" y="74501"/>
                      <a:pt x="4961" y="74367"/>
                      <a:pt x="4236" y="74100"/>
                    </a:cubicBezTo>
                    <a:cubicBezTo>
                      <a:pt x="880" y="72861"/>
                      <a:pt x="-837" y="69142"/>
                      <a:pt x="403" y="65786"/>
                    </a:cubicBezTo>
                    <a:lnTo>
                      <a:pt x="23077" y="4228"/>
                    </a:lnTo>
                    <a:cubicBezTo>
                      <a:pt x="24317" y="872"/>
                      <a:pt x="28035" y="-825"/>
                      <a:pt x="31391" y="395"/>
                    </a:cubicBezTo>
                    <a:cubicBezTo>
                      <a:pt x="34748" y="1635"/>
                      <a:pt x="36464" y="5353"/>
                      <a:pt x="35224" y="8710"/>
                    </a:cubicBezTo>
                    <a:lnTo>
                      <a:pt x="12551" y="70267"/>
                    </a:lnTo>
                    <a:cubicBezTo>
                      <a:pt x="11578" y="72880"/>
                      <a:pt x="9099" y="74501"/>
                      <a:pt x="6467" y="74501"/>
                    </a:cubicBezTo>
                    <a:close/>
                  </a:path>
                </a:pathLst>
              </a:custGeom>
              <a:grpFill/>
              <a:ln w="190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167" name="Freihandform: Form 1072">
                <a:extLst>
                  <a:ext uri="{FF2B5EF4-FFF2-40B4-BE49-F238E27FC236}">
                    <a16:creationId xmlns:a16="http://schemas.microsoft.com/office/drawing/2014/main" id="{280A9F01-0613-21F8-7D1A-027293B48E88}"/>
                  </a:ext>
                </a:extLst>
              </p:cNvPr>
              <p:cNvSpPr/>
              <p:nvPr/>
            </p:nvSpPr>
            <p:spPr>
              <a:xfrm>
                <a:off x="7073928" y="3615863"/>
                <a:ext cx="36844" cy="123359"/>
              </a:xfrm>
              <a:custGeom>
                <a:avLst/>
                <a:gdLst>
                  <a:gd name="connsiteX0" fmla="*/ 6475 w 36844"/>
                  <a:gd name="connsiteY0" fmla="*/ 123360 h 123359"/>
                  <a:gd name="connsiteX1" fmla="*/ 5102 w 36844"/>
                  <a:gd name="connsiteY1" fmla="*/ 123208 h 123359"/>
                  <a:gd name="connsiteX2" fmla="*/ 144 w 36844"/>
                  <a:gd name="connsiteY2" fmla="*/ 115503 h 123359"/>
                  <a:gd name="connsiteX3" fmla="*/ 24038 w 36844"/>
                  <a:gd name="connsiteY3" fmla="*/ 5108 h 123359"/>
                  <a:gd name="connsiteX4" fmla="*/ 31743 w 36844"/>
                  <a:gd name="connsiteY4" fmla="*/ 150 h 123359"/>
                  <a:gd name="connsiteX5" fmla="*/ 36701 w 36844"/>
                  <a:gd name="connsiteY5" fmla="*/ 7854 h 123359"/>
                  <a:gd name="connsiteX6" fmla="*/ 12806 w 36844"/>
                  <a:gd name="connsiteY6" fmla="*/ 118249 h 123359"/>
                  <a:gd name="connsiteX7" fmla="*/ 6475 w 36844"/>
                  <a:gd name="connsiteY7" fmla="*/ 123360 h 1233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6844" h="123359">
                    <a:moveTo>
                      <a:pt x="6475" y="123360"/>
                    </a:moveTo>
                    <a:cubicBezTo>
                      <a:pt x="6017" y="123360"/>
                      <a:pt x="5560" y="123322"/>
                      <a:pt x="5102" y="123208"/>
                    </a:cubicBezTo>
                    <a:cubicBezTo>
                      <a:pt x="1612" y="122445"/>
                      <a:pt x="-600" y="119012"/>
                      <a:pt x="144" y="115503"/>
                    </a:cubicBezTo>
                    <a:lnTo>
                      <a:pt x="24038" y="5108"/>
                    </a:lnTo>
                    <a:cubicBezTo>
                      <a:pt x="24801" y="1618"/>
                      <a:pt x="28253" y="-613"/>
                      <a:pt x="31743" y="150"/>
                    </a:cubicBezTo>
                    <a:cubicBezTo>
                      <a:pt x="35232" y="912"/>
                      <a:pt x="37445" y="4345"/>
                      <a:pt x="36701" y="7854"/>
                    </a:cubicBezTo>
                    <a:lnTo>
                      <a:pt x="12806" y="118249"/>
                    </a:lnTo>
                    <a:cubicBezTo>
                      <a:pt x="12139" y="121281"/>
                      <a:pt x="9469" y="123360"/>
                      <a:pt x="6475" y="123360"/>
                    </a:cubicBezTo>
                    <a:close/>
                  </a:path>
                </a:pathLst>
              </a:custGeom>
              <a:grpFill/>
              <a:ln w="190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168" name="Freihandform: Form 1074">
                <a:extLst>
                  <a:ext uri="{FF2B5EF4-FFF2-40B4-BE49-F238E27FC236}">
                    <a16:creationId xmlns:a16="http://schemas.microsoft.com/office/drawing/2014/main" id="{5996E8F0-A227-E3CA-FBA6-7224E8F42A9E}"/>
                  </a:ext>
                </a:extLst>
              </p:cNvPr>
              <p:cNvSpPr/>
              <p:nvPr/>
            </p:nvSpPr>
            <p:spPr>
              <a:xfrm>
                <a:off x="6972410" y="3374035"/>
                <a:ext cx="71264" cy="80970"/>
              </a:xfrm>
              <a:custGeom>
                <a:avLst/>
                <a:gdLst>
                  <a:gd name="connsiteX0" fmla="*/ 35623 w 71264"/>
                  <a:gd name="connsiteY0" fmla="*/ 80971 h 80970"/>
                  <a:gd name="connsiteX1" fmla="*/ 0 w 71264"/>
                  <a:gd name="connsiteY1" fmla="*/ 40485 h 80970"/>
                  <a:gd name="connsiteX2" fmla="*/ 35623 w 71264"/>
                  <a:gd name="connsiteY2" fmla="*/ 0 h 80970"/>
                  <a:gd name="connsiteX3" fmla="*/ 71264 w 71264"/>
                  <a:gd name="connsiteY3" fmla="*/ 40485 h 80970"/>
                  <a:gd name="connsiteX4" fmla="*/ 35623 w 71264"/>
                  <a:gd name="connsiteY4" fmla="*/ 80971 h 80970"/>
                  <a:gd name="connsiteX5" fmla="*/ 35623 w 71264"/>
                  <a:gd name="connsiteY5" fmla="*/ 12948 h 80970"/>
                  <a:gd name="connsiteX6" fmla="*/ 12948 w 71264"/>
                  <a:gd name="connsiteY6" fmla="*/ 40485 h 80970"/>
                  <a:gd name="connsiteX7" fmla="*/ 35623 w 71264"/>
                  <a:gd name="connsiteY7" fmla="*/ 68022 h 80970"/>
                  <a:gd name="connsiteX8" fmla="*/ 58316 w 71264"/>
                  <a:gd name="connsiteY8" fmla="*/ 40485 h 80970"/>
                  <a:gd name="connsiteX9" fmla="*/ 35623 w 71264"/>
                  <a:gd name="connsiteY9" fmla="*/ 12948 h 809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71264" h="80970">
                    <a:moveTo>
                      <a:pt x="35623" y="80971"/>
                    </a:moveTo>
                    <a:cubicBezTo>
                      <a:pt x="14646" y="80971"/>
                      <a:pt x="0" y="64323"/>
                      <a:pt x="0" y="40485"/>
                    </a:cubicBezTo>
                    <a:cubicBezTo>
                      <a:pt x="0" y="16648"/>
                      <a:pt x="14646" y="0"/>
                      <a:pt x="35623" y="0"/>
                    </a:cubicBezTo>
                    <a:cubicBezTo>
                      <a:pt x="56599" y="0"/>
                      <a:pt x="71264" y="16648"/>
                      <a:pt x="71264" y="40485"/>
                    </a:cubicBezTo>
                    <a:cubicBezTo>
                      <a:pt x="71264" y="64323"/>
                      <a:pt x="56599" y="80971"/>
                      <a:pt x="35623" y="80971"/>
                    </a:cubicBezTo>
                    <a:close/>
                    <a:moveTo>
                      <a:pt x="35623" y="12948"/>
                    </a:moveTo>
                    <a:cubicBezTo>
                      <a:pt x="18879" y="12948"/>
                      <a:pt x="12948" y="27785"/>
                      <a:pt x="12948" y="40485"/>
                    </a:cubicBezTo>
                    <a:cubicBezTo>
                      <a:pt x="12948" y="53186"/>
                      <a:pt x="18879" y="68022"/>
                      <a:pt x="35623" y="68022"/>
                    </a:cubicBezTo>
                    <a:cubicBezTo>
                      <a:pt x="52366" y="68022"/>
                      <a:pt x="58316" y="53186"/>
                      <a:pt x="58316" y="40485"/>
                    </a:cubicBezTo>
                    <a:cubicBezTo>
                      <a:pt x="58316" y="27785"/>
                      <a:pt x="52366" y="12948"/>
                      <a:pt x="35623" y="12948"/>
                    </a:cubicBezTo>
                    <a:close/>
                  </a:path>
                </a:pathLst>
              </a:custGeom>
              <a:grpFill/>
              <a:ln w="190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169" name="Freihandform: Form 1075">
                <a:extLst>
                  <a:ext uri="{FF2B5EF4-FFF2-40B4-BE49-F238E27FC236}">
                    <a16:creationId xmlns:a16="http://schemas.microsoft.com/office/drawing/2014/main" id="{871A5775-4DEB-E3C6-F0D8-8B37AD87E6A0}"/>
                  </a:ext>
                </a:extLst>
              </p:cNvPr>
              <p:cNvSpPr/>
              <p:nvPr/>
            </p:nvSpPr>
            <p:spPr>
              <a:xfrm>
                <a:off x="6923082" y="3461478"/>
                <a:ext cx="150505" cy="277744"/>
              </a:xfrm>
              <a:custGeom>
                <a:avLst/>
                <a:gdLst>
                  <a:gd name="connsiteX0" fmla="*/ 131519 w 150505"/>
                  <a:gd name="connsiteY0" fmla="*/ 277744 h 277744"/>
                  <a:gd name="connsiteX1" fmla="*/ 130566 w 150505"/>
                  <a:gd name="connsiteY1" fmla="*/ 277668 h 277744"/>
                  <a:gd name="connsiteX2" fmla="*/ 125112 w 150505"/>
                  <a:gd name="connsiteY2" fmla="*/ 270326 h 277744"/>
                  <a:gd name="connsiteX3" fmla="*/ 137145 w 150505"/>
                  <a:gd name="connsiteY3" fmla="*/ 188268 h 277744"/>
                  <a:gd name="connsiteX4" fmla="*/ 96545 w 150505"/>
                  <a:gd name="connsiteY4" fmla="*/ 138649 h 277744"/>
                  <a:gd name="connsiteX5" fmla="*/ 95191 w 150505"/>
                  <a:gd name="connsiteY5" fmla="*/ 133404 h 277744"/>
                  <a:gd name="connsiteX6" fmla="*/ 112487 w 150505"/>
                  <a:gd name="connsiteY6" fmla="*/ 36644 h 277744"/>
                  <a:gd name="connsiteX7" fmla="*/ 109455 w 150505"/>
                  <a:gd name="connsiteY7" fmla="*/ 23047 h 277744"/>
                  <a:gd name="connsiteX8" fmla="*/ 97632 w 150505"/>
                  <a:gd name="connsiteY8" fmla="*/ 15667 h 277744"/>
                  <a:gd name="connsiteX9" fmla="*/ 85599 w 150505"/>
                  <a:gd name="connsiteY9" fmla="*/ 13703 h 277744"/>
                  <a:gd name="connsiteX10" fmla="*/ 26692 w 150505"/>
                  <a:gd name="connsiteY10" fmla="*/ 42517 h 277744"/>
                  <a:gd name="connsiteX11" fmla="*/ 15174 w 150505"/>
                  <a:gd name="connsiteY11" fmla="*/ 63647 h 277744"/>
                  <a:gd name="connsiteX12" fmla="*/ 17329 w 150505"/>
                  <a:gd name="connsiteY12" fmla="*/ 84948 h 277744"/>
                  <a:gd name="connsiteX13" fmla="*/ 50224 w 150505"/>
                  <a:gd name="connsiteY13" fmla="*/ 123812 h 277744"/>
                  <a:gd name="connsiteX14" fmla="*/ 55278 w 150505"/>
                  <a:gd name="connsiteY14" fmla="*/ 126310 h 277744"/>
                  <a:gd name="connsiteX15" fmla="*/ 60560 w 150505"/>
                  <a:gd name="connsiteY15" fmla="*/ 124346 h 277744"/>
                  <a:gd name="connsiteX16" fmla="*/ 61571 w 150505"/>
                  <a:gd name="connsiteY16" fmla="*/ 115288 h 277744"/>
                  <a:gd name="connsiteX17" fmla="*/ 39107 w 150505"/>
                  <a:gd name="connsiteY17" fmla="*/ 81420 h 277744"/>
                  <a:gd name="connsiteX18" fmla="*/ 38782 w 150505"/>
                  <a:gd name="connsiteY18" fmla="*/ 74822 h 277744"/>
                  <a:gd name="connsiteX19" fmla="*/ 53752 w 150505"/>
                  <a:gd name="connsiteY19" fmla="*/ 46484 h 277744"/>
                  <a:gd name="connsiteX20" fmla="*/ 62505 w 150505"/>
                  <a:gd name="connsiteY20" fmla="*/ 43776 h 277744"/>
                  <a:gd name="connsiteX21" fmla="*/ 65213 w 150505"/>
                  <a:gd name="connsiteY21" fmla="*/ 52529 h 277744"/>
                  <a:gd name="connsiteX22" fmla="*/ 52036 w 150505"/>
                  <a:gd name="connsiteY22" fmla="*/ 77472 h 277744"/>
                  <a:gd name="connsiteX23" fmla="*/ 72383 w 150505"/>
                  <a:gd name="connsiteY23" fmla="*/ 108137 h 277744"/>
                  <a:gd name="connsiteX24" fmla="*/ 69542 w 150505"/>
                  <a:gd name="connsiteY24" fmla="*/ 133709 h 277744"/>
                  <a:gd name="connsiteX25" fmla="*/ 54648 w 150505"/>
                  <a:gd name="connsiteY25" fmla="*/ 139240 h 277744"/>
                  <a:gd name="connsiteX26" fmla="*/ 40384 w 150505"/>
                  <a:gd name="connsiteY26" fmla="*/ 132165 h 277744"/>
                  <a:gd name="connsiteX27" fmla="*/ 7508 w 150505"/>
                  <a:gd name="connsiteY27" fmla="*/ 93300 h 277744"/>
                  <a:gd name="connsiteX28" fmla="*/ 3865 w 150505"/>
                  <a:gd name="connsiteY28" fmla="*/ 57430 h 277744"/>
                  <a:gd name="connsiteX29" fmla="*/ 15384 w 150505"/>
                  <a:gd name="connsiteY29" fmla="*/ 36301 h 277744"/>
                  <a:gd name="connsiteX30" fmla="*/ 87754 w 150505"/>
                  <a:gd name="connsiteY30" fmla="*/ 907 h 277744"/>
                  <a:gd name="connsiteX31" fmla="*/ 99787 w 150505"/>
                  <a:gd name="connsiteY31" fmla="*/ 2871 h 277744"/>
                  <a:gd name="connsiteX32" fmla="*/ 120096 w 150505"/>
                  <a:gd name="connsiteY32" fmla="*/ 15552 h 277744"/>
                  <a:gd name="connsiteX33" fmla="*/ 125302 w 150505"/>
                  <a:gd name="connsiteY33" fmla="*/ 38913 h 277744"/>
                  <a:gd name="connsiteX34" fmla="*/ 108521 w 150505"/>
                  <a:gd name="connsiteY34" fmla="*/ 132737 h 277744"/>
                  <a:gd name="connsiteX35" fmla="*/ 149044 w 150505"/>
                  <a:gd name="connsiteY35" fmla="*/ 182261 h 277744"/>
                  <a:gd name="connsiteX36" fmla="*/ 150436 w 150505"/>
                  <a:gd name="connsiteY36" fmla="*/ 187296 h 277744"/>
                  <a:gd name="connsiteX37" fmla="*/ 138003 w 150505"/>
                  <a:gd name="connsiteY37" fmla="*/ 272195 h 277744"/>
                  <a:gd name="connsiteX38" fmla="*/ 131519 w 150505"/>
                  <a:gd name="connsiteY38" fmla="*/ 277744 h 2777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</a:cxnLst>
                <a:rect l="l" t="t" r="r" b="b"/>
                <a:pathLst>
                  <a:path w="150505" h="277744">
                    <a:moveTo>
                      <a:pt x="131519" y="277744"/>
                    </a:moveTo>
                    <a:cubicBezTo>
                      <a:pt x="131214" y="277744"/>
                      <a:pt x="130890" y="277725"/>
                      <a:pt x="130566" y="277668"/>
                    </a:cubicBezTo>
                    <a:cubicBezTo>
                      <a:pt x="127038" y="277153"/>
                      <a:pt x="124578" y="273854"/>
                      <a:pt x="125112" y="270326"/>
                    </a:cubicBezTo>
                    <a:lnTo>
                      <a:pt x="137145" y="188268"/>
                    </a:lnTo>
                    <a:lnTo>
                      <a:pt x="96545" y="138649"/>
                    </a:lnTo>
                    <a:cubicBezTo>
                      <a:pt x="95344" y="137180"/>
                      <a:pt x="94848" y="135273"/>
                      <a:pt x="95191" y="133404"/>
                    </a:cubicBezTo>
                    <a:lnTo>
                      <a:pt x="112487" y="36644"/>
                    </a:lnTo>
                    <a:cubicBezTo>
                      <a:pt x="113346" y="31838"/>
                      <a:pt x="112259" y="27014"/>
                      <a:pt x="109455" y="23047"/>
                    </a:cubicBezTo>
                    <a:cubicBezTo>
                      <a:pt x="106633" y="19080"/>
                      <a:pt x="102437" y="16468"/>
                      <a:pt x="97632" y="15667"/>
                    </a:cubicBezTo>
                    <a:lnTo>
                      <a:pt x="85599" y="13703"/>
                    </a:lnTo>
                    <a:cubicBezTo>
                      <a:pt x="61914" y="9832"/>
                      <a:pt x="38210" y="21407"/>
                      <a:pt x="26692" y="42517"/>
                    </a:cubicBezTo>
                    <a:lnTo>
                      <a:pt x="15174" y="63647"/>
                    </a:lnTo>
                    <a:cubicBezTo>
                      <a:pt x="11455" y="70474"/>
                      <a:pt x="12313" y="79036"/>
                      <a:pt x="17329" y="84948"/>
                    </a:cubicBezTo>
                    <a:lnTo>
                      <a:pt x="50224" y="123812"/>
                    </a:lnTo>
                    <a:cubicBezTo>
                      <a:pt x="51502" y="125319"/>
                      <a:pt x="53295" y="126215"/>
                      <a:pt x="55278" y="126310"/>
                    </a:cubicBezTo>
                    <a:cubicBezTo>
                      <a:pt x="57318" y="126425"/>
                      <a:pt x="59130" y="125719"/>
                      <a:pt x="60560" y="124346"/>
                    </a:cubicBezTo>
                    <a:cubicBezTo>
                      <a:pt x="63039" y="121962"/>
                      <a:pt x="63478" y="118149"/>
                      <a:pt x="61571" y="115288"/>
                    </a:cubicBezTo>
                    <a:lnTo>
                      <a:pt x="39107" y="81420"/>
                    </a:lnTo>
                    <a:cubicBezTo>
                      <a:pt x="37791" y="79456"/>
                      <a:pt x="37657" y="76919"/>
                      <a:pt x="38782" y="74822"/>
                    </a:cubicBezTo>
                    <a:lnTo>
                      <a:pt x="53752" y="46484"/>
                    </a:lnTo>
                    <a:cubicBezTo>
                      <a:pt x="55411" y="43318"/>
                      <a:pt x="59340" y="42098"/>
                      <a:pt x="62505" y="43776"/>
                    </a:cubicBezTo>
                    <a:cubicBezTo>
                      <a:pt x="65671" y="45454"/>
                      <a:pt x="66872" y="49363"/>
                      <a:pt x="65213" y="52529"/>
                    </a:cubicBezTo>
                    <a:lnTo>
                      <a:pt x="52036" y="77472"/>
                    </a:lnTo>
                    <a:lnTo>
                      <a:pt x="72383" y="108137"/>
                    </a:lnTo>
                    <a:cubicBezTo>
                      <a:pt x="77761" y="116222"/>
                      <a:pt x="76560" y="126978"/>
                      <a:pt x="69542" y="133709"/>
                    </a:cubicBezTo>
                    <a:cubicBezTo>
                      <a:pt x="65576" y="137504"/>
                      <a:pt x="60217" y="139564"/>
                      <a:pt x="54648" y="139240"/>
                    </a:cubicBezTo>
                    <a:cubicBezTo>
                      <a:pt x="49156" y="138954"/>
                      <a:pt x="43950" y="136379"/>
                      <a:pt x="40384" y="132165"/>
                    </a:cubicBezTo>
                    <a:lnTo>
                      <a:pt x="7508" y="93300"/>
                    </a:lnTo>
                    <a:cubicBezTo>
                      <a:pt x="-940" y="83327"/>
                      <a:pt x="-2409" y="68910"/>
                      <a:pt x="3865" y="57430"/>
                    </a:cubicBezTo>
                    <a:lnTo>
                      <a:pt x="15384" y="36301"/>
                    </a:lnTo>
                    <a:cubicBezTo>
                      <a:pt x="29514" y="10365"/>
                      <a:pt x="58596" y="-3842"/>
                      <a:pt x="87754" y="907"/>
                    </a:cubicBezTo>
                    <a:lnTo>
                      <a:pt x="99787" y="2871"/>
                    </a:lnTo>
                    <a:cubicBezTo>
                      <a:pt x="108044" y="4225"/>
                      <a:pt x="115253" y="8725"/>
                      <a:pt x="120096" y="15552"/>
                    </a:cubicBezTo>
                    <a:cubicBezTo>
                      <a:pt x="124940" y="22380"/>
                      <a:pt x="126790" y="30675"/>
                      <a:pt x="125302" y="38913"/>
                    </a:cubicBezTo>
                    <a:lnTo>
                      <a:pt x="108521" y="132737"/>
                    </a:lnTo>
                    <a:lnTo>
                      <a:pt x="149044" y="182261"/>
                    </a:lnTo>
                    <a:cubicBezTo>
                      <a:pt x="150189" y="183673"/>
                      <a:pt x="150703" y="185503"/>
                      <a:pt x="150436" y="187296"/>
                    </a:cubicBezTo>
                    <a:lnTo>
                      <a:pt x="138003" y="272195"/>
                    </a:lnTo>
                    <a:cubicBezTo>
                      <a:pt x="137450" y="275437"/>
                      <a:pt x="134685" y="277744"/>
                      <a:pt x="131519" y="277744"/>
                    </a:cubicBezTo>
                    <a:close/>
                  </a:path>
                </a:pathLst>
              </a:custGeom>
              <a:grpFill/>
              <a:ln w="190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170" name="Freihandform: Form 1076">
                <a:extLst>
                  <a:ext uri="{FF2B5EF4-FFF2-40B4-BE49-F238E27FC236}">
                    <a16:creationId xmlns:a16="http://schemas.microsoft.com/office/drawing/2014/main" id="{01F0A460-F32F-FA18-CA38-E08A9D89A590}"/>
                  </a:ext>
                </a:extLst>
              </p:cNvPr>
              <p:cNvSpPr/>
              <p:nvPr/>
            </p:nvSpPr>
            <p:spPr>
              <a:xfrm>
                <a:off x="6945630" y="3568517"/>
                <a:ext cx="91453" cy="170705"/>
              </a:xfrm>
              <a:custGeom>
                <a:avLst/>
                <a:gdLst>
                  <a:gd name="connsiteX0" fmla="*/ 74970 w 91453"/>
                  <a:gd name="connsiteY0" fmla="*/ 170705 h 170705"/>
                  <a:gd name="connsiteX1" fmla="*/ 74073 w 91453"/>
                  <a:gd name="connsiteY1" fmla="*/ 170648 h 170705"/>
                  <a:gd name="connsiteX2" fmla="*/ 68562 w 91453"/>
                  <a:gd name="connsiteY2" fmla="*/ 163344 h 170705"/>
                  <a:gd name="connsiteX3" fmla="*/ 77868 w 91453"/>
                  <a:gd name="connsiteY3" fmla="*/ 96810 h 170705"/>
                  <a:gd name="connsiteX4" fmla="*/ 23672 w 91453"/>
                  <a:gd name="connsiteY4" fmla="*/ 74784 h 170705"/>
                  <a:gd name="connsiteX5" fmla="*/ 22833 w 91453"/>
                  <a:gd name="connsiteY5" fmla="*/ 74364 h 170705"/>
                  <a:gd name="connsiteX6" fmla="*/ 1303 w 91453"/>
                  <a:gd name="connsiteY6" fmla="*/ 35004 h 170705"/>
                  <a:gd name="connsiteX7" fmla="*/ 6 w 91453"/>
                  <a:gd name="connsiteY7" fmla="*/ 6762 h 170705"/>
                  <a:gd name="connsiteX8" fmla="*/ 6185 w 91453"/>
                  <a:gd name="connsiteY8" fmla="*/ 11 h 170705"/>
                  <a:gd name="connsiteX9" fmla="*/ 12935 w 91453"/>
                  <a:gd name="connsiteY9" fmla="*/ 6190 h 170705"/>
                  <a:gd name="connsiteX10" fmla="*/ 14232 w 91453"/>
                  <a:gd name="connsiteY10" fmla="*/ 34966 h 170705"/>
                  <a:gd name="connsiteX11" fmla="*/ 29011 w 91453"/>
                  <a:gd name="connsiteY11" fmla="*/ 62999 h 170705"/>
                  <a:gd name="connsiteX12" fmla="*/ 87422 w 91453"/>
                  <a:gd name="connsiteY12" fmla="*/ 86741 h 170705"/>
                  <a:gd name="connsiteX13" fmla="*/ 91389 w 91453"/>
                  <a:gd name="connsiteY13" fmla="*/ 93644 h 170705"/>
                  <a:gd name="connsiteX14" fmla="*/ 81377 w 91453"/>
                  <a:gd name="connsiteY14" fmla="*/ 165175 h 170705"/>
                  <a:gd name="connsiteX15" fmla="*/ 74970 w 91453"/>
                  <a:gd name="connsiteY15" fmla="*/ 170705 h 1707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91453" h="170705">
                    <a:moveTo>
                      <a:pt x="74970" y="170705"/>
                    </a:moveTo>
                    <a:cubicBezTo>
                      <a:pt x="74664" y="170705"/>
                      <a:pt x="74359" y="170686"/>
                      <a:pt x="74073" y="170648"/>
                    </a:cubicBezTo>
                    <a:cubicBezTo>
                      <a:pt x="70526" y="170152"/>
                      <a:pt x="68066" y="166872"/>
                      <a:pt x="68562" y="163344"/>
                    </a:cubicBezTo>
                    <a:lnTo>
                      <a:pt x="77868" y="96810"/>
                    </a:lnTo>
                    <a:lnTo>
                      <a:pt x="23672" y="74784"/>
                    </a:lnTo>
                    <a:cubicBezTo>
                      <a:pt x="23386" y="74670"/>
                      <a:pt x="23100" y="74517"/>
                      <a:pt x="22833" y="74364"/>
                    </a:cubicBezTo>
                    <a:cubicBezTo>
                      <a:pt x="8950" y="66183"/>
                      <a:pt x="693" y="51099"/>
                      <a:pt x="1303" y="35004"/>
                    </a:cubicBezTo>
                    <a:lnTo>
                      <a:pt x="6" y="6762"/>
                    </a:lnTo>
                    <a:cubicBezTo>
                      <a:pt x="-147" y="3196"/>
                      <a:pt x="2619" y="164"/>
                      <a:pt x="6185" y="11"/>
                    </a:cubicBezTo>
                    <a:cubicBezTo>
                      <a:pt x="9693" y="-199"/>
                      <a:pt x="12783" y="2624"/>
                      <a:pt x="12935" y="6190"/>
                    </a:cubicBezTo>
                    <a:lnTo>
                      <a:pt x="14232" y="34966"/>
                    </a:lnTo>
                    <a:cubicBezTo>
                      <a:pt x="13813" y="46675"/>
                      <a:pt x="19457" y="57182"/>
                      <a:pt x="29011" y="62999"/>
                    </a:cubicBezTo>
                    <a:lnTo>
                      <a:pt x="87422" y="86741"/>
                    </a:lnTo>
                    <a:cubicBezTo>
                      <a:pt x="90168" y="87866"/>
                      <a:pt x="91808" y="90707"/>
                      <a:pt x="91389" y="93644"/>
                    </a:cubicBezTo>
                    <a:lnTo>
                      <a:pt x="81377" y="165175"/>
                    </a:lnTo>
                    <a:cubicBezTo>
                      <a:pt x="80919" y="168360"/>
                      <a:pt x="78154" y="170705"/>
                      <a:pt x="74970" y="170705"/>
                    </a:cubicBezTo>
                    <a:close/>
                  </a:path>
                </a:pathLst>
              </a:custGeom>
              <a:grpFill/>
              <a:ln w="190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171" name="Freihandform: Form 1077">
                <a:extLst>
                  <a:ext uri="{FF2B5EF4-FFF2-40B4-BE49-F238E27FC236}">
                    <a16:creationId xmlns:a16="http://schemas.microsoft.com/office/drawing/2014/main" id="{950D3597-3804-0AE1-1EB4-87FAFB86F85C}"/>
                  </a:ext>
                </a:extLst>
              </p:cNvPr>
              <p:cNvSpPr/>
              <p:nvPr/>
            </p:nvSpPr>
            <p:spPr>
              <a:xfrm>
                <a:off x="7034927" y="3502198"/>
                <a:ext cx="58151" cy="15699"/>
              </a:xfrm>
              <a:custGeom>
                <a:avLst/>
                <a:gdLst>
                  <a:gd name="connsiteX0" fmla="*/ 6478 w 58151"/>
                  <a:gd name="connsiteY0" fmla="*/ 15699 h 15699"/>
                  <a:gd name="connsiteX1" fmla="*/ 13 w 58151"/>
                  <a:gd name="connsiteY1" fmla="*/ 9616 h 15699"/>
                  <a:gd name="connsiteX2" fmla="*/ 6078 w 58151"/>
                  <a:gd name="connsiteY2" fmla="*/ 2770 h 15699"/>
                  <a:gd name="connsiteX3" fmla="*/ 51292 w 58151"/>
                  <a:gd name="connsiteY3" fmla="*/ 5 h 15699"/>
                  <a:gd name="connsiteX4" fmla="*/ 58138 w 58151"/>
                  <a:gd name="connsiteY4" fmla="*/ 6069 h 15699"/>
                  <a:gd name="connsiteX5" fmla="*/ 52074 w 58151"/>
                  <a:gd name="connsiteY5" fmla="*/ 12915 h 15699"/>
                  <a:gd name="connsiteX6" fmla="*/ 6860 w 58151"/>
                  <a:gd name="connsiteY6" fmla="*/ 15680 h 15699"/>
                  <a:gd name="connsiteX7" fmla="*/ 6478 w 58151"/>
                  <a:gd name="connsiteY7" fmla="*/ 15699 h 156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58151" h="15699">
                    <a:moveTo>
                      <a:pt x="6478" y="15699"/>
                    </a:moveTo>
                    <a:cubicBezTo>
                      <a:pt x="3084" y="15699"/>
                      <a:pt x="223" y="13049"/>
                      <a:pt x="13" y="9616"/>
                    </a:cubicBezTo>
                    <a:cubicBezTo>
                      <a:pt x="-215" y="6050"/>
                      <a:pt x="2512" y="2980"/>
                      <a:pt x="6078" y="2770"/>
                    </a:cubicBezTo>
                    <a:lnTo>
                      <a:pt x="51292" y="5"/>
                    </a:lnTo>
                    <a:cubicBezTo>
                      <a:pt x="54820" y="-129"/>
                      <a:pt x="57929" y="2503"/>
                      <a:pt x="58138" y="6069"/>
                    </a:cubicBezTo>
                    <a:cubicBezTo>
                      <a:pt x="58367" y="9635"/>
                      <a:pt x="55640" y="12705"/>
                      <a:pt x="52074" y="12915"/>
                    </a:cubicBezTo>
                    <a:lnTo>
                      <a:pt x="6860" y="15680"/>
                    </a:lnTo>
                    <a:cubicBezTo>
                      <a:pt x="6745" y="15680"/>
                      <a:pt x="6612" y="15699"/>
                      <a:pt x="6478" y="15699"/>
                    </a:cubicBezTo>
                    <a:close/>
                  </a:path>
                </a:pathLst>
              </a:custGeom>
              <a:grpFill/>
              <a:ln w="190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172" name="Freihandform: Form 1078">
                <a:extLst>
                  <a:ext uri="{FF2B5EF4-FFF2-40B4-BE49-F238E27FC236}">
                    <a16:creationId xmlns:a16="http://schemas.microsoft.com/office/drawing/2014/main" id="{870CAD20-D144-931D-82CF-3A202405F51E}"/>
                  </a:ext>
                </a:extLst>
              </p:cNvPr>
              <p:cNvSpPr/>
              <p:nvPr/>
            </p:nvSpPr>
            <p:spPr>
              <a:xfrm>
                <a:off x="7007955" y="3463091"/>
                <a:ext cx="110895" cy="20766"/>
              </a:xfrm>
              <a:custGeom>
                <a:avLst/>
                <a:gdLst>
                  <a:gd name="connsiteX0" fmla="*/ 104429 w 110895"/>
                  <a:gd name="connsiteY0" fmla="*/ 20767 h 20766"/>
                  <a:gd name="connsiteX1" fmla="*/ 103914 w 110895"/>
                  <a:gd name="connsiteY1" fmla="*/ 20747 h 20766"/>
                  <a:gd name="connsiteX2" fmla="*/ 5971 w 110895"/>
                  <a:gd name="connsiteY2" fmla="*/ 12929 h 20766"/>
                  <a:gd name="connsiteX3" fmla="*/ 21 w 110895"/>
                  <a:gd name="connsiteY3" fmla="*/ 5968 h 20766"/>
                  <a:gd name="connsiteX4" fmla="*/ 6981 w 110895"/>
                  <a:gd name="connsiteY4" fmla="*/ 19 h 20766"/>
                  <a:gd name="connsiteX5" fmla="*/ 104924 w 110895"/>
                  <a:gd name="connsiteY5" fmla="*/ 7837 h 20766"/>
                  <a:gd name="connsiteX6" fmla="*/ 110874 w 110895"/>
                  <a:gd name="connsiteY6" fmla="*/ 14798 h 20766"/>
                  <a:gd name="connsiteX7" fmla="*/ 104429 w 110895"/>
                  <a:gd name="connsiteY7" fmla="*/ 20767 h 207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10895" h="20766">
                    <a:moveTo>
                      <a:pt x="104429" y="20767"/>
                    </a:moveTo>
                    <a:cubicBezTo>
                      <a:pt x="104257" y="20767"/>
                      <a:pt x="104085" y="20767"/>
                      <a:pt x="103914" y="20747"/>
                    </a:cubicBezTo>
                    <a:lnTo>
                      <a:pt x="5971" y="12929"/>
                    </a:lnTo>
                    <a:cubicBezTo>
                      <a:pt x="2405" y="12643"/>
                      <a:pt x="-265" y="9515"/>
                      <a:pt x="21" y="5968"/>
                    </a:cubicBezTo>
                    <a:cubicBezTo>
                      <a:pt x="307" y="2402"/>
                      <a:pt x="3492" y="-248"/>
                      <a:pt x="6981" y="19"/>
                    </a:cubicBezTo>
                    <a:lnTo>
                      <a:pt x="104924" y="7837"/>
                    </a:lnTo>
                    <a:cubicBezTo>
                      <a:pt x="108490" y="8123"/>
                      <a:pt x="111160" y="11251"/>
                      <a:pt x="110874" y="14798"/>
                    </a:cubicBezTo>
                    <a:cubicBezTo>
                      <a:pt x="110607" y="18192"/>
                      <a:pt x="107766" y="20767"/>
                      <a:pt x="104429" y="20767"/>
                    </a:cubicBezTo>
                    <a:close/>
                  </a:path>
                </a:pathLst>
              </a:custGeom>
              <a:grpFill/>
              <a:ln w="190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173" name="Freihandform: Form 1079">
                <a:extLst>
                  <a:ext uri="{FF2B5EF4-FFF2-40B4-BE49-F238E27FC236}">
                    <a16:creationId xmlns:a16="http://schemas.microsoft.com/office/drawing/2014/main" id="{D8A5C438-F6D1-6986-53A8-12366DD3084C}"/>
                  </a:ext>
                </a:extLst>
              </p:cNvPr>
              <p:cNvSpPr/>
              <p:nvPr/>
            </p:nvSpPr>
            <p:spPr>
              <a:xfrm>
                <a:off x="6960648" y="3666328"/>
                <a:ext cx="35633" cy="72894"/>
              </a:xfrm>
              <a:custGeom>
                <a:avLst/>
                <a:gdLst>
                  <a:gd name="connsiteX0" fmla="*/ 6480 w 35633"/>
                  <a:gd name="connsiteY0" fmla="*/ 72895 h 72894"/>
                  <a:gd name="connsiteX1" fmla="*/ 4192 w 35633"/>
                  <a:gd name="connsiteY1" fmla="*/ 72475 h 72894"/>
                  <a:gd name="connsiteX2" fmla="*/ 416 w 35633"/>
                  <a:gd name="connsiteY2" fmla="*/ 64123 h 72894"/>
                  <a:gd name="connsiteX3" fmla="*/ 23090 w 35633"/>
                  <a:gd name="connsiteY3" fmla="*/ 4186 h 72894"/>
                  <a:gd name="connsiteX4" fmla="*/ 31442 w 35633"/>
                  <a:gd name="connsiteY4" fmla="*/ 410 h 72894"/>
                  <a:gd name="connsiteX5" fmla="*/ 35218 w 35633"/>
                  <a:gd name="connsiteY5" fmla="*/ 8763 h 72894"/>
                  <a:gd name="connsiteX6" fmla="*/ 12544 w 35633"/>
                  <a:gd name="connsiteY6" fmla="*/ 68700 h 72894"/>
                  <a:gd name="connsiteX7" fmla="*/ 6480 w 35633"/>
                  <a:gd name="connsiteY7" fmla="*/ 72895 h 728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5633" h="72894">
                    <a:moveTo>
                      <a:pt x="6480" y="72895"/>
                    </a:moveTo>
                    <a:cubicBezTo>
                      <a:pt x="5717" y="72895"/>
                      <a:pt x="4935" y="72761"/>
                      <a:pt x="4192" y="72475"/>
                    </a:cubicBezTo>
                    <a:cubicBezTo>
                      <a:pt x="854" y="71217"/>
                      <a:pt x="-843" y="67479"/>
                      <a:pt x="416" y="64123"/>
                    </a:cubicBezTo>
                    <a:lnTo>
                      <a:pt x="23090" y="4186"/>
                    </a:lnTo>
                    <a:cubicBezTo>
                      <a:pt x="24367" y="830"/>
                      <a:pt x="28124" y="-829"/>
                      <a:pt x="31442" y="410"/>
                    </a:cubicBezTo>
                    <a:cubicBezTo>
                      <a:pt x="34780" y="1669"/>
                      <a:pt x="36477" y="5406"/>
                      <a:pt x="35218" y="8763"/>
                    </a:cubicBezTo>
                    <a:lnTo>
                      <a:pt x="12544" y="68700"/>
                    </a:lnTo>
                    <a:cubicBezTo>
                      <a:pt x="11572" y="71293"/>
                      <a:pt x="9092" y="72895"/>
                      <a:pt x="6480" y="72895"/>
                    </a:cubicBezTo>
                    <a:close/>
                  </a:path>
                </a:pathLst>
              </a:custGeom>
              <a:grpFill/>
              <a:ln w="190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174" name="Freihandform: Form 1080">
                <a:extLst>
                  <a:ext uri="{FF2B5EF4-FFF2-40B4-BE49-F238E27FC236}">
                    <a16:creationId xmlns:a16="http://schemas.microsoft.com/office/drawing/2014/main" id="{E9D16C7F-C52B-F629-B31F-8EF19A72C4FA}"/>
                  </a:ext>
                </a:extLst>
              </p:cNvPr>
              <p:cNvSpPr/>
              <p:nvPr/>
            </p:nvSpPr>
            <p:spPr>
              <a:xfrm>
                <a:off x="6926651" y="3615863"/>
                <a:ext cx="36844" cy="123359"/>
              </a:xfrm>
              <a:custGeom>
                <a:avLst/>
                <a:gdLst>
                  <a:gd name="connsiteX0" fmla="*/ 6475 w 36844"/>
                  <a:gd name="connsiteY0" fmla="*/ 123360 h 123359"/>
                  <a:gd name="connsiteX1" fmla="*/ 5102 w 36844"/>
                  <a:gd name="connsiteY1" fmla="*/ 123208 h 123359"/>
                  <a:gd name="connsiteX2" fmla="*/ 144 w 36844"/>
                  <a:gd name="connsiteY2" fmla="*/ 115503 h 123359"/>
                  <a:gd name="connsiteX3" fmla="*/ 24038 w 36844"/>
                  <a:gd name="connsiteY3" fmla="*/ 5108 h 123359"/>
                  <a:gd name="connsiteX4" fmla="*/ 31743 w 36844"/>
                  <a:gd name="connsiteY4" fmla="*/ 150 h 123359"/>
                  <a:gd name="connsiteX5" fmla="*/ 36701 w 36844"/>
                  <a:gd name="connsiteY5" fmla="*/ 7854 h 123359"/>
                  <a:gd name="connsiteX6" fmla="*/ 12806 w 36844"/>
                  <a:gd name="connsiteY6" fmla="*/ 118249 h 123359"/>
                  <a:gd name="connsiteX7" fmla="*/ 6475 w 36844"/>
                  <a:gd name="connsiteY7" fmla="*/ 123360 h 1233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6844" h="123359">
                    <a:moveTo>
                      <a:pt x="6475" y="123360"/>
                    </a:moveTo>
                    <a:cubicBezTo>
                      <a:pt x="6017" y="123360"/>
                      <a:pt x="5560" y="123322"/>
                      <a:pt x="5102" y="123208"/>
                    </a:cubicBezTo>
                    <a:cubicBezTo>
                      <a:pt x="1612" y="122445"/>
                      <a:pt x="-600" y="119012"/>
                      <a:pt x="144" y="115503"/>
                    </a:cubicBezTo>
                    <a:lnTo>
                      <a:pt x="24038" y="5108"/>
                    </a:lnTo>
                    <a:cubicBezTo>
                      <a:pt x="24801" y="1618"/>
                      <a:pt x="28272" y="-613"/>
                      <a:pt x="31743" y="150"/>
                    </a:cubicBezTo>
                    <a:cubicBezTo>
                      <a:pt x="35232" y="912"/>
                      <a:pt x="37445" y="4345"/>
                      <a:pt x="36701" y="7854"/>
                    </a:cubicBezTo>
                    <a:lnTo>
                      <a:pt x="12806" y="118249"/>
                    </a:lnTo>
                    <a:cubicBezTo>
                      <a:pt x="12139" y="121281"/>
                      <a:pt x="9469" y="123360"/>
                      <a:pt x="6475" y="123360"/>
                    </a:cubicBezTo>
                    <a:close/>
                  </a:path>
                </a:pathLst>
              </a:custGeom>
              <a:grpFill/>
              <a:ln w="190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</p:grpSp>
      </p:grpSp>
      <p:grpSp>
        <p:nvGrpSpPr>
          <p:cNvPr id="21" name="Group 20">
            <a:extLst>
              <a:ext uri="{FF2B5EF4-FFF2-40B4-BE49-F238E27FC236}">
                <a16:creationId xmlns:a16="http://schemas.microsoft.com/office/drawing/2014/main" id="{51E03CC7-087F-AB2B-432E-6F90AD31C16D}"/>
              </a:ext>
            </a:extLst>
          </p:cNvPr>
          <p:cNvGrpSpPr/>
          <p:nvPr/>
        </p:nvGrpSpPr>
        <p:grpSpPr>
          <a:xfrm>
            <a:off x="4390885" y="2420364"/>
            <a:ext cx="362231" cy="370800"/>
            <a:chOff x="4390885" y="2420364"/>
            <a:chExt cx="362231" cy="370800"/>
          </a:xfrm>
        </p:grpSpPr>
        <p:pic>
          <p:nvPicPr>
            <p:cNvPr id="188" name="Graphic 187">
              <a:extLst>
                <a:ext uri="{FF2B5EF4-FFF2-40B4-BE49-F238E27FC236}">
                  <a16:creationId xmlns:a16="http://schemas.microsoft.com/office/drawing/2014/main" id="{CCF6D0AF-638C-0628-648B-433AD0B1B02C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rcRect b="10414"/>
            <a:stretch>
              <a:fillRect/>
            </a:stretch>
          </p:blipFill>
          <p:spPr>
            <a:xfrm>
              <a:off x="4397259" y="2420364"/>
              <a:ext cx="342872" cy="182836"/>
            </a:xfrm>
            <a:custGeom>
              <a:avLst/>
              <a:gdLst>
                <a:gd name="connsiteX0" fmla="*/ 0 w 538272"/>
                <a:gd name="connsiteY0" fmla="*/ 0 h 287033"/>
                <a:gd name="connsiteX1" fmla="*/ 538272 w 538272"/>
                <a:gd name="connsiteY1" fmla="*/ 0 h 287033"/>
                <a:gd name="connsiteX2" fmla="*/ 538272 w 538272"/>
                <a:gd name="connsiteY2" fmla="*/ 287033 h 287033"/>
                <a:gd name="connsiteX3" fmla="*/ 0 w 538272"/>
                <a:gd name="connsiteY3" fmla="*/ 287033 h 287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38272" h="287033">
                  <a:moveTo>
                    <a:pt x="0" y="0"/>
                  </a:moveTo>
                  <a:lnTo>
                    <a:pt x="538272" y="0"/>
                  </a:lnTo>
                  <a:lnTo>
                    <a:pt x="538272" y="287033"/>
                  </a:lnTo>
                  <a:lnTo>
                    <a:pt x="0" y="287033"/>
                  </a:lnTo>
                  <a:close/>
                </a:path>
              </a:pathLst>
            </a:custGeom>
          </p:spPr>
        </p:pic>
        <p:sp>
          <p:nvSpPr>
            <p:cNvPr id="189" name="Graphic 193">
              <a:extLst>
                <a:ext uri="{FF2B5EF4-FFF2-40B4-BE49-F238E27FC236}">
                  <a16:creationId xmlns:a16="http://schemas.microsoft.com/office/drawing/2014/main" id="{21CAC156-D9E5-0E68-04F7-8BA4232602C9}"/>
                </a:ext>
              </a:extLst>
            </p:cNvPr>
            <p:cNvSpPr/>
            <p:nvPr/>
          </p:nvSpPr>
          <p:spPr>
            <a:xfrm>
              <a:off x="4390885" y="2603749"/>
              <a:ext cx="362231" cy="187415"/>
            </a:xfrm>
            <a:custGeom>
              <a:avLst/>
              <a:gdLst>
                <a:gd name="connsiteX0" fmla="*/ 409870 w 426099"/>
                <a:gd name="connsiteY0" fmla="*/ -370 h 220460"/>
                <a:gd name="connsiteX1" fmla="*/ -467 w 426099"/>
                <a:gd name="connsiteY1" fmla="*/ -370 h 220460"/>
                <a:gd name="connsiteX2" fmla="*/ 204511 w 426099"/>
                <a:gd name="connsiteY2" fmla="*/ 219953 h 220460"/>
                <a:gd name="connsiteX3" fmla="*/ 346529 w 426099"/>
                <a:gd name="connsiteY3" fmla="*/ 172318 h 220460"/>
                <a:gd name="connsiteX4" fmla="*/ 377676 w 426099"/>
                <a:gd name="connsiteY4" fmla="*/ 141172 h 220460"/>
                <a:gd name="connsiteX5" fmla="*/ 382343 w 426099"/>
                <a:gd name="connsiteY5" fmla="*/ 137647 h 220460"/>
                <a:gd name="connsiteX6" fmla="*/ 383200 w 426099"/>
                <a:gd name="connsiteY6" fmla="*/ 134218 h 220460"/>
                <a:gd name="connsiteX7" fmla="*/ 425491 w 426099"/>
                <a:gd name="connsiteY7" fmla="*/ 7441 h 220460"/>
                <a:gd name="connsiteX8" fmla="*/ 425491 w 426099"/>
                <a:gd name="connsiteY8" fmla="*/ 6774 h 220460"/>
                <a:gd name="connsiteX9" fmla="*/ 425491 w 426099"/>
                <a:gd name="connsiteY9" fmla="*/ -370 h 220460"/>
                <a:gd name="connsiteX10" fmla="*/ 54397 w 426099"/>
                <a:gd name="connsiteY10" fmla="*/ 124884 h 220460"/>
                <a:gd name="connsiteX11" fmla="*/ 15630 w 426099"/>
                <a:gd name="connsiteY11" fmla="*/ 14775 h 220460"/>
                <a:gd name="connsiteX12" fmla="*/ 106499 w 426099"/>
                <a:gd name="connsiteY12" fmla="*/ 14775 h 220460"/>
                <a:gd name="connsiteX13" fmla="*/ 117262 w 426099"/>
                <a:gd name="connsiteY13" fmla="*/ 98595 h 220460"/>
                <a:gd name="connsiteX14" fmla="*/ 54397 w 426099"/>
                <a:gd name="connsiteY14" fmla="*/ 124884 h 220460"/>
                <a:gd name="connsiteX15" fmla="*/ 63922 w 426099"/>
                <a:gd name="connsiteY15" fmla="*/ 136599 h 220460"/>
                <a:gd name="connsiteX16" fmla="*/ 120405 w 426099"/>
                <a:gd name="connsiteY16" fmla="*/ 113168 h 220460"/>
                <a:gd name="connsiteX17" fmla="*/ 150219 w 426099"/>
                <a:gd name="connsiteY17" fmla="*/ 193940 h 220460"/>
                <a:gd name="connsiteX18" fmla="*/ 64113 w 426099"/>
                <a:gd name="connsiteY18" fmla="*/ 136599 h 220460"/>
                <a:gd name="connsiteX19" fmla="*/ 206226 w 426099"/>
                <a:gd name="connsiteY19" fmla="*/ 204227 h 220460"/>
                <a:gd name="connsiteX20" fmla="*/ 170507 w 426099"/>
                <a:gd name="connsiteY20" fmla="*/ 199845 h 220460"/>
                <a:gd name="connsiteX21" fmla="*/ 169935 w 426099"/>
                <a:gd name="connsiteY21" fmla="*/ 197941 h 220460"/>
                <a:gd name="connsiteX22" fmla="*/ 135455 w 426099"/>
                <a:gd name="connsiteY22" fmla="*/ 109263 h 220460"/>
                <a:gd name="connsiteX23" fmla="*/ 206226 w 426099"/>
                <a:gd name="connsiteY23" fmla="*/ 100881 h 220460"/>
                <a:gd name="connsiteX24" fmla="*/ 206226 w 426099"/>
                <a:gd name="connsiteY24" fmla="*/ 85165 h 220460"/>
                <a:gd name="connsiteX25" fmla="*/ 132407 w 426099"/>
                <a:gd name="connsiteY25" fmla="*/ 94308 h 220460"/>
                <a:gd name="connsiteX26" fmla="*/ 121930 w 426099"/>
                <a:gd name="connsiteY26" fmla="*/ 15060 h 220460"/>
                <a:gd name="connsiteX27" fmla="*/ 206893 w 426099"/>
                <a:gd name="connsiteY27" fmla="*/ 15060 h 220460"/>
                <a:gd name="connsiteX28" fmla="*/ 222132 w 426099"/>
                <a:gd name="connsiteY28" fmla="*/ 85165 h 220460"/>
                <a:gd name="connsiteX29" fmla="*/ 222132 w 426099"/>
                <a:gd name="connsiteY29" fmla="*/ 14394 h 220460"/>
                <a:gd name="connsiteX30" fmla="*/ 307857 w 426099"/>
                <a:gd name="connsiteY30" fmla="*/ 14394 h 220460"/>
                <a:gd name="connsiteX31" fmla="*/ 297285 w 426099"/>
                <a:gd name="connsiteY31" fmla="*/ 96023 h 220460"/>
                <a:gd name="connsiteX32" fmla="*/ 222132 w 426099"/>
                <a:gd name="connsiteY32" fmla="*/ 85165 h 220460"/>
                <a:gd name="connsiteX33" fmla="*/ 258994 w 426099"/>
                <a:gd name="connsiteY33" fmla="*/ 198131 h 220460"/>
                <a:gd name="connsiteX34" fmla="*/ 221942 w 426099"/>
                <a:gd name="connsiteY34" fmla="*/ 203656 h 220460"/>
                <a:gd name="connsiteX35" fmla="*/ 221942 w 426099"/>
                <a:gd name="connsiteY35" fmla="*/ 100785 h 220460"/>
                <a:gd name="connsiteX36" fmla="*/ 293094 w 426099"/>
                <a:gd name="connsiteY36" fmla="*/ 111168 h 220460"/>
                <a:gd name="connsiteX37" fmla="*/ 259185 w 426099"/>
                <a:gd name="connsiteY37" fmla="*/ 197655 h 220460"/>
                <a:gd name="connsiteX38" fmla="*/ 280044 w 426099"/>
                <a:gd name="connsiteY38" fmla="*/ 191749 h 220460"/>
                <a:gd name="connsiteX39" fmla="*/ 280044 w 426099"/>
                <a:gd name="connsiteY39" fmla="*/ 191749 h 220460"/>
                <a:gd name="connsiteX40" fmla="*/ 308619 w 426099"/>
                <a:gd name="connsiteY40" fmla="*/ 115549 h 220460"/>
                <a:gd name="connsiteX41" fmla="*/ 361674 w 426099"/>
                <a:gd name="connsiteY41" fmla="*/ 135552 h 220460"/>
                <a:gd name="connsiteX42" fmla="*/ 280616 w 426099"/>
                <a:gd name="connsiteY42" fmla="*/ 192035 h 220460"/>
                <a:gd name="connsiteX43" fmla="*/ 371294 w 426099"/>
                <a:gd name="connsiteY43" fmla="*/ 122788 h 220460"/>
                <a:gd name="connsiteX44" fmla="*/ 311953 w 426099"/>
                <a:gd name="connsiteY44" fmla="*/ 100214 h 220460"/>
                <a:gd name="connsiteX45" fmla="*/ 323193 w 426099"/>
                <a:gd name="connsiteY45" fmla="*/ 14489 h 220460"/>
                <a:gd name="connsiteX46" fmla="*/ 408918 w 426099"/>
                <a:gd name="connsiteY46" fmla="*/ 14489 h 220460"/>
                <a:gd name="connsiteX47" fmla="*/ 371866 w 426099"/>
                <a:gd name="connsiteY47" fmla="*/ 122883 h 2204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</a:cxnLst>
              <a:rect l="l" t="t" r="r" b="b"/>
              <a:pathLst>
                <a:path w="426099" h="220460">
                  <a:moveTo>
                    <a:pt x="409870" y="-370"/>
                  </a:moveTo>
                  <a:lnTo>
                    <a:pt x="-467" y="-370"/>
                  </a:lnTo>
                  <a:cubicBezTo>
                    <a:pt x="-4706" y="117073"/>
                    <a:pt x="87068" y="215714"/>
                    <a:pt x="204511" y="219953"/>
                  </a:cubicBezTo>
                  <a:cubicBezTo>
                    <a:pt x="256060" y="221810"/>
                    <a:pt x="306524" y="204884"/>
                    <a:pt x="346529" y="172318"/>
                  </a:cubicBezTo>
                  <a:cubicBezTo>
                    <a:pt x="357978" y="163060"/>
                    <a:pt x="368418" y="152621"/>
                    <a:pt x="377676" y="141172"/>
                  </a:cubicBezTo>
                  <a:cubicBezTo>
                    <a:pt x="379609" y="140600"/>
                    <a:pt x="381267" y="139352"/>
                    <a:pt x="382343" y="137647"/>
                  </a:cubicBezTo>
                  <a:cubicBezTo>
                    <a:pt x="382819" y="136561"/>
                    <a:pt x="383105" y="135399"/>
                    <a:pt x="383200" y="134218"/>
                  </a:cubicBezTo>
                  <a:cubicBezTo>
                    <a:pt x="410594" y="97623"/>
                    <a:pt x="425425" y="53151"/>
                    <a:pt x="425491" y="7441"/>
                  </a:cubicBezTo>
                  <a:lnTo>
                    <a:pt x="425491" y="6774"/>
                  </a:lnTo>
                  <a:cubicBezTo>
                    <a:pt x="425491" y="4392"/>
                    <a:pt x="425491" y="2011"/>
                    <a:pt x="425491" y="-370"/>
                  </a:cubicBezTo>
                  <a:close/>
                  <a:moveTo>
                    <a:pt x="54397" y="124884"/>
                  </a:moveTo>
                  <a:cubicBezTo>
                    <a:pt x="30661" y="92927"/>
                    <a:pt x="17145" y="54551"/>
                    <a:pt x="15630" y="14775"/>
                  </a:cubicBezTo>
                  <a:lnTo>
                    <a:pt x="106499" y="14775"/>
                  </a:lnTo>
                  <a:cubicBezTo>
                    <a:pt x="107365" y="42997"/>
                    <a:pt x="110966" y="71067"/>
                    <a:pt x="117262" y="98595"/>
                  </a:cubicBezTo>
                  <a:cubicBezTo>
                    <a:pt x="95431" y="105091"/>
                    <a:pt x="74352" y="113901"/>
                    <a:pt x="54397" y="124884"/>
                  </a:cubicBezTo>
                  <a:close/>
                  <a:moveTo>
                    <a:pt x="63922" y="136599"/>
                  </a:moveTo>
                  <a:cubicBezTo>
                    <a:pt x="81905" y="126893"/>
                    <a:pt x="100832" y="119045"/>
                    <a:pt x="120405" y="113168"/>
                  </a:cubicBezTo>
                  <a:cubicBezTo>
                    <a:pt x="127578" y="141038"/>
                    <a:pt x="137569" y="168099"/>
                    <a:pt x="150219" y="193940"/>
                  </a:cubicBezTo>
                  <a:cubicBezTo>
                    <a:pt x="116938" y="182805"/>
                    <a:pt x="87220" y="163012"/>
                    <a:pt x="64113" y="136599"/>
                  </a:cubicBezTo>
                  <a:close/>
                  <a:moveTo>
                    <a:pt x="206226" y="204227"/>
                  </a:moveTo>
                  <a:cubicBezTo>
                    <a:pt x="194215" y="203856"/>
                    <a:pt x="182251" y="202398"/>
                    <a:pt x="170507" y="199845"/>
                  </a:cubicBezTo>
                  <a:cubicBezTo>
                    <a:pt x="170421" y="199188"/>
                    <a:pt x="170221" y="198540"/>
                    <a:pt x="169935" y="197941"/>
                  </a:cubicBezTo>
                  <a:cubicBezTo>
                    <a:pt x="154820" y="169918"/>
                    <a:pt x="143237" y="140133"/>
                    <a:pt x="135455" y="109263"/>
                  </a:cubicBezTo>
                  <a:cubicBezTo>
                    <a:pt x="158648" y="103767"/>
                    <a:pt x="182394" y="100957"/>
                    <a:pt x="206226" y="100881"/>
                  </a:cubicBezTo>
                  <a:close/>
                  <a:moveTo>
                    <a:pt x="206226" y="85165"/>
                  </a:moveTo>
                  <a:cubicBezTo>
                    <a:pt x="181346" y="85345"/>
                    <a:pt x="156572" y="88413"/>
                    <a:pt x="132407" y="94308"/>
                  </a:cubicBezTo>
                  <a:cubicBezTo>
                    <a:pt x="126397" y="68286"/>
                    <a:pt x="122891" y="41749"/>
                    <a:pt x="121930" y="15060"/>
                  </a:cubicBezTo>
                  <a:lnTo>
                    <a:pt x="206893" y="15060"/>
                  </a:lnTo>
                  <a:close/>
                  <a:moveTo>
                    <a:pt x="222132" y="85165"/>
                  </a:moveTo>
                  <a:lnTo>
                    <a:pt x="222132" y="14394"/>
                  </a:lnTo>
                  <a:lnTo>
                    <a:pt x="307857" y="14394"/>
                  </a:lnTo>
                  <a:cubicBezTo>
                    <a:pt x="306962" y="41883"/>
                    <a:pt x="303429" y="69220"/>
                    <a:pt x="297285" y="96023"/>
                  </a:cubicBezTo>
                  <a:cubicBezTo>
                    <a:pt x="272653" y="89936"/>
                    <a:pt x="247478" y="86298"/>
                    <a:pt x="222132" y="85165"/>
                  </a:cubicBezTo>
                  <a:close/>
                  <a:moveTo>
                    <a:pt x="258994" y="198131"/>
                  </a:moveTo>
                  <a:cubicBezTo>
                    <a:pt x="246850" y="201160"/>
                    <a:pt x="234439" y="203008"/>
                    <a:pt x="221942" y="203656"/>
                  </a:cubicBezTo>
                  <a:lnTo>
                    <a:pt x="221942" y="100785"/>
                  </a:lnTo>
                  <a:cubicBezTo>
                    <a:pt x="245945" y="101862"/>
                    <a:pt x="269786" y="105338"/>
                    <a:pt x="293094" y="111168"/>
                  </a:cubicBezTo>
                  <a:cubicBezTo>
                    <a:pt x="285398" y="141286"/>
                    <a:pt x="274006" y="170337"/>
                    <a:pt x="259185" y="197655"/>
                  </a:cubicBezTo>
                  <a:close/>
                  <a:moveTo>
                    <a:pt x="280044" y="191749"/>
                  </a:moveTo>
                  <a:lnTo>
                    <a:pt x="280044" y="191749"/>
                  </a:lnTo>
                  <a:cubicBezTo>
                    <a:pt x="291884" y="167280"/>
                    <a:pt x="301447" y="141772"/>
                    <a:pt x="308619" y="115549"/>
                  </a:cubicBezTo>
                  <a:cubicBezTo>
                    <a:pt x="326812" y="120778"/>
                    <a:pt x="344557" y="127474"/>
                    <a:pt x="361674" y="135552"/>
                  </a:cubicBezTo>
                  <a:cubicBezTo>
                    <a:pt x="339833" y="160898"/>
                    <a:pt x="311953" y="180319"/>
                    <a:pt x="280616" y="192035"/>
                  </a:cubicBezTo>
                  <a:close/>
                  <a:moveTo>
                    <a:pt x="371294" y="122788"/>
                  </a:moveTo>
                  <a:cubicBezTo>
                    <a:pt x="352196" y="113578"/>
                    <a:pt x="332347" y="106024"/>
                    <a:pt x="311953" y="100214"/>
                  </a:cubicBezTo>
                  <a:cubicBezTo>
                    <a:pt x="318497" y="72077"/>
                    <a:pt x="322259" y="43359"/>
                    <a:pt x="323193" y="14489"/>
                  </a:cubicBezTo>
                  <a:lnTo>
                    <a:pt x="408918" y="14489"/>
                  </a:lnTo>
                  <a:cubicBezTo>
                    <a:pt x="407604" y="53494"/>
                    <a:pt x="394707" y="91232"/>
                    <a:pt x="371866" y="122883"/>
                  </a:cubicBezTo>
                  <a:close/>
                </a:path>
              </a:pathLst>
            </a:custGeom>
            <a:solidFill>
              <a:schemeClr val="tx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</p:grpSp>
      <p:grpSp>
        <p:nvGrpSpPr>
          <p:cNvPr id="20" name="Group 19">
            <a:extLst>
              <a:ext uri="{FF2B5EF4-FFF2-40B4-BE49-F238E27FC236}">
                <a16:creationId xmlns:a16="http://schemas.microsoft.com/office/drawing/2014/main" id="{BADFEA89-D82C-AB8A-DAA3-9294DA962BA8}"/>
              </a:ext>
            </a:extLst>
          </p:cNvPr>
          <p:cNvGrpSpPr/>
          <p:nvPr/>
        </p:nvGrpSpPr>
        <p:grpSpPr>
          <a:xfrm>
            <a:off x="7455959" y="2420364"/>
            <a:ext cx="389667" cy="370800"/>
            <a:chOff x="7455959" y="2420364"/>
            <a:chExt cx="389667" cy="370800"/>
          </a:xfrm>
        </p:grpSpPr>
        <p:grpSp>
          <p:nvGrpSpPr>
            <p:cNvPr id="191" name="Grafik 11">
              <a:extLst>
                <a:ext uri="{FF2B5EF4-FFF2-40B4-BE49-F238E27FC236}">
                  <a16:creationId xmlns:a16="http://schemas.microsoft.com/office/drawing/2014/main" id="{1549A824-DE7F-8D1E-7F55-F7CEE5E8B93B}"/>
                </a:ext>
              </a:extLst>
            </p:cNvPr>
            <p:cNvGrpSpPr/>
            <p:nvPr/>
          </p:nvGrpSpPr>
          <p:grpSpPr>
            <a:xfrm>
              <a:off x="7726003" y="2641235"/>
              <a:ext cx="119623" cy="149929"/>
              <a:chOff x="2465081" y="1938402"/>
              <a:chExt cx="138015" cy="172980"/>
            </a:xfrm>
            <a:solidFill>
              <a:srgbClr val="004DBF"/>
            </a:solidFill>
          </p:grpSpPr>
          <p:sp>
            <p:nvSpPr>
              <p:cNvPr id="203" name="Freihandform: Form 170">
                <a:extLst>
                  <a:ext uri="{FF2B5EF4-FFF2-40B4-BE49-F238E27FC236}">
                    <a16:creationId xmlns:a16="http://schemas.microsoft.com/office/drawing/2014/main" id="{4DA5415D-A59E-205F-263F-E4A910368739}"/>
                  </a:ext>
                </a:extLst>
              </p:cNvPr>
              <p:cNvSpPr/>
              <p:nvPr/>
            </p:nvSpPr>
            <p:spPr>
              <a:xfrm>
                <a:off x="2465081" y="1938402"/>
                <a:ext cx="138015" cy="172980"/>
              </a:xfrm>
              <a:custGeom>
                <a:avLst/>
                <a:gdLst>
                  <a:gd name="connsiteX0" fmla="*/ 69014 w 138015"/>
                  <a:gd name="connsiteY0" fmla="*/ 172981 h 172980"/>
                  <a:gd name="connsiteX1" fmla="*/ 65882 w 138015"/>
                  <a:gd name="connsiteY1" fmla="*/ 171127 h 172980"/>
                  <a:gd name="connsiteX2" fmla="*/ 10585 w 138015"/>
                  <a:gd name="connsiteY2" fmla="*/ 127778 h 172980"/>
                  <a:gd name="connsiteX3" fmla="*/ 0 w 138015"/>
                  <a:gd name="connsiteY3" fmla="*/ 98159 h 172980"/>
                  <a:gd name="connsiteX4" fmla="*/ 0 w 138015"/>
                  <a:gd name="connsiteY4" fmla="*/ 14249 h 172980"/>
                  <a:gd name="connsiteX5" fmla="*/ 34765 w 138015"/>
                  <a:gd name="connsiteY5" fmla="*/ 4646 h 172980"/>
                  <a:gd name="connsiteX6" fmla="*/ 103250 w 138015"/>
                  <a:gd name="connsiteY6" fmla="*/ 4646 h 172980"/>
                  <a:gd name="connsiteX7" fmla="*/ 138015 w 138015"/>
                  <a:gd name="connsiteY7" fmla="*/ 14249 h 172980"/>
                  <a:gd name="connsiteX8" fmla="*/ 138015 w 138015"/>
                  <a:gd name="connsiteY8" fmla="*/ 98159 h 172980"/>
                  <a:gd name="connsiteX9" fmla="*/ 127430 w 138015"/>
                  <a:gd name="connsiteY9" fmla="*/ 127766 h 172980"/>
                  <a:gd name="connsiteX10" fmla="*/ 72145 w 138015"/>
                  <a:gd name="connsiteY10" fmla="*/ 171127 h 172980"/>
                  <a:gd name="connsiteX11" fmla="*/ 69014 w 138015"/>
                  <a:gd name="connsiteY11" fmla="*/ 172981 h 172980"/>
                  <a:gd name="connsiteX12" fmla="*/ 12341 w 138015"/>
                  <a:gd name="connsiteY12" fmla="*/ 23644 h 172980"/>
                  <a:gd name="connsiteX13" fmla="*/ 12341 w 138015"/>
                  <a:gd name="connsiteY13" fmla="*/ 98159 h 172980"/>
                  <a:gd name="connsiteX14" fmla="*/ 20016 w 138015"/>
                  <a:gd name="connsiteY14" fmla="*/ 119821 h 172980"/>
                  <a:gd name="connsiteX15" fmla="*/ 69026 w 138015"/>
                  <a:gd name="connsiteY15" fmla="*/ 158638 h 172980"/>
                  <a:gd name="connsiteX16" fmla="*/ 118023 w 138015"/>
                  <a:gd name="connsiteY16" fmla="*/ 119808 h 172980"/>
                  <a:gd name="connsiteX17" fmla="*/ 125698 w 138015"/>
                  <a:gd name="connsiteY17" fmla="*/ 98146 h 172980"/>
                  <a:gd name="connsiteX18" fmla="*/ 125698 w 138015"/>
                  <a:gd name="connsiteY18" fmla="*/ 23631 h 172980"/>
                  <a:gd name="connsiteX19" fmla="*/ 99984 w 138015"/>
                  <a:gd name="connsiteY19" fmla="*/ 16521 h 172980"/>
                  <a:gd name="connsiteX20" fmla="*/ 38043 w 138015"/>
                  <a:gd name="connsiteY20" fmla="*/ 16521 h 172980"/>
                  <a:gd name="connsiteX21" fmla="*/ 12341 w 138015"/>
                  <a:gd name="connsiteY21" fmla="*/ 23644 h 1729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138015" h="172980">
                    <a:moveTo>
                      <a:pt x="69014" y="172981"/>
                    </a:moveTo>
                    <a:lnTo>
                      <a:pt x="65882" y="171127"/>
                    </a:lnTo>
                    <a:cubicBezTo>
                      <a:pt x="40856" y="156378"/>
                      <a:pt x="22767" y="142195"/>
                      <a:pt x="10585" y="127778"/>
                    </a:cubicBezTo>
                    <a:cubicBezTo>
                      <a:pt x="3758" y="119686"/>
                      <a:pt x="0" y="109162"/>
                      <a:pt x="0" y="98159"/>
                    </a:cubicBezTo>
                    <a:lnTo>
                      <a:pt x="0" y="14249"/>
                    </a:lnTo>
                    <a:lnTo>
                      <a:pt x="34765" y="4646"/>
                    </a:lnTo>
                    <a:cubicBezTo>
                      <a:pt x="57151" y="-1543"/>
                      <a:pt x="80839" y="-1555"/>
                      <a:pt x="103250" y="4646"/>
                    </a:cubicBezTo>
                    <a:lnTo>
                      <a:pt x="138015" y="14249"/>
                    </a:lnTo>
                    <a:lnTo>
                      <a:pt x="138015" y="98159"/>
                    </a:lnTo>
                    <a:cubicBezTo>
                      <a:pt x="138015" y="109162"/>
                      <a:pt x="134257" y="119673"/>
                      <a:pt x="127430" y="127766"/>
                    </a:cubicBezTo>
                    <a:cubicBezTo>
                      <a:pt x="115285" y="142170"/>
                      <a:pt x="97196" y="156366"/>
                      <a:pt x="72145" y="171127"/>
                    </a:cubicBezTo>
                    <a:lnTo>
                      <a:pt x="69014" y="172981"/>
                    </a:lnTo>
                    <a:close/>
                    <a:moveTo>
                      <a:pt x="12341" y="23644"/>
                    </a:moveTo>
                    <a:lnTo>
                      <a:pt x="12341" y="98159"/>
                    </a:lnTo>
                    <a:cubicBezTo>
                      <a:pt x="12341" y="106251"/>
                      <a:pt x="15068" y="113951"/>
                      <a:pt x="20016" y="119821"/>
                    </a:cubicBezTo>
                    <a:cubicBezTo>
                      <a:pt x="30798" y="132567"/>
                      <a:pt x="46848" y="145289"/>
                      <a:pt x="69026" y="158638"/>
                    </a:cubicBezTo>
                    <a:cubicBezTo>
                      <a:pt x="91228" y="145265"/>
                      <a:pt x="107278" y="132543"/>
                      <a:pt x="118023" y="119808"/>
                    </a:cubicBezTo>
                    <a:cubicBezTo>
                      <a:pt x="122972" y="113951"/>
                      <a:pt x="125698" y="106251"/>
                      <a:pt x="125698" y="98146"/>
                    </a:cubicBezTo>
                    <a:lnTo>
                      <a:pt x="125698" y="23631"/>
                    </a:lnTo>
                    <a:lnTo>
                      <a:pt x="99984" y="16521"/>
                    </a:lnTo>
                    <a:cubicBezTo>
                      <a:pt x="79746" y="10922"/>
                      <a:pt x="58318" y="10922"/>
                      <a:pt x="38043" y="16521"/>
                    </a:cubicBezTo>
                    <a:lnTo>
                      <a:pt x="12341" y="23644"/>
                    </a:lnTo>
                    <a:close/>
                  </a:path>
                </a:pathLst>
              </a:custGeom>
              <a:grpFill/>
              <a:ln w="122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204" name="Freihandform: Form 171">
                <a:extLst>
                  <a:ext uri="{FF2B5EF4-FFF2-40B4-BE49-F238E27FC236}">
                    <a16:creationId xmlns:a16="http://schemas.microsoft.com/office/drawing/2014/main" id="{2EEAE94E-94D9-9D66-0F46-4D504E965AE3}"/>
                  </a:ext>
                </a:extLst>
              </p:cNvPr>
              <p:cNvSpPr/>
              <p:nvPr/>
            </p:nvSpPr>
            <p:spPr>
              <a:xfrm>
                <a:off x="2507337" y="1997842"/>
                <a:ext cx="53528" cy="41543"/>
              </a:xfrm>
              <a:custGeom>
                <a:avLst/>
                <a:gdLst>
                  <a:gd name="connsiteX0" fmla="*/ 20680 w 53528"/>
                  <a:gd name="connsiteY0" fmla="*/ 41543 h 41543"/>
                  <a:gd name="connsiteX1" fmla="*/ 0 w 53528"/>
                  <a:gd name="connsiteY1" fmla="*/ 20851 h 41543"/>
                  <a:gd name="connsiteX2" fmla="*/ 8719 w 53528"/>
                  <a:gd name="connsiteY2" fmla="*/ 12133 h 41543"/>
                  <a:gd name="connsiteX3" fmla="*/ 20680 w 53528"/>
                  <a:gd name="connsiteY3" fmla="*/ 24106 h 41543"/>
                  <a:gd name="connsiteX4" fmla="*/ 44798 w 53528"/>
                  <a:gd name="connsiteY4" fmla="*/ 0 h 41543"/>
                  <a:gd name="connsiteX5" fmla="*/ 53529 w 53528"/>
                  <a:gd name="connsiteY5" fmla="*/ 8719 h 415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53528" h="41543">
                    <a:moveTo>
                      <a:pt x="20680" y="41543"/>
                    </a:moveTo>
                    <a:lnTo>
                      <a:pt x="0" y="20851"/>
                    </a:lnTo>
                    <a:lnTo>
                      <a:pt x="8719" y="12133"/>
                    </a:lnTo>
                    <a:lnTo>
                      <a:pt x="20680" y="24106"/>
                    </a:lnTo>
                    <a:lnTo>
                      <a:pt x="44798" y="0"/>
                    </a:lnTo>
                    <a:lnTo>
                      <a:pt x="53529" y="8719"/>
                    </a:lnTo>
                    <a:close/>
                  </a:path>
                </a:pathLst>
              </a:custGeom>
              <a:grpFill/>
              <a:ln w="122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</p:grpSp>
        <p:grpSp>
          <p:nvGrpSpPr>
            <p:cNvPr id="192" name="Grafik 11">
              <a:extLst>
                <a:ext uri="{FF2B5EF4-FFF2-40B4-BE49-F238E27FC236}">
                  <a16:creationId xmlns:a16="http://schemas.microsoft.com/office/drawing/2014/main" id="{C88324BC-FCDB-6A20-4072-769D39BB229C}"/>
                </a:ext>
              </a:extLst>
            </p:cNvPr>
            <p:cNvGrpSpPr/>
            <p:nvPr/>
          </p:nvGrpSpPr>
          <p:grpSpPr>
            <a:xfrm>
              <a:off x="7455959" y="2420364"/>
              <a:ext cx="257314" cy="361698"/>
              <a:chOff x="2153517" y="1683572"/>
              <a:chExt cx="296877" cy="417309"/>
            </a:xfrm>
            <a:solidFill>
              <a:schemeClr val="tx2"/>
            </a:solidFill>
          </p:grpSpPr>
          <p:grpSp>
            <p:nvGrpSpPr>
              <p:cNvPr id="193" name="Grafik 11">
                <a:extLst>
                  <a:ext uri="{FF2B5EF4-FFF2-40B4-BE49-F238E27FC236}">
                    <a16:creationId xmlns:a16="http://schemas.microsoft.com/office/drawing/2014/main" id="{0A155019-80A9-C5B5-18CA-F943D79D0D70}"/>
                  </a:ext>
                </a:extLst>
              </p:cNvPr>
              <p:cNvGrpSpPr/>
              <p:nvPr/>
            </p:nvGrpSpPr>
            <p:grpSpPr>
              <a:xfrm>
                <a:off x="2153517" y="1683572"/>
                <a:ext cx="296877" cy="417309"/>
                <a:chOff x="2153517" y="1683572"/>
                <a:chExt cx="296877" cy="417309"/>
              </a:xfrm>
              <a:grpFill/>
            </p:grpSpPr>
            <p:sp>
              <p:nvSpPr>
                <p:cNvPr id="195" name="Freihandform: Form 174">
                  <a:extLst>
                    <a:ext uri="{FF2B5EF4-FFF2-40B4-BE49-F238E27FC236}">
                      <a16:creationId xmlns:a16="http://schemas.microsoft.com/office/drawing/2014/main" id="{590D6096-568F-5D0F-C781-103E0436C385}"/>
                    </a:ext>
                  </a:extLst>
                </p:cNvPr>
                <p:cNvSpPr/>
                <p:nvPr/>
              </p:nvSpPr>
              <p:spPr>
                <a:xfrm>
                  <a:off x="2252993" y="1683572"/>
                  <a:ext cx="197401" cy="250647"/>
                </a:xfrm>
                <a:custGeom>
                  <a:avLst/>
                  <a:gdLst>
                    <a:gd name="connsiteX0" fmla="*/ 101851 w 197401"/>
                    <a:gd name="connsiteY0" fmla="*/ 250647 h 250647"/>
                    <a:gd name="connsiteX1" fmla="*/ 95735 w 197401"/>
                    <a:gd name="connsiteY1" fmla="*/ 250647 h 250647"/>
                    <a:gd name="connsiteX2" fmla="*/ 22190 w 197401"/>
                    <a:gd name="connsiteY2" fmla="*/ 175052 h 250647"/>
                    <a:gd name="connsiteX3" fmla="*/ 0 w 197401"/>
                    <a:gd name="connsiteY3" fmla="*/ 144523 h 250647"/>
                    <a:gd name="connsiteX4" fmla="*/ 0 w 197401"/>
                    <a:gd name="connsiteY4" fmla="*/ 110287 h 250647"/>
                    <a:gd name="connsiteX5" fmla="*/ 9959 w 197401"/>
                    <a:gd name="connsiteY5" fmla="*/ 110287 h 250647"/>
                    <a:gd name="connsiteX6" fmla="*/ 9959 w 197401"/>
                    <a:gd name="connsiteY6" fmla="*/ 61732 h 250647"/>
                    <a:gd name="connsiteX7" fmla="*/ 71691 w 197401"/>
                    <a:gd name="connsiteY7" fmla="*/ 0 h 250647"/>
                    <a:gd name="connsiteX8" fmla="*/ 167856 w 197401"/>
                    <a:gd name="connsiteY8" fmla="*/ 0 h 250647"/>
                    <a:gd name="connsiteX9" fmla="*/ 167856 w 197401"/>
                    <a:gd name="connsiteY9" fmla="*/ 12661 h 250647"/>
                    <a:gd name="connsiteX10" fmla="*/ 167450 w 197401"/>
                    <a:gd name="connsiteY10" fmla="*/ 19402 h 250647"/>
                    <a:gd name="connsiteX11" fmla="*/ 187639 w 197401"/>
                    <a:gd name="connsiteY11" fmla="*/ 50274 h 250647"/>
                    <a:gd name="connsiteX12" fmla="*/ 187639 w 197401"/>
                    <a:gd name="connsiteY12" fmla="*/ 110287 h 250647"/>
                    <a:gd name="connsiteX13" fmla="*/ 197401 w 197401"/>
                    <a:gd name="connsiteY13" fmla="*/ 110287 h 250647"/>
                    <a:gd name="connsiteX14" fmla="*/ 197401 w 197401"/>
                    <a:gd name="connsiteY14" fmla="*/ 144523 h 250647"/>
                    <a:gd name="connsiteX15" fmla="*/ 175396 w 197401"/>
                    <a:gd name="connsiteY15" fmla="*/ 175076 h 250647"/>
                    <a:gd name="connsiteX16" fmla="*/ 101851 w 197401"/>
                    <a:gd name="connsiteY16" fmla="*/ 250647 h 250647"/>
                    <a:gd name="connsiteX17" fmla="*/ 12329 w 197401"/>
                    <a:gd name="connsiteY17" fmla="*/ 122616 h 250647"/>
                    <a:gd name="connsiteX18" fmla="*/ 12329 w 197401"/>
                    <a:gd name="connsiteY18" fmla="*/ 144523 h 250647"/>
                    <a:gd name="connsiteX19" fmla="*/ 27249 w 197401"/>
                    <a:gd name="connsiteY19" fmla="*/ 163164 h 250647"/>
                    <a:gd name="connsiteX20" fmla="*/ 32370 w 197401"/>
                    <a:gd name="connsiteY20" fmla="*/ 163164 h 250647"/>
                    <a:gd name="connsiteX21" fmla="*/ 33316 w 197401"/>
                    <a:gd name="connsiteY21" fmla="*/ 168212 h 250647"/>
                    <a:gd name="connsiteX22" fmla="*/ 95735 w 197401"/>
                    <a:gd name="connsiteY22" fmla="*/ 238318 h 250647"/>
                    <a:gd name="connsiteX23" fmla="*/ 101851 w 197401"/>
                    <a:gd name="connsiteY23" fmla="*/ 238318 h 250647"/>
                    <a:gd name="connsiteX24" fmla="*/ 164257 w 197401"/>
                    <a:gd name="connsiteY24" fmla="*/ 168224 h 250647"/>
                    <a:gd name="connsiteX25" fmla="*/ 165191 w 197401"/>
                    <a:gd name="connsiteY25" fmla="*/ 163177 h 250647"/>
                    <a:gd name="connsiteX26" fmla="*/ 170324 w 197401"/>
                    <a:gd name="connsiteY26" fmla="*/ 163177 h 250647"/>
                    <a:gd name="connsiteX27" fmla="*/ 185048 w 197401"/>
                    <a:gd name="connsiteY27" fmla="*/ 144536 h 250647"/>
                    <a:gd name="connsiteX28" fmla="*/ 185048 w 197401"/>
                    <a:gd name="connsiteY28" fmla="*/ 122628 h 250647"/>
                    <a:gd name="connsiteX29" fmla="*/ 175285 w 197401"/>
                    <a:gd name="connsiteY29" fmla="*/ 122628 h 250647"/>
                    <a:gd name="connsiteX30" fmla="*/ 175285 w 197401"/>
                    <a:gd name="connsiteY30" fmla="*/ 50274 h 250647"/>
                    <a:gd name="connsiteX31" fmla="*/ 164454 w 197401"/>
                    <a:gd name="connsiteY31" fmla="*/ 31695 h 250647"/>
                    <a:gd name="connsiteX32" fmla="*/ 112596 w 197401"/>
                    <a:gd name="connsiteY32" fmla="*/ 67896 h 250647"/>
                    <a:gd name="connsiteX33" fmla="*/ 64740 w 197401"/>
                    <a:gd name="connsiteY33" fmla="*/ 67896 h 250647"/>
                    <a:gd name="connsiteX34" fmla="*/ 56807 w 197401"/>
                    <a:gd name="connsiteY34" fmla="*/ 75829 h 250647"/>
                    <a:gd name="connsiteX35" fmla="*/ 56807 w 197401"/>
                    <a:gd name="connsiteY35" fmla="*/ 84904 h 250647"/>
                    <a:gd name="connsiteX36" fmla="*/ 44478 w 197401"/>
                    <a:gd name="connsiteY36" fmla="*/ 84904 h 250647"/>
                    <a:gd name="connsiteX37" fmla="*/ 44478 w 197401"/>
                    <a:gd name="connsiteY37" fmla="*/ 75829 h 250647"/>
                    <a:gd name="connsiteX38" fmla="*/ 64740 w 197401"/>
                    <a:gd name="connsiteY38" fmla="*/ 55567 h 250647"/>
                    <a:gd name="connsiteX39" fmla="*/ 112596 w 197401"/>
                    <a:gd name="connsiteY39" fmla="*/ 55567 h 250647"/>
                    <a:gd name="connsiteX40" fmla="*/ 153905 w 197401"/>
                    <a:gd name="connsiteY40" fmla="*/ 24290 h 250647"/>
                    <a:gd name="connsiteX41" fmla="*/ 153905 w 197401"/>
                    <a:gd name="connsiteY41" fmla="*/ 16578 h 250647"/>
                    <a:gd name="connsiteX42" fmla="*/ 155330 w 197401"/>
                    <a:gd name="connsiteY42" fmla="*/ 16615 h 250647"/>
                    <a:gd name="connsiteX43" fmla="*/ 155514 w 197401"/>
                    <a:gd name="connsiteY43" fmla="*/ 12673 h 250647"/>
                    <a:gd name="connsiteX44" fmla="*/ 155514 w 197401"/>
                    <a:gd name="connsiteY44" fmla="*/ 12341 h 250647"/>
                    <a:gd name="connsiteX45" fmla="*/ 71691 w 197401"/>
                    <a:gd name="connsiteY45" fmla="*/ 12341 h 250647"/>
                    <a:gd name="connsiteX46" fmla="*/ 22288 w 197401"/>
                    <a:gd name="connsiteY46" fmla="*/ 61744 h 250647"/>
                    <a:gd name="connsiteX47" fmla="*/ 22288 w 197401"/>
                    <a:gd name="connsiteY47" fmla="*/ 122628 h 250647"/>
                    <a:gd name="connsiteX48" fmla="*/ 12329 w 197401"/>
                    <a:gd name="connsiteY48" fmla="*/ 122628 h 25064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</a:cxnLst>
                  <a:rect l="l" t="t" r="r" b="b"/>
                  <a:pathLst>
                    <a:path w="197401" h="250647">
                      <a:moveTo>
                        <a:pt x="101851" y="250647"/>
                      </a:moveTo>
                      <a:lnTo>
                        <a:pt x="95735" y="250647"/>
                      </a:lnTo>
                      <a:cubicBezTo>
                        <a:pt x="44245" y="250647"/>
                        <a:pt x="26341" y="192256"/>
                        <a:pt x="22190" y="175052"/>
                      </a:cubicBezTo>
                      <a:cubicBezTo>
                        <a:pt x="8903" y="172657"/>
                        <a:pt x="0" y="160770"/>
                        <a:pt x="0" y="144523"/>
                      </a:cubicBezTo>
                      <a:lnTo>
                        <a:pt x="0" y="110287"/>
                      </a:lnTo>
                      <a:lnTo>
                        <a:pt x="9959" y="110287"/>
                      </a:lnTo>
                      <a:lnTo>
                        <a:pt x="9959" y="61732"/>
                      </a:lnTo>
                      <a:cubicBezTo>
                        <a:pt x="9959" y="27691"/>
                        <a:pt x="37651" y="0"/>
                        <a:pt x="71691" y="0"/>
                      </a:cubicBezTo>
                      <a:lnTo>
                        <a:pt x="167856" y="0"/>
                      </a:lnTo>
                      <a:lnTo>
                        <a:pt x="167856" y="12661"/>
                      </a:lnTo>
                      <a:cubicBezTo>
                        <a:pt x="167856" y="14945"/>
                        <a:pt x="167708" y="17192"/>
                        <a:pt x="167450" y="19402"/>
                      </a:cubicBezTo>
                      <a:cubicBezTo>
                        <a:pt x="179325" y="24621"/>
                        <a:pt x="187639" y="36496"/>
                        <a:pt x="187639" y="50274"/>
                      </a:cubicBezTo>
                      <a:lnTo>
                        <a:pt x="187639" y="110287"/>
                      </a:lnTo>
                      <a:lnTo>
                        <a:pt x="197401" y="110287"/>
                      </a:lnTo>
                      <a:lnTo>
                        <a:pt x="197401" y="144523"/>
                      </a:lnTo>
                      <a:cubicBezTo>
                        <a:pt x="197401" y="161052"/>
                        <a:pt x="188756" y="172731"/>
                        <a:pt x="175396" y="175076"/>
                      </a:cubicBezTo>
                      <a:cubicBezTo>
                        <a:pt x="171233" y="192293"/>
                        <a:pt x="153341" y="250647"/>
                        <a:pt x="101851" y="250647"/>
                      </a:cubicBezTo>
                      <a:close/>
                      <a:moveTo>
                        <a:pt x="12329" y="122616"/>
                      </a:moveTo>
                      <a:lnTo>
                        <a:pt x="12329" y="144523"/>
                      </a:lnTo>
                      <a:cubicBezTo>
                        <a:pt x="12329" y="153537"/>
                        <a:pt x="16247" y="163164"/>
                        <a:pt x="27249" y="163164"/>
                      </a:cubicBezTo>
                      <a:lnTo>
                        <a:pt x="32370" y="163164"/>
                      </a:lnTo>
                      <a:lnTo>
                        <a:pt x="33316" y="168212"/>
                      </a:lnTo>
                      <a:cubicBezTo>
                        <a:pt x="33451" y="168912"/>
                        <a:pt x="46910" y="238318"/>
                        <a:pt x="95735" y="238318"/>
                      </a:cubicBezTo>
                      <a:lnTo>
                        <a:pt x="101851" y="238318"/>
                      </a:lnTo>
                      <a:cubicBezTo>
                        <a:pt x="150811" y="238318"/>
                        <a:pt x="164147" y="168912"/>
                        <a:pt x="164257" y="168224"/>
                      </a:cubicBezTo>
                      <a:lnTo>
                        <a:pt x="165191" y="163177"/>
                      </a:lnTo>
                      <a:lnTo>
                        <a:pt x="170324" y="163177"/>
                      </a:lnTo>
                      <a:cubicBezTo>
                        <a:pt x="181192" y="163177"/>
                        <a:pt x="185048" y="153549"/>
                        <a:pt x="185048" y="144536"/>
                      </a:cubicBezTo>
                      <a:lnTo>
                        <a:pt x="185048" y="122628"/>
                      </a:lnTo>
                      <a:lnTo>
                        <a:pt x="175285" y="122628"/>
                      </a:lnTo>
                      <a:lnTo>
                        <a:pt x="175285" y="50274"/>
                      </a:lnTo>
                      <a:cubicBezTo>
                        <a:pt x="175285" y="42329"/>
                        <a:pt x="170926" y="35379"/>
                        <a:pt x="164454" y="31695"/>
                      </a:cubicBezTo>
                      <a:cubicBezTo>
                        <a:pt x="156681" y="52804"/>
                        <a:pt x="136370" y="67896"/>
                        <a:pt x="112596" y="67896"/>
                      </a:cubicBezTo>
                      <a:lnTo>
                        <a:pt x="64740" y="67896"/>
                      </a:lnTo>
                      <a:cubicBezTo>
                        <a:pt x="60369" y="67896"/>
                        <a:pt x="56807" y="71457"/>
                        <a:pt x="56807" y="75829"/>
                      </a:cubicBezTo>
                      <a:lnTo>
                        <a:pt x="56807" y="84904"/>
                      </a:lnTo>
                      <a:lnTo>
                        <a:pt x="44478" y="84904"/>
                      </a:lnTo>
                      <a:lnTo>
                        <a:pt x="44478" y="75829"/>
                      </a:lnTo>
                      <a:cubicBezTo>
                        <a:pt x="44478" y="64654"/>
                        <a:pt x="53565" y="55567"/>
                        <a:pt x="64740" y="55567"/>
                      </a:cubicBezTo>
                      <a:lnTo>
                        <a:pt x="112596" y="55567"/>
                      </a:lnTo>
                      <a:cubicBezTo>
                        <a:pt x="132219" y="55567"/>
                        <a:pt x="148822" y="42317"/>
                        <a:pt x="153905" y="24290"/>
                      </a:cubicBezTo>
                      <a:lnTo>
                        <a:pt x="153905" y="16578"/>
                      </a:lnTo>
                      <a:cubicBezTo>
                        <a:pt x="154384" y="16578"/>
                        <a:pt x="154851" y="16590"/>
                        <a:pt x="155330" y="16615"/>
                      </a:cubicBezTo>
                      <a:cubicBezTo>
                        <a:pt x="155453" y="15313"/>
                        <a:pt x="155514" y="13999"/>
                        <a:pt x="155514" y="12673"/>
                      </a:cubicBezTo>
                      <a:lnTo>
                        <a:pt x="155514" y="12341"/>
                      </a:lnTo>
                      <a:lnTo>
                        <a:pt x="71691" y="12341"/>
                      </a:lnTo>
                      <a:cubicBezTo>
                        <a:pt x="44454" y="12341"/>
                        <a:pt x="22288" y="34495"/>
                        <a:pt x="22288" y="61744"/>
                      </a:cubicBezTo>
                      <a:lnTo>
                        <a:pt x="22288" y="122628"/>
                      </a:lnTo>
                      <a:lnTo>
                        <a:pt x="12329" y="122628"/>
                      </a:lnTo>
                      <a:close/>
                    </a:path>
                  </a:pathLst>
                </a:custGeom>
                <a:grpFill/>
                <a:ln w="1228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GB" dirty="0"/>
                </a:p>
              </p:txBody>
            </p:sp>
            <p:sp>
              <p:nvSpPr>
                <p:cNvPr id="196" name="Freihandform: Form 175">
                  <a:extLst>
                    <a:ext uri="{FF2B5EF4-FFF2-40B4-BE49-F238E27FC236}">
                      <a16:creationId xmlns:a16="http://schemas.microsoft.com/office/drawing/2014/main" id="{B39B8FAF-BACB-5ED5-C8D9-770EBE51E21F}"/>
                    </a:ext>
                  </a:extLst>
                </p:cNvPr>
                <p:cNvSpPr/>
                <p:nvPr/>
              </p:nvSpPr>
              <p:spPr>
                <a:xfrm>
                  <a:off x="2382253" y="1916720"/>
                  <a:ext cx="63696" cy="54474"/>
                </a:xfrm>
                <a:custGeom>
                  <a:avLst/>
                  <a:gdLst>
                    <a:gd name="connsiteX0" fmla="*/ 59607 w 63696"/>
                    <a:gd name="connsiteY0" fmla="*/ 54474 h 54474"/>
                    <a:gd name="connsiteX1" fmla="*/ 33942 w 63696"/>
                    <a:gd name="connsiteY1" fmla="*/ 45976 h 54474"/>
                    <a:gd name="connsiteX2" fmla="*/ 0 w 63696"/>
                    <a:gd name="connsiteY2" fmla="*/ 0 h 54474"/>
                    <a:gd name="connsiteX3" fmla="*/ 12341 w 63696"/>
                    <a:gd name="connsiteY3" fmla="*/ 0 h 54474"/>
                    <a:gd name="connsiteX4" fmla="*/ 37601 w 63696"/>
                    <a:gd name="connsiteY4" fmla="*/ 34200 h 54474"/>
                    <a:gd name="connsiteX5" fmla="*/ 63696 w 63696"/>
                    <a:gd name="connsiteY5" fmla="*/ 42845 h 54474"/>
                    <a:gd name="connsiteX6" fmla="*/ 59607 w 63696"/>
                    <a:gd name="connsiteY6" fmla="*/ 54474 h 544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63696" h="54474">
                      <a:moveTo>
                        <a:pt x="59607" y="54474"/>
                      </a:moveTo>
                      <a:cubicBezTo>
                        <a:pt x="50459" y="51244"/>
                        <a:pt x="41678" y="48383"/>
                        <a:pt x="33942" y="45976"/>
                      </a:cubicBezTo>
                      <a:cubicBezTo>
                        <a:pt x="13643" y="39640"/>
                        <a:pt x="0" y="21171"/>
                        <a:pt x="0" y="0"/>
                      </a:cubicBezTo>
                      <a:lnTo>
                        <a:pt x="12341" y="0"/>
                      </a:lnTo>
                      <a:cubicBezTo>
                        <a:pt x="12341" y="15743"/>
                        <a:pt x="22497" y="29484"/>
                        <a:pt x="37601" y="34200"/>
                      </a:cubicBezTo>
                      <a:cubicBezTo>
                        <a:pt x="45473" y="36656"/>
                        <a:pt x="54401" y="39566"/>
                        <a:pt x="63696" y="42845"/>
                      </a:cubicBezTo>
                      <a:lnTo>
                        <a:pt x="59607" y="54474"/>
                      </a:lnTo>
                      <a:close/>
                    </a:path>
                  </a:pathLst>
                </a:custGeom>
                <a:grpFill/>
                <a:ln w="1228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GB" dirty="0"/>
                </a:p>
              </p:txBody>
            </p:sp>
            <p:sp>
              <p:nvSpPr>
                <p:cNvPr id="197" name="Freihandform: Form 176">
                  <a:extLst>
                    <a:ext uri="{FF2B5EF4-FFF2-40B4-BE49-F238E27FC236}">
                      <a16:creationId xmlns:a16="http://schemas.microsoft.com/office/drawing/2014/main" id="{77864F98-0EF6-449C-C3CC-0D8F1E87B50D}"/>
                    </a:ext>
                  </a:extLst>
                </p:cNvPr>
                <p:cNvSpPr/>
                <p:nvPr/>
              </p:nvSpPr>
              <p:spPr>
                <a:xfrm>
                  <a:off x="2153517" y="1916720"/>
                  <a:ext cx="167814" cy="182837"/>
                </a:xfrm>
                <a:custGeom>
                  <a:avLst/>
                  <a:gdLst>
                    <a:gd name="connsiteX0" fmla="*/ 12521 w 167814"/>
                    <a:gd name="connsiteY0" fmla="*/ 182837 h 182837"/>
                    <a:gd name="connsiteX1" fmla="*/ 192 w 167814"/>
                    <a:gd name="connsiteY1" fmla="*/ 182837 h 182837"/>
                    <a:gd name="connsiteX2" fmla="*/ 192 w 167814"/>
                    <a:gd name="connsiteY2" fmla="*/ 140753 h 182837"/>
                    <a:gd name="connsiteX3" fmla="*/ 40250 w 167814"/>
                    <a:gd name="connsiteY3" fmla="*/ 70991 h 182837"/>
                    <a:gd name="connsiteX4" fmla="*/ 130201 w 167814"/>
                    <a:gd name="connsiteY4" fmla="*/ 34200 h 182837"/>
                    <a:gd name="connsiteX5" fmla="*/ 155485 w 167814"/>
                    <a:gd name="connsiteY5" fmla="*/ 0 h 182837"/>
                    <a:gd name="connsiteX6" fmla="*/ 167814 w 167814"/>
                    <a:gd name="connsiteY6" fmla="*/ 0 h 182837"/>
                    <a:gd name="connsiteX7" fmla="*/ 133872 w 167814"/>
                    <a:gd name="connsiteY7" fmla="*/ 45976 h 182837"/>
                    <a:gd name="connsiteX8" fmla="*/ 46574 w 167814"/>
                    <a:gd name="connsiteY8" fmla="*/ 81576 h 182837"/>
                    <a:gd name="connsiteX9" fmla="*/ 12497 w 167814"/>
                    <a:gd name="connsiteY9" fmla="*/ 140066 h 182837"/>
                    <a:gd name="connsiteX10" fmla="*/ 12521 w 167814"/>
                    <a:gd name="connsiteY10" fmla="*/ 182837 h 18283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167814" h="182837">
                      <a:moveTo>
                        <a:pt x="12521" y="182837"/>
                      </a:moveTo>
                      <a:lnTo>
                        <a:pt x="192" y="182837"/>
                      </a:lnTo>
                      <a:lnTo>
                        <a:pt x="192" y="140753"/>
                      </a:lnTo>
                      <a:cubicBezTo>
                        <a:pt x="20" y="139697"/>
                        <a:pt x="-4364" y="97626"/>
                        <a:pt x="40250" y="70991"/>
                      </a:cubicBezTo>
                      <a:cubicBezTo>
                        <a:pt x="65583" y="55862"/>
                        <a:pt x="103148" y="42636"/>
                        <a:pt x="130201" y="34200"/>
                      </a:cubicBezTo>
                      <a:cubicBezTo>
                        <a:pt x="145317" y="29484"/>
                        <a:pt x="155485" y="15743"/>
                        <a:pt x="155485" y="0"/>
                      </a:cubicBezTo>
                      <a:lnTo>
                        <a:pt x="167814" y="0"/>
                      </a:lnTo>
                      <a:cubicBezTo>
                        <a:pt x="167814" y="21158"/>
                        <a:pt x="154171" y="39628"/>
                        <a:pt x="133872" y="45976"/>
                      </a:cubicBezTo>
                      <a:cubicBezTo>
                        <a:pt x="107458" y="54204"/>
                        <a:pt x="70876" y="67073"/>
                        <a:pt x="46574" y="81576"/>
                      </a:cubicBezTo>
                      <a:cubicBezTo>
                        <a:pt x="9022" y="103987"/>
                        <a:pt x="12325" y="138592"/>
                        <a:pt x="12497" y="140066"/>
                      </a:cubicBezTo>
                      <a:lnTo>
                        <a:pt x="12521" y="182837"/>
                      </a:lnTo>
                      <a:close/>
                    </a:path>
                  </a:pathLst>
                </a:custGeom>
                <a:grpFill/>
                <a:ln w="1228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GB" dirty="0"/>
                </a:p>
              </p:txBody>
            </p:sp>
            <p:sp>
              <p:nvSpPr>
                <p:cNvPr id="198" name="Freihandform: Form 177">
                  <a:extLst>
                    <a:ext uri="{FF2B5EF4-FFF2-40B4-BE49-F238E27FC236}">
                      <a16:creationId xmlns:a16="http://schemas.microsoft.com/office/drawing/2014/main" id="{4BE62388-BFF9-8849-0842-C0ECE73FBFF0}"/>
                    </a:ext>
                  </a:extLst>
                </p:cNvPr>
                <p:cNvSpPr/>
                <p:nvPr/>
              </p:nvSpPr>
              <p:spPr>
                <a:xfrm>
                  <a:off x="2269252" y="1936074"/>
                  <a:ext cx="91129" cy="91793"/>
                </a:xfrm>
                <a:custGeom>
                  <a:avLst/>
                  <a:gdLst>
                    <a:gd name="connsiteX0" fmla="*/ 50434 w 91129"/>
                    <a:gd name="connsiteY0" fmla="*/ 91793 h 91793"/>
                    <a:gd name="connsiteX1" fmla="*/ 0 w 91129"/>
                    <a:gd name="connsiteY1" fmla="*/ 28244 h 91793"/>
                    <a:gd name="connsiteX2" fmla="*/ 9652 w 91129"/>
                    <a:gd name="connsiteY2" fmla="*/ 20569 h 91793"/>
                    <a:gd name="connsiteX3" fmla="*/ 51674 w 91129"/>
                    <a:gd name="connsiteY3" fmla="*/ 73533 h 91793"/>
                    <a:gd name="connsiteX4" fmla="*/ 73926 w 91129"/>
                    <a:gd name="connsiteY4" fmla="*/ 52202 h 91793"/>
                    <a:gd name="connsiteX5" fmla="*/ 34077 w 91129"/>
                    <a:gd name="connsiteY5" fmla="*/ 8289 h 91793"/>
                    <a:gd name="connsiteX6" fmla="*/ 43213 w 91129"/>
                    <a:gd name="connsiteY6" fmla="*/ 0 h 91793"/>
                    <a:gd name="connsiteX7" fmla="*/ 91130 w 91129"/>
                    <a:gd name="connsiteY7" fmla="*/ 52804 h 9179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91129" h="91793">
                      <a:moveTo>
                        <a:pt x="50434" y="91793"/>
                      </a:moveTo>
                      <a:lnTo>
                        <a:pt x="0" y="28244"/>
                      </a:lnTo>
                      <a:lnTo>
                        <a:pt x="9652" y="20569"/>
                      </a:lnTo>
                      <a:lnTo>
                        <a:pt x="51674" y="73533"/>
                      </a:lnTo>
                      <a:lnTo>
                        <a:pt x="73926" y="52202"/>
                      </a:lnTo>
                      <a:lnTo>
                        <a:pt x="34077" y="8289"/>
                      </a:lnTo>
                      <a:lnTo>
                        <a:pt x="43213" y="0"/>
                      </a:lnTo>
                      <a:lnTo>
                        <a:pt x="91130" y="52804"/>
                      </a:lnTo>
                      <a:close/>
                    </a:path>
                  </a:pathLst>
                </a:custGeom>
                <a:grpFill/>
                <a:ln w="1228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GB" dirty="0"/>
                </a:p>
              </p:txBody>
            </p:sp>
            <p:sp>
              <p:nvSpPr>
                <p:cNvPr id="199" name="Freihandform: Form 178">
                  <a:extLst>
                    <a:ext uri="{FF2B5EF4-FFF2-40B4-BE49-F238E27FC236}">
                      <a16:creationId xmlns:a16="http://schemas.microsoft.com/office/drawing/2014/main" id="{1E1851FC-2144-83ED-FD79-83CBD3FE6DAD}"/>
                    </a:ext>
                  </a:extLst>
                </p:cNvPr>
                <p:cNvSpPr/>
                <p:nvPr/>
              </p:nvSpPr>
              <p:spPr>
                <a:xfrm>
                  <a:off x="2343178" y="1936061"/>
                  <a:ext cx="91142" cy="91805"/>
                </a:xfrm>
                <a:custGeom>
                  <a:avLst/>
                  <a:gdLst>
                    <a:gd name="connsiteX0" fmla="*/ 40708 w 91142"/>
                    <a:gd name="connsiteY0" fmla="*/ 91805 h 91805"/>
                    <a:gd name="connsiteX1" fmla="*/ 0 w 91142"/>
                    <a:gd name="connsiteY1" fmla="*/ 52816 h 91805"/>
                    <a:gd name="connsiteX2" fmla="*/ 47941 w 91142"/>
                    <a:gd name="connsiteY2" fmla="*/ 0 h 91805"/>
                    <a:gd name="connsiteX3" fmla="*/ 57065 w 91142"/>
                    <a:gd name="connsiteY3" fmla="*/ 8289 h 91805"/>
                    <a:gd name="connsiteX4" fmla="*/ 17204 w 91142"/>
                    <a:gd name="connsiteY4" fmla="*/ 52215 h 91805"/>
                    <a:gd name="connsiteX5" fmla="*/ 39468 w 91142"/>
                    <a:gd name="connsiteY5" fmla="*/ 73545 h 91805"/>
                    <a:gd name="connsiteX6" fmla="*/ 81478 w 91142"/>
                    <a:gd name="connsiteY6" fmla="*/ 20594 h 91805"/>
                    <a:gd name="connsiteX7" fmla="*/ 91142 w 91142"/>
                    <a:gd name="connsiteY7" fmla="*/ 28256 h 9180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91142" h="91805">
                      <a:moveTo>
                        <a:pt x="40708" y="91805"/>
                      </a:moveTo>
                      <a:lnTo>
                        <a:pt x="0" y="52816"/>
                      </a:lnTo>
                      <a:lnTo>
                        <a:pt x="47941" y="0"/>
                      </a:lnTo>
                      <a:lnTo>
                        <a:pt x="57065" y="8289"/>
                      </a:lnTo>
                      <a:lnTo>
                        <a:pt x="17204" y="52215"/>
                      </a:lnTo>
                      <a:lnTo>
                        <a:pt x="39468" y="73545"/>
                      </a:lnTo>
                      <a:lnTo>
                        <a:pt x="81478" y="20594"/>
                      </a:lnTo>
                      <a:lnTo>
                        <a:pt x="91142" y="28256"/>
                      </a:lnTo>
                      <a:close/>
                    </a:path>
                  </a:pathLst>
                </a:custGeom>
                <a:grpFill/>
                <a:ln w="1228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GB" dirty="0"/>
                </a:p>
              </p:txBody>
            </p:sp>
            <p:sp>
              <p:nvSpPr>
                <p:cNvPr id="200" name="Freihandform: Form 179">
                  <a:extLst>
                    <a:ext uri="{FF2B5EF4-FFF2-40B4-BE49-F238E27FC236}">
                      <a16:creationId xmlns:a16="http://schemas.microsoft.com/office/drawing/2014/main" id="{1C5B6E2C-CDCA-6B7F-B92A-5EEA7E359ED3}"/>
                    </a:ext>
                  </a:extLst>
                </p:cNvPr>
                <p:cNvSpPr/>
                <p:nvPr/>
              </p:nvSpPr>
              <p:spPr>
                <a:xfrm>
                  <a:off x="2322363" y="1980024"/>
                  <a:ext cx="58845" cy="55714"/>
                </a:xfrm>
                <a:custGeom>
                  <a:avLst/>
                  <a:gdLst>
                    <a:gd name="connsiteX0" fmla="*/ 29423 w 58845"/>
                    <a:gd name="connsiteY0" fmla="*/ 55714 h 55714"/>
                    <a:gd name="connsiteX1" fmla="*/ 29423 w 58845"/>
                    <a:gd name="connsiteY1" fmla="*/ 55714 h 55714"/>
                    <a:gd name="connsiteX2" fmla="*/ 14306 w 58845"/>
                    <a:gd name="connsiteY2" fmla="*/ 47978 h 55714"/>
                    <a:gd name="connsiteX3" fmla="*/ 0 w 58845"/>
                    <a:gd name="connsiteY3" fmla="*/ 28183 h 55714"/>
                    <a:gd name="connsiteX4" fmla="*/ 29423 w 58845"/>
                    <a:gd name="connsiteY4" fmla="*/ 0 h 55714"/>
                    <a:gd name="connsiteX5" fmla="*/ 58846 w 58845"/>
                    <a:gd name="connsiteY5" fmla="*/ 28183 h 55714"/>
                    <a:gd name="connsiteX6" fmla="*/ 44552 w 58845"/>
                    <a:gd name="connsiteY6" fmla="*/ 47978 h 55714"/>
                    <a:gd name="connsiteX7" fmla="*/ 29423 w 58845"/>
                    <a:gd name="connsiteY7" fmla="*/ 55714 h 55714"/>
                    <a:gd name="connsiteX8" fmla="*/ 16283 w 58845"/>
                    <a:gd name="connsiteY8" fmla="*/ 29681 h 55714"/>
                    <a:gd name="connsiteX9" fmla="*/ 24302 w 58845"/>
                    <a:gd name="connsiteY9" fmla="*/ 40770 h 55714"/>
                    <a:gd name="connsiteX10" fmla="*/ 29423 w 58845"/>
                    <a:gd name="connsiteY10" fmla="*/ 43398 h 55714"/>
                    <a:gd name="connsiteX11" fmla="*/ 29423 w 58845"/>
                    <a:gd name="connsiteY11" fmla="*/ 43398 h 55714"/>
                    <a:gd name="connsiteX12" fmla="*/ 34556 w 58845"/>
                    <a:gd name="connsiteY12" fmla="*/ 40770 h 55714"/>
                    <a:gd name="connsiteX13" fmla="*/ 42562 w 58845"/>
                    <a:gd name="connsiteY13" fmla="*/ 29681 h 55714"/>
                    <a:gd name="connsiteX14" fmla="*/ 29423 w 58845"/>
                    <a:gd name="connsiteY14" fmla="*/ 17094 h 55714"/>
                    <a:gd name="connsiteX15" fmla="*/ 16283 w 58845"/>
                    <a:gd name="connsiteY15" fmla="*/ 29681 h 5571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</a:cxnLst>
                  <a:rect l="l" t="t" r="r" b="b"/>
                  <a:pathLst>
                    <a:path w="58845" h="55714">
                      <a:moveTo>
                        <a:pt x="29423" y="55714"/>
                      </a:moveTo>
                      <a:cubicBezTo>
                        <a:pt x="29423" y="55714"/>
                        <a:pt x="29423" y="55714"/>
                        <a:pt x="29423" y="55714"/>
                      </a:cubicBezTo>
                      <a:cubicBezTo>
                        <a:pt x="23356" y="55702"/>
                        <a:pt x="17855" y="52890"/>
                        <a:pt x="14306" y="47978"/>
                      </a:cubicBezTo>
                      <a:lnTo>
                        <a:pt x="0" y="28183"/>
                      </a:lnTo>
                      <a:lnTo>
                        <a:pt x="29423" y="0"/>
                      </a:lnTo>
                      <a:lnTo>
                        <a:pt x="58846" y="28183"/>
                      </a:lnTo>
                      <a:lnTo>
                        <a:pt x="44552" y="47978"/>
                      </a:lnTo>
                      <a:cubicBezTo>
                        <a:pt x="40991" y="52902"/>
                        <a:pt x="35477" y="55714"/>
                        <a:pt x="29423" y="55714"/>
                      </a:cubicBezTo>
                      <a:close/>
                      <a:moveTo>
                        <a:pt x="16283" y="29681"/>
                      </a:moveTo>
                      <a:lnTo>
                        <a:pt x="24302" y="40770"/>
                      </a:lnTo>
                      <a:cubicBezTo>
                        <a:pt x="25505" y="42440"/>
                        <a:pt x="27372" y="43385"/>
                        <a:pt x="29423" y="43398"/>
                      </a:cubicBezTo>
                      <a:lnTo>
                        <a:pt x="29423" y="43398"/>
                      </a:lnTo>
                      <a:cubicBezTo>
                        <a:pt x="31474" y="43398"/>
                        <a:pt x="33352" y="42440"/>
                        <a:pt x="34556" y="40770"/>
                      </a:cubicBezTo>
                      <a:lnTo>
                        <a:pt x="42562" y="29681"/>
                      </a:lnTo>
                      <a:lnTo>
                        <a:pt x="29423" y="17094"/>
                      </a:lnTo>
                      <a:lnTo>
                        <a:pt x="16283" y="29681"/>
                      </a:lnTo>
                      <a:close/>
                    </a:path>
                  </a:pathLst>
                </a:custGeom>
                <a:grpFill/>
                <a:ln w="1228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GB" dirty="0"/>
                </a:p>
              </p:txBody>
            </p:sp>
            <p:sp>
              <p:nvSpPr>
                <p:cNvPr id="201" name="Freihandform: Form 180">
                  <a:extLst>
                    <a:ext uri="{FF2B5EF4-FFF2-40B4-BE49-F238E27FC236}">
                      <a16:creationId xmlns:a16="http://schemas.microsoft.com/office/drawing/2014/main" id="{67519B7D-B25A-3537-335E-B189B459473B}"/>
                    </a:ext>
                  </a:extLst>
                </p:cNvPr>
                <p:cNvSpPr/>
                <p:nvPr/>
              </p:nvSpPr>
              <p:spPr>
                <a:xfrm rot="-4689850">
                  <a:off x="2295325" y="2055871"/>
                  <a:ext cx="76796" cy="12328"/>
                </a:xfrm>
                <a:custGeom>
                  <a:avLst/>
                  <a:gdLst>
                    <a:gd name="connsiteX0" fmla="*/ 0 w 76796"/>
                    <a:gd name="connsiteY0" fmla="*/ 0 h 12328"/>
                    <a:gd name="connsiteX1" fmla="*/ 76796 w 76796"/>
                    <a:gd name="connsiteY1" fmla="*/ 0 h 12328"/>
                    <a:gd name="connsiteX2" fmla="*/ 76796 w 76796"/>
                    <a:gd name="connsiteY2" fmla="*/ 12329 h 12328"/>
                    <a:gd name="connsiteX3" fmla="*/ 0 w 76796"/>
                    <a:gd name="connsiteY3" fmla="*/ 12329 h 1232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76796" h="12328">
                      <a:moveTo>
                        <a:pt x="0" y="0"/>
                      </a:moveTo>
                      <a:lnTo>
                        <a:pt x="76796" y="0"/>
                      </a:lnTo>
                      <a:lnTo>
                        <a:pt x="76796" y="12329"/>
                      </a:lnTo>
                      <a:lnTo>
                        <a:pt x="0" y="12329"/>
                      </a:lnTo>
                      <a:close/>
                    </a:path>
                  </a:pathLst>
                </a:custGeom>
                <a:grpFill/>
                <a:ln w="1228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GB" dirty="0"/>
                </a:p>
              </p:txBody>
            </p:sp>
            <p:sp>
              <p:nvSpPr>
                <p:cNvPr id="202" name="Freihandform: Form 181">
                  <a:extLst>
                    <a:ext uri="{FF2B5EF4-FFF2-40B4-BE49-F238E27FC236}">
                      <a16:creationId xmlns:a16="http://schemas.microsoft.com/office/drawing/2014/main" id="{0E1CC0CC-ED4C-5DDF-1432-DDE56B9FA80E}"/>
                    </a:ext>
                  </a:extLst>
                </p:cNvPr>
                <p:cNvSpPr/>
                <p:nvPr/>
              </p:nvSpPr>
              <p:spPr>
                <a:xfrm rot="-709743">
                  <a:off x="2363686" y="2023522"/>
                  <a:ext cx="12329" cy="76802"/>
                </a:xfrm>
                <a:custGeom>
                  <a:avLst/>
                  <a:gdLst>
                    <a:gd name="connsiteX0" fmla="*/ 0 w 12329"/>
                    <a:gd name="connsiteY0" fmla="*/ 0 h 76802"/>
                    <a:gd name="connsiteX1" fmla="*/ 12330 w 12329"/>
                    <a:gd name="connsiteY1" fmla="*/ 0 h 76802"/>
                    <a:gd name="connsiteX2" fmla="*/ 12330 w 12329"/>
                    <a:gd name="connsiteY2" fmla="*/ 76802 h 76802"/>
                    <a:gd name="connsiteX3" fmla="*/ 0 w 12329"/>
                    <a:gd name="connsiteY3" fmla="*/ 76802 h 7680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2329" h="76802">
                      <a:moveTo>
                        <a:pt x="0" y="0"/>
                      </a:moveTo>
                      <a:lnTo>
                        <a:pt x="12330" y="0"/>
                      </a:lnTo>
                      <a:lnTo>
                        <a:pt x="12330" y="76802"/>
                      </a:lnTo>
                      <a:lnTo>
                        <a:pt x="0" y="76802"/>
                      </a:lnTo>
                      <a:close/>
                    </a:path>
                  </a:pathLst>
                </a:custGeom>
                <a:grpFill/>
                <a:ln w="1228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GB" dirty="0"/>
                </a:p>
              </p:txBody>
            </p:sp>
          </p:grpSp>
          <p:sp>
            <p:nvSpPr>
              <p:cNvPr id="194" name="Freihandform: Form 182">
                <a:extLst>
                  <a:ext uri="{FF2B5EF4-FFF2-40B4-BE49-F238E27FC236}">
                    <a16:creationId xmlns:a16="http://schemas.microsoft.com/office/drawing/2014/main" id="{0E92DB84-B3AD-5DBB-2CBE-8467978106F9}"/>
                  </a:ext>
                </a:extLst>
              </p:cNvPr>
              <p:cNvSpPr/>
              <p:nvPr/>
            </p:nvSpPr>
            <p:spPr>
              <a:xfrm>
                <a:off x="2209191" y="2061981"/>
                <a:ext cx="12329" cy="37576"/>
              </a:xfrm>
              <a:custGeom>
                <a:avLst/>
                <a:gdLst>
                  <a:gd name="connsiteX0" fmla="*/ 0 w 12329"/>
                  <a:gd name="connsiteY0" fmla="*/ 0 h 37576"/>
                  <a:gd name="connsiteX1" fmla="*/ 12329 w 12329"/>
                  <a:gd name="connsiteY1" fmla="*/ 0 h 37576"/>
                  <a:gd name="connsiteX2" fmla="*/ 12329 w 12329"/>
                  <a:gd name="connsiteY2" fmla="*/ 37577 h 37576"/>
                  <a:gd name="connsiteX3" fmla="*/ 0 w 12329"/>
                  <a:gd name="connsiteY3" fmla="*/ 37577 h 375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2329" h="37576">
                    <a:moveTo>
                      <a:pt x="0" y="0"/>
                    </a:moveTo>
                    <a:lnTo>
                      <a:pt x="12329" y="0"/>
                    </a:lnTo>
                    <a:lnTo>
                      <a:pt x="12329" y="37577"/>
                    </a:lnTo>
                    <a:lnTo>
                      <a:pt x="0" y="37577"/>
                    </a:lnTo>
                    <a:close/>
                  </a:path>
                </a:pathLst>
              </a:custGeom>
              <a:grpFill/>
              <a:ln w="122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</p:grpSp>
      </p:grpSp>
      <p:grpSp>
        <p:nvGrpSpPr>
          <p:cNvPr id="23" name="Group 22">
            <a:extLst>
              <a:ext uri="{FF2B5EF4-FFF2-40B4-BE49-F238E27FC236}">
                <a16:creationId xmlns:a16="http://schemas.microsoft.com/office/drawing/2014/main" id="{72B9FF3F-9F2C-70E3-12D8-5717559FDD25}"/>
              </a:ext>
            </a:extLst>
          </p:cNvPr>
          <p:cNvGrpSpPr/>
          <p:nvPr/>
        </p:nvGrpSpPr>
        <p:grpSpPr>
          <a:xfrm>
            <a:off x="1267035" y="4342764"/>
            <a:ext cx="452344" cy="370800"/>
            <a:chOff x="1267035" y="4342764"/>
            <a:chExt cx="452344" cy="370800"/>
          </a:xfrm>
        </p:grpSpPr>
        <p:grpSp>
          <p:nvGrpSpPr>
            <p:cNvPr id="206" name="Grafik 125">
              <a:extLst>
                <a:ext uri="{FF2B5EF4-FFF2-40B4-BE49-F238E27FC236}">
                  <a16:creationId xmlns:a16="http://schemas.microsoft.com/office/drawing/2014/main" id="{7C1E0BB2-8F8F-69A1-EF99-FC30BDE1C321}"/>
                </a:ext>
              </a:extLst>
            </p:cNvPr>
            <p:cNvGrpSpPr/>
            <p:nvPr/>
          </p:nvGrpSpPr>
          <p:grpSpPr>
            <a:xfrm>
              <a:off x="1328889" y="4473291"/>
              <a:ext cx="328683" cy="93581"/>
              <a:chOff x="7860597" y="1849593"/>
              <a:chExt cx="359758" cy="102429"/>
            </a:xfrm>
            <a:solidFill>
              <a:srgbClr val="004DBF"/>
            </a:solidFill>
          </p:grpSpPr>
          <p:sp>
            <p:nvSpPr>
              <p:cNvPr id="209" name="Freihandform: Form 831">
                <a:extLst>
                  <a:ext uri="{FF2B5EF4-FFF2-40B4-BE49-F238E27FC236}">
                    <a16:creationId xmlns:a16="http://schemas.microsoft.com/office/drawing/2014/main" id="{013E2F89-57A7-FDF2-B94F-8E85BF7B20DA}"/>
                  </a:ext>
                </a:extLst>
              </p:cNvPr>
              <p:cNvSpPr/>
              <p:nvPr/>
            </p:nvSpPr>
            <p:spPr>
              <a:xfrm>
                <a:off x="7860597" y="1849621"/>
                <a:ext cx="106707" cy="102401"/>
              </a:xfrm>
              <a:custGeom>
                <a:avLst/>
                <a:gdLst>
                  <a:gd name="connsiteX0" fmla="*/ 80391 w 106707"/>
                  <a:gd name="connsiteY0" fmla="*/ 102401 h 102401"/>
                  <a:gd name="connsiteX1" fmla="*/ 75932 w 106707"/>
                  <a:gd name="connsiteY1" fmla="*/ 101294 h 102401"/>
                  <a:gd name="connsiteX2" fmla="*/ 53328 w 106707"/>
                  <a:gd name="connsiteY2" fmla="*/ 89395 h 102401"/>
                  <a:gd name="connsiteX3" fmla="*/ 30724 w 106707"/>
                  <a:gd name="connsiteY3" fmla="*/ 101294 h 102401"/>
                  <a:gd name="connsiteX4" fmla="*/ 20671 w 106707"/>
                  <a:gd name="connsiteY4" fmla="*/ 100584 h 102401"/>
                  <a:gd name="connsiteX5" fmla="*/ 16866 w 106707"/>
                  <a:gd name="connsiteY5" fmla="*/ 91241 h 102401"/>
                  <a:gd name="connsiteX6" fmla="*/ 21182 w 106707"/>
                  <a:gd name="connsiteY6" fmla="*/ 66053 h 102401"/>
                  <a:gd name="connsiteX7" fmla="*/ 2894 w 106707"/>
                  <a:gd name="connsiteY7" fmla="*/ 48219 h 102401"/>
                  <a:gd name="connsiteX8" fmla="*/ 480 w 106707"/>
                  <a:gd name="connsiteY8" fmla="*/ 38422 h 102401"/>
                  <a:gd name="connsiteX9" fmla="*/ 8204 w 106707"/>
                  <a:gd name="connsiteY9" fmla="*/ 31919 h 102401"/>
                  <a:gd name="connsiteX10" fmla="*/ 33478 w 106707"/>
                  <a:gd name="connsiteY10" fmla="*/ 28256 h 102401"/>
                  <a:gd name="connsiteX11" fmla="*/ 44780 w 106707"/>
                  <a:gd name="connsiteY11" fmla="*/ 5339 h 102401"/>
                  <a:gd name="connsiteX12" fmla="*/ 53356 w 106707"/>
                  <a:gd name="connsiteY12" fmla="*/ 0 h 102401"/>
                  <a:gd name="connsiteX13" fmla="*/ 61932 w 106707"/>
                  <a:gd name="connsiteY13" fmla="*/ 5339 h 102401"/>
                  <a:gd name="connsiteX14" fmla="*/ 73235 w 106707"/>
                  <a:gd name="connsiteY14" fmla="*/ 28256 h 102401"/>
                  <a:gd name="connsiteX15" fmla="*/ 98508 w 106707"/>
                  <a:gd name="connsiteY15" fmla="*/ 31919 h 102401"/>
                  <a:gd name="connsiteX16" fmla="*/ 106233 w 106707"/>
                  <a:gd name="connsiteY16" fmla="*/ 38422 h 102401"/>
                  <a:gd name="connsiteX17" fmla="*/ 103819 w 106707"/>
                  <a:gd name="connsiteY17" fmla="*/ 48219 h 102401"/>
                  <a:gd name="connsiteX18" fmla="*/ 85531 w 106707"/>
                  <a:gd name="connsiteY18" fmla="*/ 66053 h 102401"/>
                  <a:gd name="connsiteX19" fmla="*/ 89847 w 106707"/>
                  <a:gd name="connsiteY19" fmla="*/ 91241 h 102401"/>
                  <a:gd name="connsiteX20" fmla="*/ 86042 w 106707"/>
                  <a:gd name="connsiteY20" fmla="*/ 100584 h 102401"/>
                  <a:gd name="connsiteX21" fmla="*/ 80391 w 106707"/>
                  <a:gd name="connsiteY21" fmla="*/ 102401 h 102401"/>
                  <a:gd name="connsiteX22" fmla="*/ 10618 w 106707"/>
                  <a:gd name="connsiteY22" fmla="*/ 41688 h 102401"/>
                  <a:gd name="connsiteX23" fmla="*/ 30070 w 106707"/>
                  <a:gd name="connsiteY23" fmla="*/ 60657 h 102401"/>
                  <a:gd name="connsiteX24" fmla="*/ 31519 w 106707"/>
                  <a:gd name="connsiteY24" fmla="*/ 65116 h 102401"/>
                  <a:gd name="connsiteX25" fmla="*/ 26918 w 106707"/>
                  <a:gd name="connsiteY25" fmla="*/ 91894 h 102401"/>
                  <a:gd name="connsiteX26" fmla="*/ 50971 w 106707"/>
                  <a:gd name="connsiteY26" fmla="*/ 79257 h 102401"/>
                  <a:gd name="connsiteX27" fmla="*/ 55657 w 106707"/>
                  <a:gd name="connsiteY27" fmla="*/ 79257 h 102401"/>
                  <a:gd name="connsiteX28" fmla="*/ 79709 w 106707"/>
                  <a:gd name="connsiteY28" fmla="*/ 91894 h 102401"/>
                  <a:gd name="connsiteX29" fmla="*/ 75109 w 106707"/>
                  <a:gd name="connsiteY29" fmla="*/ 65116 h 102401"/>
                  <a:gd name="connsiteX30" fmla="*/ 76557 w 106707"/>
                  <a:gd name="connsiteY30" fmla="*/ 60657 h 102401"/>
                  <a:gd name="connsiteX31" fmla="*/ 96009 w 106707"/>
                  <a:gd name="connsiteY31" fmla="*/ 41688 h 102401"/>
                  <a:gd name="connsiteX32" fmla="*/ 69117 w 106707"/>
                  <a:gd name="connsiteY32" fmla="*/ 37769 h 102401"/>
                  <a:gd name="connsiteX33" fmla="*/ 65312 w 106707"/>
                  <a:gd name="connsiteY33" fmla="*/ 35014 h 102401"/>
                  <a:gd name="connsiteX34" fmla="*/ 53129 w 106707"/>
                  <a:gd name="connsiteY34" fmla="*/ 10337 h 102401"/>
                  <a:gd name="connsiteX35" fmla="*/ 41259 w 106707"/>
                  <a:gd name="connsiteY35" fmla="*/ 35014 h 102401"/>
                  <a:gd name="connsiteX36" fmla="*/ 37454 w 106707"/>
                  <a:gd name="connsiteY36" fmla="*/ 37769 h 102401"/>
                  <a:gd name="connsiteX37" fmla="*/ 10618 w 106707"/>
                  <a:gd name="connsiteY37" fmla="*/ 41688 h 1024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</a:cxnLst>
                <a:rect l="l" t="t" r="r" b="b"/>
                <a:pathLst>
                  <a:path w="106707" h="102401">
                    <a:moveTo>
                      <a:pt x="80391" y="102401"/>
                    </a:moveTo>
                    <a:cubicBezTo>
                      <a:pt x="78857" y="102401"/>
                      <a:pt x="77352" y="102032"/>
                      <a:pt x="75932" y="101294"/>
                    </a:cubicBezTo>
                    <a:lnTo>
                      <a:pt x="53328" y="89395"/>
                    </a:lnTo>
                    <a:lnTo>
                      <a:pt x="30724" y="101294"/>
                    </a:lnTo>
                    <a:cubicBezTo>
                      <a:pt x="27486" y="102998"/>
                      <a:pt x="23624" y="102714"/>
                      <a:pt x="20671" y="100584"/>
                    </a:cubicBezTo>
                    <a:cubicBezTo>
                      <a:pt x="17689" y="98426"/>
                      <a:pt x="16241" y="94848"/>
                      <a:pt x="16866" y="91241"/>
                    </a:cubicBezTo>
                    <a:lnTo>
                      <a:pt x="21182" y="66053"/>
                    </a:lnTo>
                    <a:lnTo>
                      <a:pt x="2894" y="48219"/>
                    </a:lnTo>
                    <a:cubicBezTo>
                      <a:pt x="253" y="45663"/>
                      <a:pt x="-656" y="41915"/>
                      <a:pt x="480" y="38422"/>
                    </a:cubicBezTo>
                    <a:cubicBezTo>
                      <a:pt x="1616" y="34929"/>
                      <a:pt x="4570" y="32430"/>
                      <a:pt x="8204" y="31919"/>
                    </a:cubicBezTo>
                    <a:lnTo>
                      <a:pt x="33478" y="28256"/>
                    </a:lnTo>
                    <a:lnTo>
                      <a:pt x="44780" y="5339"/>
                    </a:lnTo>
                    <a:cubicBezTo>
                      <a:pt x="46399" y="2045"/>
                      <a:pt x="49693" y="0"/>
                      <a:pt x="53356" y="0"/>
                    </a:cubicBezTo>
                    <a:cubicBezTo>
                      <a:pt x="57020" y="0"/>
                      <a:pt x="60314" y="2045"/>
                      <a:pt x="61932" y="5339"/>
                    </a:cubicBezTo>
                    <a:lnTo>
                      <a:pt x="73235" y="28256"/>
                    </a:lnTo>
                    <a:lnTo>
                      <a:pt x="98508" y="31919"/>
                    </a:lnTo>
                    <a:cubicBezTo>
                      <a:pt x="102143" y="32458"/>
                      <a:pt x="105097" y="34929"/>
                      <a:pt x="106233" y="38422"/>
                    </a:cubicBezTo>
                    <a:cubicBezTo>
                      <a:pt x="107368" y="41915"/>
                      <a:pt x="106431" y="45663"/>
                      <a:pt x="103819" y="48219"/>
                    </a:cubicBezTo>
                    <a:lnTo>
                      <a:pt x="85531" y="66053"/>
                    </a:lnTo>
                    <a:lnTo>
                      <a:pt x="89847" y="91241"/>
                    </a:lnTo>
                    <a:cubicBezTo>
                      <a:pt x="90472" y="94848"/>
                      <a:pt x="88995" y="98454"/>
                      <a:pt x="86042" y="100584"/>
                    </a:cubicBezTo>
                    <a:cubicBezTo>
                      <a:pt x="84338" y="101777"/>
                      <a:pt x="82379" y="102401"/>
                      <a:pt x="80391" y="102401"/>
                    </a:cubicBezTo>
                    <a:close/>
                    <a:moveTo>
                      <a:pt x="10618" y="41688"/>
                    </a:moveTo>
                    <a:lnTo>
                      <a:pt x="30070" y="60657"/>
                    </a:lnTo>
                    <a:cubicBezTo>
                      <a:pt x="31263" y="61821"/>
                      <a:pt x="31803" y="63468"/>
                      <a:pt x="31519" y="65116"/>
                    </a:cubicBezTo>
                    <a:lnTo>
                      <a:pt x="26918" y="91894"/>
                    </a:lnTo>
                    <a:lnTo>
                      <a:pt x="50971" y="79257"/>
                    </a:lnTo>
                    <a:cubicBezTo>
                      <a:pt x="52419" y="78491"/>
                      <a:pt x="54208" y="78491"/>
                      <a:pt x="55657" y="79257"/>
                    </a:cubicBezTo>
                    <a:lnTo>
                      <a:pt x="79709" y="91894"/>
                    </a:lnTo>
                    <a:lnTo>
                      <a:pt x="75109" y="65116"/>
                    </a:lnTo>
                    <a:cubicBezTo>
                      <a:pt x="74825" y="63468"/>
                      <a:pt x="75365" y="61821"/>
                      <a:pt x="76557" y="60657"/>
                    </a:cubicBezTo>
                    <a:lnTo>
                      <a:pt x="96009" y="41688"/>
                    </a:lnTo>
                    <a:lnTo>
                      <a:pt x="69117" y="37769"/>
                    </a:lnTo>
                    <a:cubicBezTo>
                      <a:pt x="67470" y="37542"/>
                      <a:pt x="66050" y="36491"/>
                      <a:pt x="65312" y="35014"/>
                    </a:cubicBezTo>
                    <a:lnTo>
                      <a:pt x="53129" y="10337"/>
                    </a:lnTo>
                    <a:lnTo>
                      <a:pt x="41259" y="35014"/>
                    </a:lnTo>
                    <a:cubicBezTo>
                      <a:pt x="40521" y="36491"/>
                      <a:pt x="39101" y="37542"/>
                      <a:pt x="37454" y="37769"/>
                    </a:cubicBezTo>
                    <a:lnTo>
                      <a:pt x="10618" y="41688"/>
                    </a:lnTo>
                    <a:close/>
                  </a:path>
                </a:pathLst>
              </a:custGeom>
              <a:grpFill/>
              <a:ln w="283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210" name="Freihandform: Form 832">
                <a:extLst>
                  <a:ext uri="{FF2B5EF4-FFF2-40B4-BE49-F238E27FC236}">
                    <a16:creationId xmlns:a16="http://schemas.microsoft.com/office/drawing/2014/main" id="{6A04BC43-EAFE-0CEC-EDAD-3BDBDBE718A2}"/>
                  </a:ext>
                </a:extLst>
              </p:cNvPr>
              <p:cNvSpPr/>
              <p:nvPr/>
            </p:nvSpPr>
            <p:spPr>
              <a:xfrm>
                <a:off x="7987113" y="1849593"/>
                <a:ext cx="106703" cy="102429"/>
              </a:xfrm>
              <a:custGeom>
                <a:avLst/>
                <a:gdLst>
                  <a:gd name="connsiteX0" fmla="*/ 80386 w 106703"/>
                  <a:gd name="connsiteY0" fmla="*/ 102430 h 102429"/>
                  <a:gd name="connsiteX1" fmla="*/ 75928 w 106703"/>
                  <a:gd name="connsiteY1" fmla="*/ 101322 h 102429"/>
                  <a:gd name="connsiteX2" fmla="*/ 53323 w 106703"/>
                  <a:gd name="connsiteY2" fmla="*/ 89424 h 102429"/>
                  <a:gd name="connsiteX3" fmla="*/ 30719 w 106703"/>
                  <a:gd name="connsiteY3" fmla="*/ 101322 h 102429"/>
                  <a:gd name="connsiteX4" fmla="*/ 20666 w 106703"/>
                  <a:gd name="connsiteY4" fmla="*/ 100584 h 102429"/>
                  <a:gd name="connsiteX5" fmla="*/ 16861 w 106703"/>
                  <a:gd name="connsiteY5" fmla="*/ 91241 h 102429"/>
                  <a:gd name="connsiteX6" fmla="*/ 21177 w 106703"/>
                  <a:gd name="connsiteY6" fmla="*/ 66053 h 102429"/>
                  <a:gd name="connsiteX7" fmla="*/ 2889 w 106703"/>
                  <a:gd name="connsiteY7" fmla="*/ 48219 h 102429"/>
                  <a:gd name="connsiteX8" fmla="*/ 475 w 106703"/>
                  <a:gd name="connsiteY8" fmla="*/ 38422 h 102429"/>
                  <a:gd name="connsiteX9" fmla="*/ 8199 w 106703"/>
                  <a:gd name="connsiteY9" fmla="*/ 31919 h 102429"/>
                  <a:gd name="connsiteX10" fmla="*/ 33473 w 106703"/>
                  <a:gd name="connsiteY10" fmla="*/ 28256 h 102429"/>
                  <a:gd name="connsiteX11" fmla="*/ 44775 w 106703"/>
                  <a:gd name="connsiteY11" fmla="*/ 5339 h 102429"/>
                  <a:gd name="connsiteX12" fmla="*/ 53352 w 106703"/>
                  <a:gd name="connsiteY12" fmla="*/ 0 h 102429"/>
                  <a:gd name="connsiteX13" fmla="*/ 53352 w 106703"/>
                  <a:gd name="connsiteY13" fmla="*/ 0 h 102429"/>
                  <a:gd name="connsiteX14" fmla="*/ 61928 w 106703"/>
                  <a:gd name="connsiteY14" fmla="*/ 5339 h 102429"/>
                  <a:gd name="connsiteX15" fmla="*/ 73230 w 106703"/>
                  <a:gd name="connsiteY15" fmla="*/ 28256 h 102429"/>
                  <a:gd name="connsiteX16" fmla="*/ 98504 w 106703"/>
                  <a:gd name="connsiteY16" fmla="*/ 31919 h 102429"/>
                  <a:gd name="connsiteX17" fmla="*/ 106228 w 106703"/>
                  <a:gd name="connsiteY17" fmla="*/ 38422 h 102429"/>
                  <a:gd name="connsiteX18" fmla="*/ 103814 w 106703"/>
                  <a:gd name="connsiteY18" fmla="*/ 48219 h 102429"/>
                  <a:gd name="connsiteX19" fmla="*/ 85526 w 106703"/>
                  <a:gd name="connsiteY19" fmla="*/ 66053 h 102429"/>
                  <a:gd name="connsiteX20" fmla="*/ 89842 w 106703"/>
                  <a:gd name="connsiteY20" fmla="*/ 91241 h 102429"/>
                  <a:gd name="connsiteX21" fmla="*/ 86037 w 106703"/>
                  <a:gd name="connsiteY21" fmla="*/ 100584 h 102429"/>
                  <a:gd name="connsiteX22" fmla="*/ 80386 w 106703"/>
                  <a:gd name="connsiteY22" fmla="*/ 102430 h 102429"/>
                  <a:gd name="connsiteX23" fmla="*/ 53323 w 106703"/>
                  <a:gd name="connsiteY23" fmla="*/ 78690 h 102429"/>
                  <a:gd name="connsiteX24" fmla="*/ 55652 w 106703"/>
                  <a:gd name="connsiteY24" fmla="*/ 79257 h 102429"/>
                  <a:gd name="connsiteX25" fmla="*/ 79704 w 106703"/>
                  <a:gd name="connsiteY25" fmla="*/ 91894 h 102429"/>
                  <a:gd name="connsiteX26" fmla="*/ 75104 w 106703"/>
                  <a:gd name="connsiteY26" fmla="*/ 65116 h 102429"/>
                  <a:gd name="connsiteX27" fmla="*/ 76552 w 106703"/>
                  <a:gd name="connsiteY27" fmla="*/ 60657 h 102429"/>
                  <a:gd name="connsiteX28" fmla="*/ 96005 w 106703"/>
                  <a:gd name="connsiteY28" fmla="*/ 41688 h 102429"/>
                  <a:gd name="connsiteX29" fmla="*/ 69112 w 106703"/>
                  <a:gd name="connsiteY29" fmla="*/ 37769 h 102429"/>
                  <a:gd name="connsiteX30" fmla="*/ 65307 w 106703"/>
                  <a:gd name="connsiteY30" fmla="*/ 35014 h 102429"/>
                  <a:gd name="connsiteX31" fmla="*/ 53124 w 106703"/>
                  <a:gd name="connsiteY31" fmla="*/ 10337 h 102429"/>
                  <a:gd name="connsiteX32" fmla="*/ 41254 w 106703"/>
                  <a:gd name="connsiteY32" fmla="*/ 35014 h 102429"/>
                  <a:gd name="connsiteX33" fmla="*/ 37449 w 106703"/>
                  <a:gd name="connsiteY33" fmla="*/ 37769 h 102429"/>
                  <a:gd name="connsiteX34" fmla="*/ 10556 w 106703"/>
                  <a:gd name="connsiteY34" fmla="*/ 41688 h 102429"/>
                  <a:gd name="connsiteX35" fmla="*/ 30009 w 106703"/>
                  <a:gd name="connsiteY35" fmla="*/ 60657 h 102429"/>
                  <a:gd name="connsiteX36" fmla="*/ 31457 w 106703"/>
                  <a:gd name="connsiteY36" fmla="*/ 65116 h 102429"/>
                  <a:gd name="connsiteX37" fmla="*/ 26857 w 106703"/>
                  <a:gd name="connsiteY37" fmla="*/ 91894 h 102429"/>
                  <a:gd name="connsiteX38" fmla="*/ 50909 w 106703"/>
                  <a:gd name="connsiteY38" fmla="*/ 79257 h 102429"/>
                  <a:gd name="connsiteX39" fmla="*/ 53323 w 106703"/>
                  <a:gd name="connsiteY39" fmla="*/ 78690 h 1024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</a:cxnLst>
                <a:rect l="l" t="t" r="r" b="b"/>
                <a:pathLst>
                  <a:path w="106703" h="102429">
                    <a:moveTo>
                      <a:pt x="80386" y="102430"/>
                    </a:moveTo>
                    <a:cubicBezTo>
                      <a:pt x="78852" y="102430"/>
                      <a:pt x="77347" y="102061"/>
                      <a:pt x="75928" y="101322"/>
                    </a:cubicBezTo>
                    <a:lnTo>
                      <a:pt x="53323" y="89424"/>
                    </a:lnTo>
                    <a:lnTo>
                      <a:pt x="30719" y="101322"/>
                    </a:lnTo>
                    <a:cubicBezTo>
                      <a:pt x="27481" y="103026"/>
                      <a:pt x="23619" y="102742"/>
                      <a:pt x="20666" y="100584"/>
                    </a:cubicBezTo>
                    <a:cubicBezTo>
                      <a:pt x="17713" y="98426"/>
                      <a:pt x="16236" y="94848"/>
                      <a:pt x="16861" y="91241"/>
                    </a:cubicBezTo>
                    <a:lnTo>
                      <a:pt x="21177" y="66053"/>
                    </a:lnTo>
                    <a:lnTo>
                      <a:pt x="2889" y="48219"/>
                    </a:lnTo>
                    <a:cubicBezTo>
                      <a:pt x="277" y="45663"/>
                      <a:pt x="-661" y="41915"/>
                      <a:pt x="475" y="38422"/>
                    </a:cubicBezTo>
                    <a:cubicBezTo>
                      <a:pt x="1611" y="34929"/>
                      <a:pt x="4565" y="32430"/>
                      <a:pt x="8199" y="31919"/>
                    </a:cubicBezTo>
                    <a:lnTo>
                      <a:pt x="33473" y="28256"/>
                    </a:lnTo>
                    <a:lnTo>
                      <a:pt x="44775" y="5339"/>
                    </a:lnTo>
                    <a:cubicBezTo>
                      <a:pt x="46394" y="2045"/>
                      <a:pt x="49688" y="0"/>
                      <a:pt x="53352" y="0"/>
                    </a:cubicBezTo>
                    <a:lnTo>
                      <a:pt x="53352" y="0"/>
                    </a:lnTo>
                    <a:cubicBezTo>
                      <a:pt x="57015" y="0"/>
                      <a:pt x="60309" y="2045"/>
                      <a:pt x="61928" y="5339"/>
                    </a:cubicBezTo>
                    <a:lnTo>
                      <a:pt x="73230" y="28256"/>
                    </a:lnTo>
                    <a:lnTo>
                      <a:pt x="98504" y="31919"/>
                    </a:lnTo>
                    <a:cubicBezTo>
                      <a:pt x="102138" y="32458"/>
                      <a:pt x="105092" y="34929"/>
                      <a:pt x="106228" y="38422"/>
                    </a:cubicBezTo>
                    <a:cubicBezTo>
                      <a:pt x="107364" y="41915"/>
                      <a:pt x="106427" y="45663"/>
                      <a:pt x="103814" y="48219"/>
                    </a:cubicBezTo>
                    <a:lnTo>
                      <a:pt x="85526" y="66053"/>
                    </a:lnTo>
                    <a:lnTo>
                      <a:pt x="89842" y="91241"/>
                    </a:lnTo>
                    <a:cubicBezTo>
                      <a:pt x="90467" y="94848"/>
                      <a:pt x="88990" y="98426"/>
                      <a:pt x="86037" y="100584"/>
                    </a:cubicBezTo>
                    <a:cubicBezTo>
                      <a:pt x="84333" y="101805"/>
                      <a:pt x="82374" y="102430"/>
                      <a:pt x="80386" y="102430"/>
                    </a:cubicBezTo>
                    <a:close/>
                    <a:moveTo>
                      <a:pt x="53323" y="78690"/>
                    </a:moveTo>
                    <a:cubicBezTo>
                      <a:pt x="54118" y="78690"/>
                      <a:pt x="54942" y="78888"/>
                      <a:pt x="55652" y="79257"/>
                    </a:cubicBezTo>
                    <a:lnTo>
                      <a:pt x="79704" y="91894"/>
                    </a:lnTo>
                    <a:lnTo>
                      <a:pt x="75104" y="65116"/>
                    </a:lnTo>
                    <a:cubicBezTo>
                      <a:pt x="74820" y="63468"/>
                      <a:pt x="75360" y="61821"/>
                      <a:pt x="76552" y="60657"/>
                    </a:cubicBezTo>
                    <a:lnTo>
                      <a:pt x="96005" y="41688"/>
                    </a:lnTo>
                    <a:lnTo>
                      <a:pt x="69112" y="37769"/>
                    </a:lnTo>
                    <a:cubicBezTo>
                      <a:pt x="67465" y="37542"/>
                      <a:pt x="66045" y="36491"/>
                      <a:pt x="65307" y="35014"/>
                    </a:cubicBezTo>
                    <a:lnTo>
                      <a:pt x="53124" y="10337"/>
                    </a:lnTo>
                    <a:lnTo>
                      <a:pt x="41254" y="35014"/>
                    </a:lnTo>
                    <a:cubicBezTo>
                      <a:pt x="40516" y="36491"/>
                      <a:pt x="39096" y="37542"/>
                      <a:pt x="37449" y="37769"/>
                    </a:cubicBezTo>
                    <a:lnTo>
                      <a:pt x="10556" y="41688"/>
                    </a:lnTo>
                    <a:lnTo>
                      <a:pt x="30009" y="60657"/>
                    </a:lnTo>
                    <a:cubicBezTo>
                      <a:pt x="31202" y="61821"/>
                      <a:pt x="31741" y="63468"/>
                      <a:pt x="31457" y="65116"/>
                    </a:cubicBezTo>
                    <a:lnTo>
                      <a:pt x="26857" y="91894"/>
                    </a:lnTo>
                    <a:lnTo>
                      <a:pt x="50909" y="79257"/>
                    </a:lnTo>
                    <a:cubicBezTo>
                      <a:pt x="51704" y="78888"/>
                      <a:pt x="52528" y="78690"/>
                      <a:pt x="53323" y="78690"/>
                    </a:cubicBezTo>
                    <a:close/>
                  </a:path>
                </a:pathLst>
              </a:custGeom>
              <a:grpFill/>
              <a:ln w="283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211" name="Freihandform: Form 833">
                <a:extLst>
                  <a:ext uri="{FF2B5EF4-FFF2-40B4-BE49-F238E27FC236}">
                    <a16:creationId xmlns:a16="http://schemas.microsoft.com/office/drawing/2014/main" id="{E0D06B82-2589-A119-F3D1-219B5FA3F8F6}"/>
                  </a:ext>
                </a:extLst>
              </p:cNvPr>
              <p:cNvSpPr/>
              <p:nvPr/>
            </p:nvSpPr>
            <p:spPr>
              <a:xfrm>
                <a:off x="8113647" y="1849593"/>
                <a:ext cx="106707" cy="102429"/>
              </a:xfrm>
              <a:custGeom>
                <a:avLst/>
                <a:gdLst>
                  <a:gd name="connsiteX0" fmla="*/ 80391 w 106707"/>
                  <a:gd name="connsiteY0" fmla="*/ 102430 h 102429"/>
                  <a:gd name="connsiteX1" fmla="*/ 75932 w 106707"/>
                  <a:gd name="connsiteY1" fmla="*/ 101322 h 102429"/>
                  <a:gd name="connsiteX2" fmla="*/ 53328 w 106707"/>
                  <a:gd name="connsiteY2" fmla="*/ 89424 h 102429"/>
                  <a:gd name="connsiteX3" fmla="*/ 30723 w 106707"/>
                  <a:gd name="connsiteY3" fmla="*/ 101322 h 102429"/>
                  <a:gd name="connsiteX4" fmla="*/ 20671 w 106707"/>
                  <a:gd name="connsiteY4" fmla="*/ 100584 h 102429"/>
                  <a:gd name="connsiteX5" fmla="*/ 16865 w 106707"/>
                  <a:gd name="connsiteY5" fmla="*/ 91241 h 102429"/>
                  <a:gd name="connsiteX6" fmla="*/ 21182 w 106707"/>
                  <a:gd name="connsiteY6" fmla="*/ 66053 h 102429"/>
                  <a:gd name="connsiteX7" fmla="*/ 2894 w 106707"/>
                  <a:gd name="connsiteY7" fmla="*/ 48219 h 102429"/>
                  <a:gd name="connsiteX8" fmla="*/ 480 w 106707"/>
                  <a:gd name="connsiteY8" fmla="*/ 38422 h 102429"/>
                  <a:gd name="connsiteX9" fmla="*/ 8176 w 106707"/>
                  <a:gd name="connsiteY9" fmla="*/ 31919 h 102429"/>
                  <a:gd name="connsiteX10" fmla="*/ 33478 w 106707"/>
                  <a:gd name="connsiteY10" fmla="*/ 28256 h 102429"/>
                  <a:gd name="connsiteX11" fmla="*/ 44780 w 106707"/>
                  <a:gd name="connsiteY11" fmla="*/ 5339 h 102429"/>
                  <a:gd name="connsiteX12" fmla="*/ 53356 w 106707"/>
                  <a:gd name="connsiteY12" fmla="*/ 0 h 102429"/>
                  <a:gd name="connsiteX13" fmla="*/ 53356 w 106707"/>
                  <a:gd name="connsiteY13" fmla="*/ 0 h 102429"/>
                  <a:gd name="connsiteX14" fmla="*/ 61932 w 106707"/>
                  <a:gd name="connsiteY14" fmla="*/ 5339 h 102429"/>
                  <a:gd name="connsiteX15" fmla="*/ 73235 w 106707"/>
                  <a:gd name="connsiteY15" fmla="*/ 28256 h 102429"/>
                  <a:gd name="connsiteX16" fmla="*/ 98508 w 106707"/>
                  <a:gd name="connsiteY16" fmla="*/ 31919 h 102429"/>
                  <a:gd name="connsiteX17" fmla="*/ 106232 w 106707"/>
                  <a:gd name="connsiteY17" fmla="*/ 38422 h 102429"/>
                  <a:gd name="connsiteX18" fmla="*/ 103819 w 106707"/>
                  <a:gd name="connsiteY18" fmla="*/ 48219 h 102429"/>
                  <a:gd name="connsiteX19" fmla="*/ 85531 w 106707"/>
                  <a:gd name="connsiteY19" fmla="*/ 66053 h 102429"/>
                  <a:gd name="connsiteX20" fmla="*/ 89847 w 106707"/>
                  <a:gd name="connsiteY20" fmla="*/ 91241 h 102429"/>
                  <a:gd name="connsiteX21" fmla="*/ 86042 w 106707"/>
                  <a:gd name="connsiteY21" fmla="*/ 100584 h 102429"/>
                  <a:gd name="connsiteX22" fmla="*/ 80391 w 106707"/>
                  <a:gd name="connsiteY22" fmla="*/ 102430 h 102429"/>
                  <a:gd name="connsiteX23" fmla="*/ 53300 w 106707"/>
                  <a:gd name="connsiteY23" fmla="*/ 78690 h 102429"/>
                  <a:gd name="connsiteX24" fmla="*/ 55628 w 106707"/>
                  <a:gd name="connsiteY24" fmla="*/ 79257 h 102429"/>
                  <a:gd name="connsiteX25" fmla="*/ 79681 w 106707"/>
                  <a:gd name="connsiteY25" fmla="*/ 91894 h 102429"/>
                  <a:gd name="connsiteX26" fmla="*/ 75080 w 106707"/>
                  <a:gd name="connsiteY26" fmla="*/ 65116 h 102429"/>
                  <a:gd name="connsiteX27" fmla="*/ 76529 w 106707"/>
                  <a:gd name="connsiteY27" fmla="*/ 60657 h 102429"/>
                  <a:gd name="connsiteX28" fmla="*/ 95981 w 106707"/>
                  <a:gd name="connsiteY28" fmla="*/ 41688 h 102429"/>
                  <a:gd name="connsiteX29" fmla="*/ 69089 w 106707"/>
                  <a:gd name="connsiteY29" fmla="*/ 37769 h 102429"/>
                  <a:gd name="connsiteX30" fmla="*/ 65283 w 106707"/>
                  <a:gd name="connsiteY30" fmla="*/ 35014 h 102429"/>
                  <a:gd name="connsiteX31" fmla="*/ 53101 w 106707"/>
                  <a:gd name="connsiteY31" fmla="*/ 10337 h 102429"/>
                  <a:gd name="connsiteX32" fmla="*/ 41231 w 106707"/>
                  <a:gd name="connsiteY32" fmla="*/ 35014 h 102429"/>
                  <a:gd name="connsiteX33" fmla="*/ 37425 w 106707"/>
                  <a:gd name="connsiteY33" fmla="*/ 37769 h 102429"/>
                  <a:gd name="connsiteX34" fmla="*/ 10533 w 106707"/>
                  <a:gd name="connsiteY34" fmla="*/ 41688 h 102429"/>
                  <a:gd name="connsiteX35" fmla="*/ 29985 w 106707"/>
                  <a:gd name="connsiteY35" fmla="*/ 60657 h 102429"/>
                  <a:gd name="connsiteX36" fmla="*/ 31433 w 106707"/>
                  <a:gd name="connsiteY36" fmla="*/ 65116 h 102429"/>
                  <a:gd name="connsiteX37" fmla="*/ 26833 w 106707"/>
                  <a:gd name="connsiteY37" fmla="*/ 91894 h 102429"/>
                  <a:gd name="connsiteX38" fmla="*/ 50886 w 106707"/>
                  <a:gd name="connsiteY38" fmla="*/ 79257 h 102429"/>
                  <a:gd name="connsiteX39" fmla="*/ 53300 w 106707"/>
                  <a:gd name="connsiteY39" fmla="*/ 78690 h 1024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</a:cxnLst>
                <a:rect l="l" t="t" r="r" b="b"/>
                <a:pathLst>
                  <a:path w="106707" h="102429">
                    <a:moveTo>
                      <a:pt x="80391" y="102430"/>
                    </a:moveTo>
                    <a:cubicBezTo>
                      <a:pt x="78858" y="102430"/>
                      <a:pt x="77324" y="102061"/>
                      <a:pt x="75932" y="101322"/>
                    </a:cubicBezTo>
                    <a:lnTo>
                      <a:pt x="53328" y="89424"/>
                    </a:lnTo>
                    <a:lnTo>
                      <a:pt x="30723" y="101322"/>
                    </a:lnTo>
                    <a:cubicBezTo>
                      <a:pt x="27486" y="103026"/>
                      <a:pt x="23624" y="102742"/>
                      <a:pt x="20671" y="100584"/>
                    </a:cubicBezTo>
                    <a:cubicBezTo>
                      <a:pt x="17718" y="98426"/>
                      <a:pt x="16241" y="94848"/>
                      <a:pt x="16865" y="91241"/>
                    </a:cubicBezTo>
                    <a:lnTo>
                      <a:pt x="21182" y="66053"/>
                    </a:lnTo>
                    <a:lnTo>
                      <a:pt x="2894" y="48219"/>
                    </a:lnTo>
                    <a:cubicBezTo>
                      <a:pt x="253" y="45663"/>
                      <a:pt x="-656" y="41915"/>
                      <a:pt x="480" y="38422"/>
                    </a:cubicBezTo>
                    <a:cubicBezTo>
                      <a:pt x="1616" y="34929"/>
                      <a:pt x="4569" y="32430"/>
                      <a:pt x="8176" y="31919"/>
                    </a:cubicBezTo>
                    <a:lnTo>
                      <a:pt x="33478" y="28256"/>
                    </a:lnTo>
                    <a:lnTo>
                      <a:pt x="44780" y="5339"/>
                    </a:lnTo>
                    <a:cubicBezTo>
                      <a:pt x="46399" y="2045"/>
                      <a:pt x="49693" y="0"/>
                      <a:pt x="53356" y="0"/>
                    </a:cubicBezTo>
                    <a:lnTo>
                      <a:pt x="53356" y="0"/>
                    </a:lnTo>
                    <a:cubicBezTo>
                      <a:pt x="57020" y="0"/>
                      <a:pt x="60314" y="2045"/>
                      <a:pt x="61932" y="5339"/>
                    </a:cubicBezTo>
                    <a:lnTo>
                      <a:pt x="73235" y="28256"/>
                    </a:lnTo>
                    <a:lnTo>
                      <a:pt x="98508" y="31919"/>
                    </a:lnTo>
                    <a:cubicBezTo>
                      <a:pt x="102143" y="32458"/>
                      <a:pt x="105097" y="34929"/>
                      <a:pt x="106232" y="38422"/>
                    </a:cubicBezTo>
                    <a:cubicBezTo>
                      <a:pt x="107368" y="41915"/>
                      <a:pt x="106431" y="45663"/>
                      <a:pt x="103819" y="48219"/>
                    </a:cubicBezTo>
                    <a:lnTo>
                      <a:pt x="85531" y="66053"/>
                    </a:lnTo>
                    <a:lnTo>
                      <a:pt x="89847" y="91241"/>
                    </a:lnTo>
                    <a:cubicBezTo>
                      <a:pt x="90472" y="94848"/>
                      <a:pt x="88995" y="98454"/>
                      <a:pt x="86042" y="100584"/>
                    </a:cubicBezTo>
                    <a:cubicBezTo>
                      <a:pt x="84310" y="101805"/>
                      <a:pt x="82350" y="102430"/>
                      <a:pt x="80391" y="102430"/>
                    </a:cubicBezTo>
                    <a:close/>
                    <a:moveTo>
                      <a:pt x="53300" y="78690"/>
                    </a:moveTo>
                    <a:cubicBezTo>
                      <a:pt x="54095" y="78690"/>
                      <a:pt x="54918" y="78888"/>
                      <a:pt x="55628" y="79257"/>
                    </a:cubicBezTo>
                    <a:lnTo>
                      <a:pt x="79681" y="91894"/>
                    </a:lnTo>
                    <a:lnTo>
                      <a:pt x="75080" y="65116"/>
                    </a:lnTo>
                    <a:cubicBezTo>
                      <a:pt x="74797" y="63468"/>
                      <a:pt x="75336" y="61821"/>
                      <a:pt x="76529" y="60657"/>
                    </a:cubicBezTo>
                    <a:lnTo>
                      <a:pt x="95981" y="41688"/>
                    </a:lnTo>
                    <a:lnTo>
                      <a:pt x="69089" y="37769"/>
                    </a:lnTo>
                    <a:cubicBezTo>
                      <a:pt x="67442" y="37542"/>
                      <a:pt x="66022" y="36491"/>
                      <a:pt x="65283" y="35014"/>
                    </a:cubicBezTo>
                    <a:lnTo>
                      <a:pt x="53101" y="10337"/>
                    </a:lnTo>
                    <a:lnTo>
                      <a:pt x="41231" y="35014"/>
                    </a:lnTo>
                    <a:cubicBezTo>
                      <a:pt x="40492" y="36491"/>
                      <a:pt x="39073" y="37542"/>
                      <a:pt x="37425" y="37769"/>
                    </a:cubicBezTo>
                    <a:lnTo>
                      <a:pt x="10533" y="41688"/>
                    </a:lnTo>
                    <a:lnTo>
                      <a:pt x="29985" y="60657"/>
                    </a:lnTo>
                    <a:cubicBezTo>
                      <a:pt x="31178" y="61821"/>
                      <a:pt x="31717" y="63468"/>
                      <a:pt x="31433" y="65116"/>
                    </a:cubicBezTo>
                    <a:lnTo>
                      <a:pt x="26833" y="91894"/>
                    </a:lnTo>
                    <a:lnTo>
                      <a:pt x="50886" y="79257"/>
                    </a:lnTo>
                    <a:cubicBezTo>
                      <a:pt x="51681" y="78888"/>
                      <a:pt x="52505" y="78690"/>
                      <a:pt x="53300" y="78690"/>
                    </a:cubicBezTo>
                    <a:close/>
                  </a:path>
                </a:pathLst>
              </a:custGeom>
              <a:grpFill/>
              <a:ln w="283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</p:grpSp>
        <p:sp>
          <p:nvSpPr>
            <p:cNvPr id="207" name="Freihandform: Form 834">
              <a:extLst>
                <a:ext uri="{FF2B5EF4-FFF2-40B4-BE49-F238E27FC236}">
                  <a16:creationId xmlns:a16="http://schemas.microsoft.com/office/drawing/2014/main" id="{B44F4D5C-F8E1-8174-D970-2C5533813247}"/>
                </a:ext>
              </a:extLst>
            </p:cNvPr>
            <p:cNvSpPr/>
            <p:nvPr/>
          </p:nvSpPr>
          <p:spPr>
            <a:xfrm>
              <a:off x="1267035" y="4342764"/>
              <a:ext cx="452344" cy="73604"/>
            </a:xfrm>
            <a:custGeom>
              <a:avLst/>
              <a:gdLst>
                <a:gd name="connsiteX0" fmla="*/ 490056 w 495110"/>
                <a:gd name="connsiteY0" fmla="*/ 80564 h 80563"/>
                <a:gd name="connsiteX1" fmla="*/ 5026 w 495110"/>
                <a:gd name="connsiteY1" fmla="*/ 80564 h 80563"/>
                <a:gd name="connsiteX2" fmla="*/ 0 w 495110"/>
                <a:gd name="connsiteY2" fmla="*/ 75537 h 80563"/>
                <a:gd name="connsiteX3" fmla="*/ 0 w 495110"/>
                <a:gd name="connsiteY3" fmla="*/ 36917 h 80563"/>
                <a:gd name="connsiteX4" fmla="*/ 5026 w 495110"/>
                <a:gd name="connsiteY4" fmla="*/ 31890 h 80563"/>
                <a:gd name="connsiteX5" fmla="*/ 148405 w 495110"/>
                <a:gd name="connsiteY5" fmla="*/ 31890 h 80563"/>
                <a:gd name="connsiteX6" fmla="*/ 159906 w 495110"/>
                <a:gd name="connsiteY6" fmla="*/ 3152 h 80563"/>
                <a:gd name="connsiteX7" fmla="*/ 164592 w 495110"/>
                <a:gd name="connsiteY7" fmla="*/ 0 h 80563"/>
                <a:gd name="connsiteX8" fmla="*/ 330519 w 495110"/>
                <a:gd name="connsiteY8" fmla="*/ 0 h 80563"/>
                <a:gd name="connsiteX9" fmla="*/ 335204 w 495110"/>
                <a:gd name="connsiteY9" fmla="*/ 3152 h 80563"/>
                <a:gd name="connsiteX10" fmla="*/ 346705 w 495110"/>
                <a:gd name="connsiteY10" fmla="*/ 31890 h 80563"/>
                <a:gd name="connsiteX11" fmla="*/ 490085 w 495110"/>
                <a:gd name="connsiteY11" fmla="*/ 31890 h 80563"/>
                <a:gd name="connsiteX12" fmla="*/ 495111 w 495110"/>
                <a:gd name="connsiteY12" fmla="*/ 36917 h 80563"/>
                <a:gd name="connsiteX13" fmla="*/ 495111 w 495110"/>
                <a:gd name="connsiteY13" fmla="*/ 75537 h 80563"/>
                <a:gd name="connsiteX14" fmla="*/ 490056 w 495110"/>
                <a:gd name="connsiteY14" fmla="*/ 80564 h 80563"/>
                <a:gd name="connsiteX15" fmla="*/ 10081 w 495110"/>
                <a:gd name="connsiteY15" fmla="*/ 70483 h 80563"/>
                <a:gd name="connsiteX16" fmla="*/ 485030 w 495110"/>
                <a:gd name="connsiteY16" fmla="*/ 70483 h 80563"/>
                <a:gd name="connsiteX17" fmla="*/ 485030 w 495110"/>
                <a:gd name="connsiteY17" fmla="*/ 41943 h 80563"/>
                <a:gd name="connsiteX18" fmla="*/ 343298 w 495110"/>
                <a:gd name="connsiteY18" fmla="*/ 41943 h 80563"/>
                <a:gd name="connsiteX19" fmla="*/ 338612 w 495110"/>
                <a:gd name="connsiteY19" fmla="*/ 38791 h 80563"/>
                <a:gd name="connsiteX20" fmla="*/ 327111 w 495110"/>
                <a:gd name="connsiteY20" fmla="*/ 10053 h 80563"/>
                <a:gd name="connsiteX21" fmla="*/ 168000 w 495110"/>
                <a:gd name="connsiteY21" fmla="*/ 10053 h 80563"/>
                <a:gd name="connsiteX22" fmla="*/ 156499 w 495110"/>
                <a:gd name="connsiteY22" fmla="*/ 38791 h 80563"/>
                <a:gd name="connsiteX23" fmla="*/ 151813 w 495110"/>
                <a:gd name="connsiteY23" fmla="*/ 41943 h 80563"/>
                <a:gd name="connsiteX24" fmla="*/ 10053 w 495110"/>
                <a:gd name="connsiteY24" fmla="*/ 41943 h 80563"/>
                <a:gd name="connsiteX25" fmla="*/ 10053 w 495110"/>
                <a:gd name="connsiteY25" fmla="*/ 70483 h 805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495110" h="80563">
                  <a:moveTo>
                    <a:pt x="490056" y="80564"/>
                  </a:moveTo>
                  <a:lnTo>
                    <a:pt x="5026" y="80564"/>
                  </a:lnTo>
                  <a:cubicBezTo>
                    <a:pt x="2243" y="80564"/>
                    <a:pt x="0" y="78320"/>
                    <a:pt x="0" y="75537"/>
                  </a:cubicBezTo>
                  <a:lnTo>
                    <a:pt x="0" y="36917"/>
                  </a:lnTo>
                  <a:cubicBezTo>
                    <a:pt x="0" y="34134"/>
                    <a:pt x="2243" y="31890"/>
                    <a:pt x="5026" y="31890"/>
                  </a:cubicBezTo>
                  <a:lnTo>
                    <a:pt x="148405" y="31890"/>
                  </a:lnTo>
                  <a:lnTo>
                    <a:pt x="159906" y="3152"/>
                  </a:lnTo>
                  <a:cubicBezTo>
                    <a:pt x="160673" y="1249"/>
                    <a:pt x="162519" y="0"/>
                    <a:pt x="164592" y="0"/>
                  </a:cubicBezTo>
                  <a:lnTo>
                    <a:pt x="330519" y="0"/>
                  </a:lnTo>
                  <a:cubicBezTo>
                    <a:pt x="332563" y="0"/>
                    <a:pt x="334438" y="1249"/>
                    <a:pt x="335204" y="3152"/>
                  </a:cubicBezTo>
                  <a:lnTo>
                    <a:pt x="346705" y="31890"/>
                  </a:lnTo>
                  <a:lnTo>
                    <a:pt x="490085" y="31890"/>
                  </a:lnTo>
                  <a:cubicBezTo>
                    <a:pt x="492867" y="31890"/>
                    <a:pt x="495111" y="34134"/>
                    <a:pt x="495111" y="36917"/>
                  </a:cubicBezTo>
                  <a:lnTo>
                    <a:pt x="495111" y="75537"/>
                  </a:lnTo>
                  <a:cubicBezTo>
                    <a:pt x="495083" y="78320"/>
                    <a:pt x="492839" y="80564"/>
                    <a:pt x="490056" y="80564"/>
                  </a:cubicBezTo>
                  <a:close/>
                  <a:moveTo>
                    <a:pt x="10081" y="70483"/>
                  </a:moveTo>
                  <a:lnTo>
                    <a:pt x="485030" y="70483"/>
                  </a:lnTo>
                  <a:lnTo>
                    <a:pt x="485030" y="41943"/>
                  </a:lnTo>
                  <a:lnTo>
                    <a:pt x="343298" y="41943"/>
                  </a:lnTo>
                  <a:cubicBezTo>
                    <a:pt x="341253" y="41943"/>
                    <a:pt x="339379" y="40694"/>
                    <a:pt x="338612" y="38791"/>
                  </a:cubicBezTo>
                  <a:lnTo>
                    <a:pt x="327111" y="10053"/>
                  </a:lnTo>
                  <a:lnTo>
                    <a:pt x="168000" y="10053"/>
                  </a:lnTo>
                  <a:lnTo>
                    <a:pt x="156499" y="38791"/>
                  </a:lnTo>
                  <a:cubicBezTo>
                    <a:pt x="155732" y="40694"/>
                    <a:pt x="153886" y="41943"/>
                    <a:pt x="151813" y="41943"/>
                  </a:cubicBezTo>
                  <a:lnTo>
                    <a:pt x="10053" y="41943"/>
                  </a:lnTo>
                  <a:lnTo>
                    <a:pt x="10053" y="70483"/>
                  </a:lnTo>
                  <a:close/>
                </a:path>
              </a:pathLst>
            </a:custGeom>
            <a:solidFill>
              <a:schemeClr val="tx2"/>
            </a:solidFill>
            <a:ln w="283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208" name="Freihandform: Form 835">
              <a:extLst>
                <a:ext uri="{FF2B5EF4-FFF2-40B4-BE49-F238E27FC236}">
                  <a16:creationId xmlns:a16="http://schemas.microsoft.com/office/drawing/2014/main" id="{51119604-AF60-EA8E-01C8-469CA546D59B}"/>
                </a:ext>
              </a:extLst>
            </p:cNvPr>
            <p:cNvSpPr/>
            <p:nvPr/>
          </p:nvSpPr>
          <p:spPr>
            <a:xfrm>
              <a:off x="1290384" y="4424360"/>
              <a:ext cx="405644" cy="289204"/>
            </a:xfrm>
            <a:custGeom>
              <a:avLst/>
              <a:gdLst>
                <a:gd name="connsiteX0" fmla="*/ 221983 w 443995"/>
                <a:gd name="connsiteY0" fmla="*/ 316547 h 316547"/>
                <a:gd name="connsiteX1" fmla="*/ 210255 w 443995"/>
                <a:gd name="connsiteY1" fmla="*/ 309306 h 316547"/>
                <a:gd name="connsiteX2" fmla="*/ 182113 w 443995"/>
                <a:gd name="connsiteY2" fmla="*/ 240158 h 316547"/>
                <a:gd name="connsiteX3" fmla="*/ 5026 w 443995"/>
                <a:gd name="connsiteY3" fmla="*/ 240158 h 316547"/>
                <a:gd name="connsiteX4" fmla="*/ 0 w 443995"/>
                <a:gd name="connsiteY4" fmla="*/ 235132 h 316547"/>
                <a:gd name="connsiteX5" fmla="*/ 0 w 443995"/>
                <a:gd name="connsiteY5" fmla="*/ 5026 h 316547"/>
                <a:gd name="connsiteX6" fmla="*/ 5026 w 443995"/>
                <a:gd name="connsiteY6" fmla="*/ 0 h 316547"/>
                <a:gd name="connsiteX7" fmla="*/ 10053 w 443995"/>
                <a:gd name="connsiteY7" fmla="*/ 5026 h 316547"/>
                <a:gd name="connsiteX8" fmla="*/ 10053 w 443995"/>
                <a:gd name="connsiteY8" fmla="*/ 230077 h 316547"/>
                <a:gd name="connsiteX9" fmla="*/ 185521 w 443995"/>
                <a:gd name="connsiteY9" fmla="*/ 230077 h 316547"/>
                <a:gd name="connsiteX10" fmla="*/ 190178 w 443995"/>
                <a:gd name="connsiteY10" fmla="*/ 233200 h 316547"/>
                <a:gd name="connsiteX11" fmla="*/ 219428 w 443995"/>
                <a:gd name="connsiteY11" fmla="*/ 305131 h 316547"/>
                <a:gd name="connsiteX12" fmla="*/ 221983 w 443995"/>
                <a:gd name="connsiteY12" fmla="*/ 306466 h 316547"/>
                <a:gd name="connsiteX13" fmla="*/ 224710 w 443995"/>
                <a:gd name="connsiteY13" fmla="*/ 304791 h 316547"/>
                <a:gd name="connsiteX14" fmla="*/ 253817 w 443995"/>
                <a:gd name="connsiteY14" fmla="*/ 233200 h 316547"/>
                <a:gd name="connsiteX15" fmla="*/ 258474 w 443995"/>
                <a:gd name="connsiteY15" fmla="*/ 230077 h 316547"/>
                <a:gd name="connsiteX16" fmla="*/ 433943 w 443995"/>
                <a:gd name="connsiteY16" fmla="*/ 230077 h 316547"/>
                <a:gd name="connsiteX17" fmla="*/ 433943 w 443995"/>
                <a:gd name="connsiteY17" fmla="*/ 5026 h 316547"/>
                <a:gd name="connsiteX18" fmla="*/ 438969 w 443995"/>
                <a:gd name="connsiteY18" fmla="*/ 0 h 316547"/>
                <a:gd name="connsiteX19" fmla="*/ 443995 w 443995"/>
                <a:gd name="connsiteY19" fmla="*/ 5026 h 316547"/>
                <a:gd name="connsiteX20" fmla="*/ 443995 w 443995"/>
                <a:gd name="connsiteY20" fmla="*/ 235103 h 316547"/>
                <a:gd name="connsiteX21" fmla="*/ 438969 w 443995"/>
                <a:gd name="connsiteY21" fmla="*/ 240129 h 316547"/>
                <a:gd name="connsiteX22" fmla="*/ 261882 w 443995"/>
                <a:gd name="connsiteY22" fmla="*/ 240129 h 316547"/>
                <a:gd name="connsiteX23" fmla="*/ 233910 w 443995"/>
                <a:gd name="connsiteY23" fmla="*/ 308937 h 316547"/>
                <a:gd name="connsiteX24" fmla="*/ 221983 w 443995"/>
                <a:gd name="connsiteY24" fmla="*/ 316547 h 3165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443995" h="316547">
                  <a:moveTo>
                    <a:pt x="221983" y="316547"/>
                  </a:moveTo>
                  <a:cubicBezTo>
                    <a:pt x="216985" y="316547"/>
                    <a:pt x="212499" y="313764"/>
                    <a:pt x="210255" y="309306"/>
                  </a:cubicBezTo>
                  <a:lnTo>
                    <a:pt x="182113" y="240158"/>
                  </a:lnTo>
                  <a:lnTo>
                    <a:pt x="5026" y="240158"/>
                  </a:lnTo>
                  <a:cubicBezTo>
                    <a:pt x="2243" y="240158"/>
                    <a:pt x="0" y="237914"/>
                    <a:pt x="0" y="235132"/>
                  </a:cubicBezTo>
                  <a:lnTo>
                    <a:pt x="0" y="5026"/>
                  </a:lnTo>
                  <a:cubicBezTo>
                    <a:pt x="0" y="2243"/>
                    <a:pt x="2243" y="0"/>
                    <a:pt x="5026" y="0"/>
                  </a:cubicBezTo>
                  <a:cubicBezTo>
                    <a:pt x="7809" y="0"/>
                    <a:pt x="10053" y="2243"/>
                    <a:pt x="10053" y="5026"/>
                  </a:cubicBezTo>
                  <a:lnTo>
                    <a:pt x="10053" y="230077"/>
                  </a:lnTo>
                  <a:lnTo>
                    <a:pt x="185521" y="230077"/>
                  </a:lnTo>
                  <a:cubicBezTo>
                    <a:pt x="187566" y="230077"/>
                    <a:pt x="189412" y="231326"/>
                    <a:pt x="190178" y="233200"/>
                  </a:cubicBezTo>
                  <a:lnTo>
                    <a:pt x="219428" y="305131"/>
                  </a:lnTo>
                  <a:cubicBezTo>
                    <a:pt x="220024" y="306296"/>
                    <a:pt x="221444" y="306466"/>
                    <a:pt x="221983" y="306466"/>
                  </a:cubicBezTo>
                  <a:cubicBezTo>
                    <a:pt x="222551" y="306466"/>
                    <a:pt x="223943" y="306296"/>
                    <a:pt x="224710" y="304791"/>
                  </a:cubicBezTo>
                  <a:lnTo>
                    <a:pt x="253817" y="233200"/>
                  </a:lnTo>
                  <a:cubicBezTo>
                    <a:pt x="254584" y="231298"/>
                    <a:pt x="256430" y="230077"/>
                    <a:pt x="258474" y="230077"/>
                  </a:cubicBezTo>
                  <a:lnTo>
                    <a:pt x="433943" y="230077"/>
                  </a:lnTo>
                  <a:lnTo>
                    <a:pt x="433943" y="5026"/>
                  </a:lnTo>
                  <a:cubicBezTo>
                    <a:pt x="433943" y="2243"/>
                    <a:pt x="436186" y="0"/>
                    <a:pt x="438969" y="0"/>
                  </a:cubicBezTo>
                  <a:cubicBezTo>
                    <a:pt x="441752" y="0"/>
                    <a:pt x="443995" y="2243"/>
                    <a:pt x="443995" y="5026"/>
                  </a:cubicBezTo>
                  <a:lnTo>
                    <a:pt x="443995" y="235103"/>
                  </a:lnTo>
                  <a:cubicBezTo>
                    <a:pt x="443995" y="237886"/>
                    <a:pt x="441752" y="240129"/>
                    <a:pt x="438969" y="240129"/>
                  </a:cubicBezTo>
                  <a:lnTo>
                    <a:pt x="261882" y="240129"/>
                  </a:lnTo>
                  <a:lnTo>
                    <a:pt x="233910" y="308937"/>
                  </a:lnTo>
                  <a:cubicBezTo>
                    <a:pt x="231468" y="313764"/>
                    <a:pt x="226981" y="316547"/>
                    <a:pt x="221983" y="316547"/>
                  </a:cubicBezTo>
                  <a:close/>
                </a:path>
              </a:pathLst>
            </a:custGeom>
            <a:solidFill>
              <a:schemeClr val="tx2"/>
            </a:solidFill>
            <a:ln w="283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</p:grpSp>
      <p:grpSp>
        <p:nvGrpSpPr>
          <p:cNvPr id="22" name="Group 21">
            <a:extLst>
              <a:ext uri="{FF2B5EF4-FFF2-40B4-BE49-F238E27FC236}">
                <a16:creationId xmlns:a16="http://schemas.microsoft.com/office/drawing/2014/main" id="{E411935A-3402-BA35-5D0F-A77DED94904D}"/>
              </a:ext>
            </a:extLst>
          </p:cNvPr>
          <p:cNvGrpSpPr/>
          <p:nvPr/>
        </p:nvGrpSpPr>
        <p:grpSpPr>
          <a:xfrm>
            <a:off x="4385683" y="4341847"/>
            <a:ext cx="372634" cy="372634"/>
            <a:chOff x="4385683" y="4341847"/>
            <a:chExt cx="372634" cy="372634"/>
          </a:xfrm>
        </p:grpSpPr>
        <p:sp>
          <p:nvSpPr>
            <p:cNvPr id="213" name="Freihandform: Form 761">
              <a:extLst>
                <a:ext uri="{FF2B5EF4-FFF2-40B4-BE49-F238E27FC236}">
                  <a16:creationId xmlns:a16="http://schemas.microsoft.com/office/drawing/2014/main" id="{3142D52F-F39C-76EE-F7F8-A80A7BE2684B}"/>
                </a:ext>
              </a:extLst>
            </p:cNvPr>
            <p:cNvSpPr/>
            <p:nvPr/>
          </p:nvSpPr>
          <p:spPr>
            <a:xfrm>
              <a:off x="4385683" y="4341847"/>
              <a:ext cx="372634" cy="372634"/>
            </a:xfrm>
            <a:custGeom>
              <a:avLst/>
              <a:gdLst>
                <a:gd name="connsiteX0" fmla="*/ 215876 w 431754"/>
                <a:gd name="connsiteY0" fmla="*/ 431755 h 431754"/>
                <a:gd name="connsiteX1" fmla="*/ 209334 w 431754"/>
                <a:gd name="connsiteY1" fmla="*/ 425213 h 431754"/>
                <a:gd name="connsiteX2" fmla="*/ 209334 w 431754"/>
                <a:gd name="connsiteY2" fmla="*/ 353255 h 431754"/>
                <a:gd name="connsiteX3" fmla="*/ 215876 w 431754"/>
                <a:gd name="connsiteY3" fmla="*/ 346713 h 431754"/>
                <a:gd name="connsiteX4" fmla="*/ 222418 w 431754"/>
                <a:gd name="connsiteY4" fmla="*/ 353255 h 431754"/>
                <a:gd name="connsiteX5" fmla="*/ 222418 w 431754"/>
                <a:gd name="connsiteY5" fmla="*/ 418565 h 431754"/>
                <a:gd name="connsiteX6" fmla="*/ 345831 w 431754"/>
                <a:gd name="connsiteY6" fmla="*/ 371534 h 431754"/>
                <a:gd name="connsiteX7" fmla="*/ 353200 w 431754"/>
                <a:gd name="connsiteY7" fmla="*/ 370837 h 431754"/>
                <a:gd name="connsiteX8" fmla="*/ 356502 w 431754"/>
                <a:gd name="connsiteY8" fmla="*/ 377456 h 431754"/>
                <a:gd name="connsiteX9" fmla="*/ 356113 w 431754"/>
                <a:gd name="connsiteY9" fmla="*/ 381058 h 431754"/>
                <a:gd name="connsiteX10" fmla="*/ 382280 w 431754"/>
                <a:gd name="connsiteY10" fmla="*/ 407226 h 431754"/>
                <a:gd name="connsiteX11" fmla="*/ 408448 w 431754"/>
                <a:gd name="connsiteY11" fmla="*/ 381058 h 431754"/>
                <a:gd name="connsiteX12" fmla="*/ 382280 w 431754"/>
                <a:gd name="connsiteY12" fmla="*/ 354891 h 431754"/>
                <a:gd name="connsiteX13" fmla="*/ 378869 w 431754"/>
                <a:gd name="connsiteY13" fmla="*/ 355250 h 431754"/>
                <a:gd name="connsiteX14" fmla="*/ 372047 w 431754"/>
                <a:gd name="connsiteY14" fmla="*/ 352031 h 431754"/>
                <a:gd name="connsiteX15" fmla="*/ 372527 w 431754"/>
                <a:gd name="connsiteY15" fmla="*/ 344672 h 431754"/>
                <a:gd name="connsiteX16" fmla="*/ 415515 w 431754"/>
                <a:gd name="connsiteY16" fmla="*/ 251721 h 431754"/>
                <a:gd name="connsiteX17" fmla="*/ 423105 w 431754"/>
                <a:gd name="connsiteY17" fmla="*/ 246431 h 431754"/>
                <a:gd name="connsiteX18" fmla="*/ 428395 w 431754"/>
                <a:gd name="connsiteY18" fmla="*/ 254021 h 431754"/>
                <a:gd name="connsiteX19" fmla="*/ 390592 w 431754"/>
                <a:gd name="connsiteY19" fmla="*/ 342698 h 431754"/>
                <a:gd name="connsiteX20" fmla="*/ 421534 w 431754"/>
                <a:gd name="connsiteY20" fmla="*/ 381061 h 431754"/>
                <a:gd name="connsiteX21" fmla="*/ 382283 w 431754"/>
                <a:gd name="connsiteY21" fmla="*/ 420312 h 431754"/>
                <a:gd name="connsiteX22" fmla="*/ 343976 w 431754"/>
                <a:gd name="connsiteY22" fmla="*/ 389627 h 431754"/>
                <a:gd name="connsiteX23" fmla="*/ 215876 w 431754"/>
                <a:gd name="connsiteY23" fmla="*/ 431755 h 431754"/>
                <a:gd name="connsiteX24" fmla="*/ 177643 w 431754"/>
                <a:gd name="connsiteY24" fmla="*/ 428272 h 431754"/>
                <a:gd name="connsiteX25" fmla="*/ 176449 w 431754"/>
                <a:gd name="connsiteY25" fmla="*/ 428164 h 431754"/>
                <a:gd name="connsiteX26" fmla="*/ 88941 w 431754"/>
                <a:gd name="connsiteY26" fmla="*/ 390490 h 431754"/>
                <a:gd name="connsiteX27" fmla="*/ 50838 w 431754"/>
                <a:gd name="connsiteY27" fmla="*/ 420305 h 431754"/>
                <a:gd name="connsiteX28" fmla="*/ 11587 w 431754"/>
                <a:gd name="connsiteY28" fmla="*/ 381054 h 431754"/>
                <a:gd name="connsiteX29" fmla="*/ 41368 w 431754"/>
                <a:gd name="connsiteY29" fmla="*/ 342960 h 431754"/>
                <a:gd name="connsiteX30" fmla="*/ 0 w 431754"/>
                <a:gd name="connsiteY30" fmla="*/ 215876 h 431754"/>
                <a:gd name="connsiteX31" fmla="*/ 6542 w 431754"/>
                <a:gd name="connsiteY31" fmla="*/ 209334 h 431754"/>
                <a:gd name="connsiteX32" fmla="*/ 124293 w 431754"/>
                <a:gd name="connsiteY32" fmla="*/ 209334 h 431754"/>
                <a:gd name="connsiteX33" fmla="*/ 130835 w 431754"/>
                <a:gd name="connsiteY33" fmla="*/ 215876 h 431754"/>
                <a:gd name="connsiteX34" fmla="*/ 124293 w 431754"/>
                <a:gd name="connsiteY34" fmla="*/ 222418 h 431754"/>
                <a:gd name="connsiteX35" fmla="*/ 13188 w 431754"/>
                <a:gd name="connsiteY35" fmla="*/ 222418 h 431754"/>
                <a:gd name="connsiteX36" fmla="*/ 59110 w 431754"/>
                <a:gd name="connsiteY36" fmla="*/ 344520 h 431754"/>
                <a:gd name="connsiteX37" fmla="*/ 59832 w 431754"/>
                <a:gd name="connsiteY37" fmla="*/ 351744 h 431754"/>
                <a:gd name="connsiteX38" fmla="*/ 53439 w 431754"/>
                <a:gd name="connsiteY38" fmla="*/ 355180 h 431754"/>
                <a:gd name="connsiteX39" fmla="*/ 52050 w 431754"/>
                <a:gd name="connsiteY39" fmla="*/ 355014 h 431754"/>
                <a:gd name="connsiteX40" fmla="*/ 50835 w 431754"/>
                <a:gd name="connsiteY40" fmla="*/ 354886 h 431754"/>
                <a:gd name="connsiteX41" fmla="*/ 24668 w 431754"/>
                <a:gd name="connsiteY41" fmla="*/ 381054 h 431754"/>
                <a:gd name="connsiteX42" fmla="*/ 50835 w 431754"/>
                <a:gd name="connsiteY42" fmla="*/ 407221 h 431754"/>
                <a:gd name="connsiteX43" fmla="*/ 77003 w 431754"/>
                <a:gd name="connsiteY43" fmla="*/ 381054 h 431754"/>
                <a:gd name="connsiteX44" fmla="*/ 76868 w 431754"/>
                <a:gd name="connsiteY44" fmla="*/ 379776 h 431754"/>
                <a:gd name="connsiteX45" fmla="*/ 76706 w 431754"/>
                <a:gd name="connsiteY45" fmla="*/ 378455 h 431754"/>
                <a:gd name="connsiteX46" fmla="*/ 80127 w 431754"/>
                <a:gd name="connsiteY46" fmla="*/ 372034 h 431754"/>
                <a:gd name="connsiteX47" fmla="*/ 87365 w 431754"/>
                <a:gd name="connsiteY47" fmla="*/ 372742 h 431754"/>
                <a:gd name="connsiteX48" fmla="*/ 178824 w 431754"/>
                <a:gd name="connsiteY48" fmla="*/ 415295 h 431754"/>
                <a:gd name="connsiteX49" fmla="*/ 184070 w 431754"/>
                <a:gd name="connsiteY49" fmla="*/ 422918 h 431754"/>
                <a:gd name="connsiteX50" fmla="*/ 177643 w 431754"/>
                <a:gd name="connsiteY50" fmla="*/ 428272 h 431754"/>
                <a:gd name="connsiteX51" fmla="*/ 425213 w 431754"/>
                <a:gd name="connsiteY51" fmla="*/ 222421 h 431754"/>
                <a:gd name="connsiteX52" fmla="*/ 307462 w 431754"/>
                <a:gd name="connsiteY52" fmla="*/ 222421 h 431754"/>
                <a:gd name="connsiteX53" fmla="*/ 300920 w 431754"/>
                <a:gd name="connsiteY53" fmla="*/ 215879 h 431754"/>
                <a:gd name="connsiteX54" fmla="*/ 307462 w 431754"/>
                <a:gd name="connsiteY54" fmla="*/ 209337 h 431754"/>
                <a:gd name="connsiteX55" fmla="*/ 418567 w 431754"/>
                <a:gd name="connsiteY55" fmla="*/ 209337 h 431754"/>
                <a:gd name="connsiteX56" fmla="*/ 372529 w 431754"/>
                <a:gd name="connsiteY56" fmla="*/ 87094 h 431754"/>
                <a:gd name="connsiteX57" fmla="*/ 371876 w 431754"/>
                <a:gd name="connsiteY57" fmla="*/ 79729 h 431754"/>
                <a:gd name="connsiteX58" fmla="*/ 378513 w 431754"/>
                <a:gd name="connsiteY58" fmla="*/ 76463 h 431754"/>
                <a:gd name="connsiteX59" fmla="*/ 382283 w 431754"/>
                <a:gd name="connsiteY59" fmla="*/ 76866 h 431754"/>
                <a:gd name="connsiteX60" fmla="*/ 408450 w 431754"/>
                <a:gd name="connsiteY60" fmla="*/ 50699 h 431754"/>
                <a:gd name="connsiteX61" fmla="*/ 382283 w 431754"/>
                <a:gd name="connsiteY61" fmla="*/ 24531 h 431754"/>
                <a:gd name="connsiteX62" fmla="*/ 356115 w 431754"/>
                <a:gd name="connsiteY62" fmla="*/ 50699 h 431754"/>
                <a:gd name="connsiteX63" fmla="*/ 356416 w 431754"/>
                <a:gd name="connsiteY63" fmla="*/ 53675 h 431754"/>
                <a:gd name="connsiteX64" fmla="*/ 353167 w 431754"/>
                <a:gd name="connsiteY64" fmla="*/ 60619 h 431754"/>
                <a:gd name="connsiteX65" fmla="*/ 345834 w 431754"/>
                <a:gd name="connsiteY65" fmla="*/ 60230 h 431754"/>
                <a:gd name="connsiteX66" fmla="*/ 252107 w 431754"/>
                <a:gd name="connsiteY66" fmla="*/ 16316 h 431754"/>
                <a:gd name="connsiteX67" fmla="*/ 246834 w 431754"/>
                <a:gd name="connsiteY67" fmla="*/ 8715 h 431754"/>
                <a:gd name="connsiteX68" fmla="*/ 254433 w 431754"/>
                <a:gd name="connsiteY68" fmla="*/ 3439 h 431754"/>
                <a:gd name="connsiteX69" fmla="*/ 343976 w 431754"/>
                <a:gd name="connsiteY69" fmla="*/ 42139 h 431754"/>
                <a:gd name="connsiteX70" fmla="*/ 382283 w 431754"/>
                <a:gd name="connsiteY70" fmla="*/ 11450 h 431754"/>
                <a:gd name="connsiteX71" fmla="*/ 421534 w 431754"/>
                <a:gd name="connsiteY71" fmla="*/ 50701 h 431754"/>
                <a:gd name="connsiteX72" fmla="*/ 390585 w 431754"/>
                <a:gd name="connsiteY72" fmla="*/ 89070 h 431754"/>
                <a:gd name="connsiteX73" fmla="*/ 431755 w 431754"/>
                <a:gd name="connsiteY73" fmla="*/ 215881 h 431754"/>
                <a:gd name="connsiteX74" fmla="*/ 425213 w 431754"/>
                <a:gd name="connsiteY74" fmla="*/ 222421 h 431754"/>
                <a:gd name="connsiteX75" fmla="*/ 9217 w 431754"/>
                <a:gd name="connsiteY75" fmla="*/ 188931 h 431754"/>
                <a:gd name="connsiteX76" fmla="*/ 8173 w 431754"/>
                <a:gd name="connsiteY76" fmla="*/ 188848 h 431754"/>
                <a:gd name="connsiteX77" fmla="*/ 2754 w 431754"/>
                <a:gd name="connsiteY77" fmla="*/ 181348 h 431754"/>
                <a:gd name="connsiteX78" fmla="*/ 41371 w 431754"/>
                <a:gd name="connsiteY78" fmla="*/ 88793 h 431754"/>
                <a:gd name="connsiteX79" fmla="*/ 11589 w 431754"/>
                <a:gd name="connsiteY79" fmla="*/ 50699 h 431754"/>
                <a:gd name="connsiteX80" fmla="*/ 50840 w 431754"/>
                <a:gd name="connsiteY80" fmla="*/ 11448 h 431754"/>
                <a:gd name="connsiteX81" fmla="*/ 88948 w 431754"/>
                <a:gd name="connsiteY81" fmla="*/ 41269 h 431754"/>
                <a:gd name="connsiteX82" fmla="*/ 215883 w 431754"/>
                <a:gd name="connsiteY82" fmla="*/ 0 h 431754"/>
                <a:gd name="connsiteX83" fmla="*/ 222425 w 431754"/>
                <a:gd name="connsiteY83" fmla="*/ 6542 h 431754"/>
                <a:gd name="connsiteX84" fmla="*/ 222425 w 431754"/>
                <a:gd name="connsiteY84" fmla="*/ 58881 h 431754"/>
                <a:gd name="connsiteX85" fmla="*/ 215883 w 431754"/>
                <a:gd name="connsiteY85" fmla="*/ 65423 h 431754"/>
                <a:gd name="connsiteX86" fmla="*/ 209341 w 431754"/>
                <a:gd name="connsiteY86" fmla="*/ 58881 h 431754"/>
                <a:gd name="connsiteX87" fmla="*/ 209341 w 431754"/>
                <a:gd name="connsiteY87" fmla="*/ 13193 h 431754"/>
                <a:gd name="connsiteX88" fmla="*/ 87372 w 431754"/>
                <a:gd name="connsiteY88" fmla="*/ 59016 h 431754"/>
                <a:gd name="connsiteX89" fmla="*/ 80134 w 431754"/>
                <a:gd name="connsiteY89" fmla="*/ 59724 h 431754"/>
                <a:gd name="connsiteX90" fmla="*/ 76713 w 431754"/>
                <a:gd name="connsiteY90" fmla="*/ 53302 h 431754"/>
                <a:gd name="connsiteX91" fmla="*/ 76875 w 431754"/>
                <a:gd name="connsiteY91" fmla="*/ 51985 h 431754"/>
                <a:gd name="connsiteX92" fmla="*/ 77010 w 431754"/>
                <a:gd name="connsiteY92" fmla="*/ 50694 h 431754"/>
                <a:gd name="connsiteX93" fmla="*/ 50842 w 431754"/>
                <a:gd name="connsiteY93" fmla="*/ 24527 h 431754"/>
                <a:gd name="connsiteX94" fmla="*/ 24675 w 431754"/>
                <a:gd name="connsiteY94" fmla="*/ 50694 h 431754"/>
                <a:gd name="connsiteX95" fmla="*/ 50842 w 431754"/>
                <a:gd name="connsiteY95" fmla="*/ 76862 h 431754"/>
                <a:gd name="connsiteX96" fmla="*/ 52087 w 431754"/>
                <a:gd name="connsiteY96" fmla="*/ 76734 h 431754"/>
                <a:gd name="connsiteX97" fmla="*/ 53445 w 431754"/>
                <a:gd name="connsiteY97" fmla="*/ 76575 h 431754"/>
                <a:gd name="connsiteX98" fmla="*/ 59839 w 431754"/>
                <a:gd name="connsiteY98" fmla="*/ 80011 h 431754"/>
                <a:gd name="connsiteX99" fmla="*/ 59117 w 431754"/>
                <a:gd name="connsiteY99" fmla="*/ 87235 h 431754"/>
                <a:gd name="connsiteX100" fmla="*/ 15673 w 431754"/>
                <a:gd name="connsiteY100" fmla="*/ 183426 h 431754"/>
                <a:gd name="connsiteX101" fmla="*/ 9217 w 431754"/>
                <a:gd name="connsiteY101" fmla="*/ 188931 h 4317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</a:cxnLst>
              <a:rect l="l" t="t" r="r" b="b"/>
              <a:pathLst>
                <a:path w="431754" h="431754">
                  <a:moveTo>
                    <a:pt x="215876" y="431755"/>
                  </a:moveTo>
                  <a:cubicBezTo>
                    <a:pt x="212264" y="431755"/>
                    <a:pt x="209334" y="428830"/>
                    <a:pt x="209334" y="425213"/>
                  </a:cubicBezTo>
                  <a:lnTo>
                    <a:pt x="209334" y="353255"/>
                  </a:lnTo>
                  <a:cubicBezTo>
                    <a:pt x="209334" y="349638"/>
                    <a:pt x="212264" y="346713"/>
                    <a:pt x="215876" y="346713"/>
                  </a:cubicBezTo>
                  <a:cubicBezTo>
                    <a:pt x="219488" y="346713"/>
                    <a:pt x="222418" y="349638"/>
                    <a:pt x="222418" y="353255"/>
                  </a:cubicBezTo>
                  <a:lnTo>
                    <a:pt x="222418" y="418565"/>
                  </a:lnTo>
                  <a:cubicBezTo>
                    <a:pt x="267535" y="417102"/>
                    <a:pt x="311134" y="400536"/>
                    <a:pt x="345831" y="371534"/>
                  </a:cubicBezTo>
                  <a:cubicBezTo>
                    <a:pt x="347907" y="369810"/>
                    <a:pt x="350844" y="369521"/>
                    <a:pt x="353200" y="370837"/>
                  </a:cubicBezTo>
                  <a:cubicBezTo>
                    <a:pt x="355562" y="372147"/>
                    <a:pt x="356876" y="374778"/>
                    <a:pt x="356502" y="377456"/>
                  </a:cubicBezTo>
                  <a:cubicBezTo>
                    <a:pt x="356273" y="379066"/>
                    <a:pt x="356113" y="380043"/>
                    <a:pt x="356113" y="381058"/>
                  </a:cubicBezTo>
                  <a:cubicBezTo>
                    <a:pt x="356113" y="395489"/>
                    <a:pt x="367852" y="407226"/>
                    <a:pt x="382280" y="407226"/>
                  </a:cubicBezTo>
                  <a:cubicBezTo>
                    <a:pt x="396708" y="407226"/>
                    <a:pt x="408448" y="395491"/>
                    <a:pt x="408448" y="381058"/>
                  </a:cubicBezTo>
                  <a:cubicBezTo>
                    <a:pt x="408448" y="366626"/>
                    <a:pt x="396708" y="354891"/>
                    <a:pt x="382280" y="354891"/>
                  </a:cubicBezTo>
                  <a:cubicBezTo>
                    <a:pt x="381114" y="354891"/>
                    <a:pt x="379994" y="355083"/>
                    <a:pt x="378869" y="355250"/>
                  </a:cubicBezTo>
                  <a:cubicBezTo>
                    <a:pt x="376176" y="355659"/>
                    <a:pt x="373383" y="354382"/>
                    <a:pt x="372047" y="352031"/>
                  </a:cubicBezTo>
                  <a:cubicBezTo>
                    <a:pt x="370715" y="349673"/>
                    <a:pt x="370805" y="346759"/>
                    <a:pt x="372527" y="344672"/>
                  </a:cubicBezTo>
                  <a:cubicBezTo>
                    <a:pt x="394582" y="317873"/>
                    <a:pt x="409447" y="285733"/>
                    <a:pt x="415515" y="251721"/>
                  </a:cubicBezTo>
                  <a:cubicBezTo>
                    <a:pt x="416147" y="248162"/>
                    <a:pt x="419523" y="245781"/>
                    <a:pt x="423105" y="246431"/>
                  </a:cubicBezTo>
                  <a:cubicBezTo>
                    <a:pt x="426659" y="247063"/>
                    <a:pt x="429031" y="250462"/>
                    <a:pt x="428395" y="254021"/>
                  </a:cubicBezTo>
                  <a:cubicBezTo>
                    <a:pt x="422695" y="285983"/>
                    <a:pt x="409702" y="316385"/>
                    <a:pt x="390592" y="342698"/>
                  </a:cubicBezTo>
                  <a:cubicBezTo>
                    <a:pt x="408260" y="346519"/>
                    <a:pt x="421534" y="362266"/>
                    <a:pt x="421534" y="381061"/>
                  </a:cubicBezTo>
                  <a:cubicBezTo>
                    <a:pt x="421534" y="402704"/>
                    <a:pt x="403928" y="420312"/>
                    <a:pt x="382283" y="420312"/>
                  </a:cubicBezTo>
                  <a:cubicBezTo>
                    <a:pt x="363580" y="420312"/>
                    <a:pt x="347891" y="407166"/>
                    <a:pt x="343976" y="389627"/>
                  </a:cubicBezTo>
                  <a:cubicBezTo>
                    <a:pt x="307013" y="416875"/>
                    <a:pt x="262014" y="431755"/>
                    <a:pt x="215876" y="431755"/>
                  </a:cubicBezTo>
                  <a:close/>
                  <a:moveTo>
                    <a:pt x="177643" y="428272"/>
                  </a:moveTo>
                  <a:cubicBezTo>
                    <a:pt x="177250" y="428272"/>
                    <a:pt x="176852" y="428240"/>
                    <a:pt x="176449" y="428164"/>
                  </a:cubicBezTo>
                  <a:cubicBezTo>
                    <a:pt x="144932" y="422337"/>
                    <a:pt x="114919" y="409387"/>
                    <a:pt x="88941" y="390490"/>
                  </a:cubicBezTo>
                  <a:cubicBezTo>
                    <a:pt x="84706" y="407591"/>
                    <a:pt x="69227" y="420305"/>
                    <a:pt x="50838" y="420305"/>
                  </a:cubicBezTo>
                  <a:cubicBezTo>
                    <a:pt x="29194" y="420305"/>
                    <a:pt x="11587" y="402700"/>
                    <a:pt x="11587" y="381054"/>
                  </a:cubicBezTo>
                  <a:cubicBezTo>
                    <a:pt x="11587" y="362676"/>
                    <a:pt x="24286" y="347202"/>
                    <a:pt x="41368" y="342960"/>
                  </a:cubicBezTo>
                  <a:cubicBezTo>
                    <a:pt x="14611" y="306215"/>
                    <a:pt x="0" y="261554"/>
                    <a:pt x="0" y="215876"/>
                  </a:cubicBezTo>
                  <a:cubicBezTo>
                    <a:pt x="0" y="212259"/>
                    <a:pt x="2930" y="209334"/>
                    <a:pt x="6542" y="209334"/>
                  </a:cubicBezTo>
                  <a:lnTo>
                    <a:pt x="124293" y="209334"/>
                  </a:lnTo>
                  <a:cubicBezTo>
                    <a:pt x="127905" y="209334"/>
                    <a:pt x="130835" y="212259"/>
                    <a:pt x="130835" y="215876"/>
                  </a:cubicBezTo>
                  <a:cubicBezTo>
                    <a:pt x="130835" y="219493"/>
                    <a:pt x="127905" y="222418"/>
                    <a:pt x="124293" y="222418"/>
                  </a:cubicBezTo>
                  <a:lnTo>
                    <a:pt x="13188" y="222418"/>
                  </a:lnTo>
                  <a:cubicBezTo>
                    <a:pt x="14634" y="266945"/>
                    <a:pt x="30814" y="310072"/>
                    <a:pt x="59110" y="344520"/>
                  </a:cubicBezTo>
                  <a:cubicBezTo>
                    <a:pt x="60790" y="346563"/>
                    <a:pt x="61075" y="349414"/>
                    <a:pt x="59832" y="351744"/>
                  </a:cubicBezTo>
                  <a:cubicBezTo>
                    <a:pt x="58590" y="354081"/>
                    <a:pt x="56079" y="355423"/>
                    <a:pt x="53439" y="355180"/>
                  </a:cubicBezTo>
                  <a:lnTo>
                    <a:pt x="52050" y="355014"/>
                  </a:lnTo>
                  <a:cubicBezTo>
                    <a:pt x="51648" y="354963"/>
                    <a:pt x="51252" y="354886"/>
                    <a:pt x="50835" y="354886"/>
                  </a:cubicBezTo>
                  <a:cubicBezTo>
                    <a:pt x="36407" y="354886"/>
                    <a:pt x="24668" y="366621"/>
                    <a:pt x="24668" y="381054"/>
                  </a:cubicBezTo>
                  <a:cubicBezTo>
                    <a:pt x="24668" y="395487"/>
                    <a:pt x="36407" y="407221"/>
                    <a:pt x="50835" y="407221"/>
                  </a:cubicBezTo>
                  <a:cubicBezTo>
                    <a:pt x="65263" y="407221"/>
                    <a:pt x="77003" y="395487"/>
                    <a:pt x="77003" y="381054"/>
                  </a:cubicBezTo>
                  <a:cubicBezTo>
                    <a:pt x="77003" y="380619"/>
                    <a:pt x="76926" y="380198"/>
                    <a:pt x="76868" y="379776"/>
                  </a:cubicBezTo>
                  <a:lnTo>
                    <a:pt x="76706" y="378455"/>
                  </a:lnTo>
                  <a:cubicBezTo>
                    <a:pt x="76445" y="375824"/>
                    <a:pt x="77792" y="373288"/>
                    <a:pt x="80127" y="372034"/>
                  </a:cubicBezTo>
                  <a:cubicBezTo>
                    <a:pt x="82462" y="370793"/>
                    <a:pt x="85317" y="371069"/>
                    <a:pt x="87365" y="372742"/>
                  </a:cubicBezTo>
                  <a:cubicBezTo>
                    <a:pt x="113771" y="394406"/>
                    <a:pt x="145397" y="409116"/>
                    <a:pt x="178824" y="415295"/>
                  </a:cubicBezTo>
                  <a:cubicBezTo>
                    <a:pt x="182376" y="415952"/>
                    <a:pt x="184724" y="419365"/>
                    <a:pt x="184070" y="422918"/>
                  </a:cubicBezTo>
                  <a:cubicBezTo>
                    <a:pt x="183489" y="426069"/>
                    <a:pt x="180737" y="428272"/>
                    <a:pt x="177643" y="428272"/>
                  </a:cubicBezTo>
                  <a:close/>
                  <a:moveTo>
                    <a:pt x="425213" y="222421"/>
                  </a:moveTo>
                  <a:lnTo>
                    <a:pt x="307462" y="222421"/>
                  </a:lnTo>
                  <a:cubicBezTo>
                    <a:pt x="303850" y="222421"/>
                    <a:pt x="300920" y="219496"/>
                    <a:pt x="300920" y="215879"/>
                  </a:cubicBezTo>
                  <a:cubicBezTo>
                    <a:pt x="300920" y="212262"/>
                    <a:pt x="303850" y="209337"/>
                    <a:pt x="307462" y="209337"/>
                  </a:cubicBezTo>
                  <a:lnTo>
                    <a:pt x="418567" y="209337"/>
                  </a:lnTo>
                  <a:cubicBezTo>
                    <a:pt x="417116" y="164745"/>
                    <a:pt x="400899" y="121560"/>
                    <a:pt x="372529" y="87094"/>
                  </a:cubicBezTo>
                  <a:cubicBezTo>
                    <a:pt x="370810" y="85005"/>
                    <a:pt x="370553" y="82080"/>
                    <a:pt x="371876" y="79729"/>
                  </a:cubicBezTo>
                  <a:cubicBezTo>
                    <a:pt x="373209" y="77366"/>
                    <a:pt x="375833" y="76035"/>
                    <a:pt x="378513" y="76463"/>
                  </a:cubicBezTo>
                  <a:cubicBezTo>
                    <a:pt x="380043" y="76681"/>
                    <a:pt x="381142" y="76866"/>
                    <a:pt x="382283" y="76866"/>
                  </a:cubicBezTo>
                  <a:cubicBezTo>
                    <a:pt x="396711" y="76866"/>
                    <a:pt x="408450" y="65131"/>
                    <a:pt x="408450" y="50699"/>
                  </a:cubicBezTo>
                  <a:cubicBezTo>
                    <a:pt x="408450" y="36268"/>
                    <a:pt x="396711" y="24531"/>
                    <a:pt x="382283" y="24531"/>
                  </a:cubicBezTo>
                  <a:cubicBezTo>
                    <a:pt x="367854" y="24531"/>
                    <a:pt x="356115" y="36266"/>
                    <a:pt x="356115" y="50699"/>
                  </a:cubicBezTo>
                  <a:cubicBezTo>
                    <a:pt x="356115" y="51722"/>
                    <a:pt x="356277" y="52698"/>
                    <a:pt x="356416" y="53675"/>
                  </a:cubicBezTo>
                  <a:cubicBezTo>
                    <a:pt x="356802" y="56359"/>
                    <a:pt x="355534" y="59302"/>
                    <a:pt x="353167" y="60619"/>
                  </a:cubicBezTo>
                  <a:cubicBezTo>
                    <a:pt x="350798" y="61936"/>
                    <a:pt x="347909" y="61961"/>
                    <a:pt x="345834" y="60230"/>
                  </a:cubicBezTo>
                  <a:cubicBezTo>
                    <a:pt x="318891" y="37712"/>
                    <a:pt x="286478" y="22525"/>
                    <a:pt x="252107" y="16316"/>
                  </a:cubicBezTo>
                  <a:cubicBezTo>
                    <a:pt x="248553" y="15671"/>
                    <a:pt x="246193" y="12272"/>
                    <a:pt x="246834" y="8715"/>
                  </a:cubicBezTo>
                  <a:cubicBezTo>
                    <a:pt x="247470" y="5163"/>
                    <a:pt x="250858" y="2812"/>
                    <a:pt x="254433" y="3439"/>
                  </a:cubicBezTo>
                  <a:cubicBezTo>
                    <a:pt x="286774" y="9284"/>
                    <a:pt x="317480" y="22585"/>
                    <a:pt x="343976" y="42139"/>
                  </a:cubicBezTo>
                  <a:cubicBezTo>
                    <a:pt x="347891" y="24596"/>
                    <a:pt x="363583" y="11450"/>
                    <a:pt x="382283" y="11450"/>
                  </a:cubicBezTo>
                  <a:cubicBezTo>
                    <a:pt x="403926" y="11450"/>
                    <a:pt x="421534" y="29055"/>
                    <a:pt x="421534" y="50701"/>
                  </a:cubicBezTo>
                  <a:cubicBezTo>
                    <a:pt x="421534" y="69496"/>
                    <a:pt x="408256" y="85250"/>
                    <a:pt x="390585" y="89070"/>
                  </a:cubicBezTo>
                  <a:cubicBezTo>
                    <a:pt x="417216" y="125764"/>
                    <a:pt x="431755" y="170312"/>
                    <a:pt x="431755" y="215881"/>
                  </a:cubicBezTo>
                  <a:cubicBezTo>
                    <a:pt x="431755" y="219493"/>
                    <a:pt x="428825" y="222421"/>
                    <a:pt x="425213" y="222421"/>
                  </a:cubicBezTo>
                  <a:close/>
                  <a:moveTo>
                    <a:pt x="9217" y="188931"/>
                  </a:moveTo>
                  <a:cubicBezTo>
                    <a:pt x="8872" y="188931"/>
                    <a:pt x="8523" y="188906"/>
                    <a:pt x="8173" y="188848"/>
                  </a:cubicBezTo>
                  <a:cubicBezTo>
                    <a:pt x="4605" y="188274"/>
                    <a:pt x="2178" y="184919"/>
                    <a:pt x="2754" y="181348"/>
                  </a:cubicBezTo>
                  <a:cubicBezTo>
                    <a:pt x="8127" y="147931"/>
                    <a:pt x="21407" y="116180"/>
                    <a:pt x="41371" y="88793"/>
                  </a:cubicBezTo>
                  <a:cubicBezTo>
                    <a:pt x="24288" y="84551"/>
                    <a:pt x="11589" y="69079"/>
                    <a:pt x="11589" y="50699"/>
                  </a:cubicBezTo>
                  <a:cubicBezTo>
                    <a:pt x="11589" y="29055"/>
                    <a:pt x="29194" y="11448"/>
                    <a:pt x="50840" y="11448"/>
                  </a:cubicBezTo>
                  <a:cubicBezTo>
                    <a:pt x="69232" y="11448"/>
                    <a:pt x="84711" y="24168"/>
                    <a:pt x="88948" y="41269"/>
                  </a:cubicBezTo>
                  <a:cubicBezTo>
                    <a:pt x="125667" y="14579"/>
                    <a:pt x="170273" y="0"/>
                    <a:pt x="215883" y="0"/>
                  </a:cubicBezTo>
                  <a:cubicBezTo>
                    <a:pt x="219495" y="0"/>
                    <a:pt x="222425" y="2925"/>
                    <a:pt x="222425" y="6542"/>
                  </a:cubicBezTo>
                  <a:lnTo>
                    <a:pt x="222425" y="58881"/>
                  </a:lnTo>
                  <a:cubicBezTo>
                    <a:pt x="222425" y="62498"/>
                    <a:pt x="219495" y="65423"/>
                    <a:pt x="215883" y="65423"/>
                  </a:cubicBezTo>
                  <a:cubicBezTo>
                    <a:pt x="212271" y="65423"/>
                    <a:pt x="209341" y="62498"/>
                    <a:pt x="209341" y="58881"/>
                  </a:cubicBezTo>
                  <a:lnTo>
                    <a:pt x="209341" y="13193"/>
                  </a:lnTo>
                  <a:cubicBezTo>
                    <a:pt x="164879" y="14636"/>
                    <a:pt x="121791" y="30779"/>
                    <a:pt x="87372" y="59016"/>
                  </a:cubicBezTo>
                  <a:cubicBezTo>
                    <a:pt x="85324" y="60689"/>
                    <a:pt x="82469" y="60964"/>
                    <a:pt x="80134" y="59724"/>
                  </a:cubicBezTo>
                  <a:cubicBezTo>
                    <a:pt x="77799" y="58472"/>
                    <a:pt x="76450" y="55935"/>
                    <a:pt x="76713" y="53302"/>
                  </a:cubicBezTo>
                  <a:lnTo>
                    <a:pt x="76875" y="51985"/>
                  </a:lnTo>
                  <a:cubicBezTo>
                    <a:pt x="76933" y="51557"/>
                    <a:pt x="77010" y="51136"/>
                    <a:pt x="77010" y="50694"/>
                  </a:cubicBezTo>
                  <a:cubicBezTo>
                    <a:pt x="77010" y="36264"/>
                    <a:pt x="65270" y="24527"/>
                    <a:pt x="50842" y="24527"/>
                  </a:cubicBezTo>
                  <a:cubicBezTo>
                    <a:pt x="36414" y="24527"/>
                    <a:pt x="24675" y="36261"/>
                    <a:pt x="24675" y="50694"/>
                  </a:cubicBezTo>
                  <a:cubicBezTo>
                    <a:pt x="24675" y="65125"/>
                    <a:pt x="36414" y="76862"/>
                    <a:pt x="50842" y="76862"/>
                  </a:cubicBezTo>
                  <a:cubicBezTo>
                    <a:pt x="51270" y="76862"/>
                    <a:pt x="51680" y="76792"/>
                    <a:pt x="52087" y="76734"/>
                  </a:cubicBezTo>
                  <a:lnTo>
                    <a:pt x="53445" y="76575"/>
                  </a:lnTo>
                  <a:cubicBezTo>
                    <a:pt x="56051" y="76255"/>
                    <a:pt x="58599" y="77681"/>
                    <a:pt x="59839" y="80011"/>
                  </a:cubicBezTo>
                  <a:cubicBezTo>
                    <a:pt x="61082" y="82344"/>
                    <a:pt x="60797" y="85192"/>
                    <a:pt x="59117" y="87235"/>
                  </a:cubicBezTo>
                  <a:cubicBezTo>
                    <a:pt x="36361" y="114935"/>
                    <a:pt x="21340" y="148192"/>
                    <a:pt x="15673" y="183426"/>
                  </a:cubicBezTo>
                  <a:cubicBezTo>
                    <a:pt x="15150" y="186645"/>
                    <a:pt x="12371" y="188931"/>
                    <a:pt x="9217" y="188931"/>
                  </a:cubicBezTo>
                  <a:close/>
                </a:path>
              </a:pathLst>
            </a:custGeom>
            <a:solidFill>
              <a:schemeClr val="tx2"/>
            </a:solidFill>
            <a:ln w="2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grpSp>
          <p:nvGrpSpPr>
            <p:cNvPr id="214" name="Grafik 355">
              <a:extLst>
                <a:ext uri="{FF2B5EF4-FFF2-40B4-BE49-F238E27FC236}">
                  <a16:creationId xmlns:a16="http://schemas.microsoft.com/office/drawing/2014/main" id="{6DC50D68-17CE-CFBB-5D93-BEA7D9BC7AC8}"/>
                </a:ext>
              </a:extLst>
            </p:cNvPr>
            <p:cNvGrpSpPr/>
            <p:nvPr/>
          </p:nvGrpSpPr>
          <p:grpSpPr>
            <a:xfrm>
              <a:off x="4480316" y="4409600"/>
              <a:ext cx="183094" cy="217337"/>
              <a:chOff x="6297456" y="3334600"/>
              <a:chExt cx="212143" cy="251818"/>
            </a:xfrm>
            <a:solidFill>
              <a:srgbClr val="004DBF"/>
            </a:solidFill>
          </p:grpSpPr>
          <p:sp>
            <p:nvSpPr>
              <p:cNvPr id="215" name="Freihandform: Form 763">
                <a:extLst>
                  <a:ext uri="{FF2B5EF4-FFF2-40B4-BE49-F238E27FC236}">
                    <a16:creationId xmlns:a16="http://schemas.microsoft.com/office/drawing/2014/main" id="{8FF8DD37-ACC2-2A55-86B7-57E4497FFA9F}"/>
                  </a:ext>
                </a:extLst>
              </p:cNvPr>
              <p:cNvSpPr/>
              <p:nvPr/>
            </p:nvSpPr>
            <p:spPr>
              <a:xfrm>
                <a:off x="6330964" y="3382979"/>
                <a:ext cx="147862" cy="161901"/>
              </a:xfrm>
              <a:custGeom>
                <a:avLst/>
                <a:gdLst>
                  <a:gd name="connsiteX0" fmla="*/ 105860 w 147862"/>
                  <a:gd name="connsiteY0" fmla="*/ 161902 h 161901"/>
                  <a:gd name="connsiteX1" fmla="*/ 105231 w 147862"/>
                  <a:gd name="connsiteY1" fmla="*/ 161869 h 161901"/>
                  <a:gd name="connsiteX2" fmla="*/ 99342 w 147862"/>
                  <a:gd name="connsiteY2" fmla="*/ 154740 h 161901"/>
                  <a:gd name="connsiteX3" fmla="*/ 99761 w 147862"/>
                  <a:gd name="connsiteY3" fmla="*/ 150364 h 161901"/>
                  <a:gd name="connsiteX4" fmla="*/ 117102 w 147862"/>
                  <a:gd name="connsiteY4" fmla="*/ 116000 h 161901"/>
                  <a:gd name="connsiteX5" fmla="*/ 134781 w 147862"/>
                  <a:gd name="connsiteY5" fmla="*/ 73454 h 161901"/>
                  <a:gd name="connsiteX6" fmla="*/ 114668 w 147862"/>
                  <a:gd name="connsiteY6" fmla="*/ 28593 h 161901"/>
                  <a:gd name="connsiteX7" fmla="*/ 66880 w 147862"/>
                  <a:gd name="connsiteY7" fmla="*/ 13459 h 161901"/>
                  <a:gd name="connsiteX8" fmla="*/ 13567 w 147862"/>
                  <a:gd name="connsiteY8" fmla="*/ 65736 h 161901"/>
                  <a:gd name="connsiteX9" fmla="*/ 31716 w 147862"/>
                  <a:gd name="connsiteY9" fmla="*/ 116926 h 161901"/>
                  <a:gd name="connsiteX10" fmla="*/ 48439 w 147862"/>
                  <a:gd name="connsiteY10" fmla="*/ 153627 h 161901"/>
                  <a:gd name="connsiteX11" fmla="*/ 48534 w 147862"/>
                  <a:gd name="connsiteY11" fmla="*/ 154853 h 161901"/>
                  <a:gd name="connsiteX12" fmla="*/ 42515 w 147862"/>
                  <a:gd name="connsiteY12" fmla="*/ 161881 h 161901"/>
                  <a:gd name="connsiteX13" fmla="*/ 35488 w 147862"/>
                  <a:gd name="connsiteY13" fmla="*/ 155862 h 161901"/>
                  <a:gd name="connsiteX14" fmla="*/ 35386 w 147862"/>
                  <a:gd name="connsiteY14" fmla="*/ 154541 h 161901"/>
                  <a:gd name="connsiteX15" fmla="*/ 22670 w 147862"/>
                  <a:gd name="connsiteY15" fmla="*/ 126381 h 161901"/>
                  <a:gd name="connsiteX16" fmla="*/ 582 w 147862"/>
                  <a:gd name="connsiteY16" fmla="*/ 64126 h 161901"/>
                  <a:gd name="connsiteX17" fmla="*/ 65434 w 147862"/>
                  <a:gd name="connsiteY17" fmla="*/ 452 h 161901"/>
                  <a:gd name="connsiteX18" fmla="*/ 123392 w 147862"/>
                  <a:gd name="connsiteY18" fmla="*/ 18844 h 161901"/>
                  <a:gd name="connsiteX19" fmla="*/ 147863 w 147862"/>
                  <a:gd name="connsiteY19" fmla="*/ 73451 h 161901"/>
                  <a:gd name="connsiteX20" fmla="*/ 126344 w 147862"/>
                  <a:gd name="connsiteY20" fmla="*/ 125254 h 161901"/>
                  <a:gd name="connsiteX21" fmla="*/ 112756 w 147862"/>
                  <a:gd name="connsiteY21" fmla="*/ 151843 h 161901"/>
                  <a:gd name="connsiteX22" fmla="*/ 112368 w 147862"/>
                  <a:gd name="connsiteY22" fmla="*/ 155975 h 161901"/>
                  <a:gd name="connsiteX23" fmla="*/ 105860 w 147862"/>
                  <a:gd name="connsiteY23" fmla="*/ 161902 h 1619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</a:cxnLst>
                <a:rect l="l" t="t" r="r" b="b"/>
                <a:pathLst>
                  <a:path w="147862" h="161901">
                    <a:moveTo>
                      <a:pt x="105860" y="161902"/>
                    </a:moveTo>
                    <a:cubicBezTo>
                      <a:pt x="105652" y="161902"/>
                      <a:pt x="105442" y="161895"/>
                      <a:pt x="105231" y="161869"/>
                    </a:cubicBezTo>
                    <a:cubicBezTo>
                      <a:pt x="101635" y="161532"/>
                      <a:pt x="98999" y="158336"/>
                      <a:pt x="99342" y="154740"/>
                    </a:cubicBezTo>
                    <a:lnTo>
                      <a:pt x="99761" y="150364"/>
                    </a:lnTo>
                    <a:cubicBezTo>
                      <a:pt x="101473" y="137428"/>
                      <a:pt x="107459" y="125629"/>
                      <a:pt x="117102" y="116000"/>
                    </a:cubicBezTo>
                    <a:cubicBezTo>
                      <a:pt x="128501" y="104615"/>
                      <a:pt x="134781" y="89506"/>
                      <a:pt x="134781" y="73454"/>
                    </a:cubicBezTo>
                    <a:cubicBezTo>
                      <a:pt x="134781" y="56383"/>
                      <a:pt x="127451" y="40036"/>
                      <a:pt x="114668" y="28593"/>
                    </a:cubicBezTo>
                    <a:cubicBezTo>
                      <a:pt x="101565" y="16863"/>
                      <a:pt x="84596" y="11460"/>
                      <a:pt x="66880" y="13459"/>
                    </a:cubicBezTo>
                    <a:cubicBezTo>
                      <a:pt x="39371" y="16514"/>
                      <a:pt x="16952" y="38502"/>
                      <a:pt x="13567" y="65736"/>
                    </a:cubicBezTo>
                    <a:cubicBezTo>
                      <a:pt x="11181" y="84952"/>
                      <a:pt x="17797" y="103613"/>
                      <a:pt x="31716" y="116926"/>
                    </a:cubicBezTo>
                    <a:cubicBezTo>
                      <a:pt x="41611" y="126388"/>
                      <a:pt x="47553" y="139425"/>
                      <a:pt x="48439" y="153627"/>
                    </a:cubicBezTo>
                    <a:lnTo>
                      <a:pt x="48534" y="154853"/>
                    </a:lnTo>
                    <a:cubicBezTo>
                      <a:pt x="48812" y="158456"/>
                      <a:pt x="46118" y="161599"/>
                      <a:pt x="42515" y="161881"/>
                    </a:cubicBezTo>
                    <a:cubicBezTo>
                      <a:pt x="38857" y="162149"/>
                      <a:pt x="35765" y="159465"/>
                      <a:pt x="35488" y="155862"/>
                    </a:cubicBezTo>
                    <a:lnTo>
                      <a:pt x="35386" y="154541"/>
                    </a:lnTo>
                    <a:cubicBezTo>
                      <a:pt x="34696" y="143533"/>
                      <a:pt x="30181" y="133568"/>
                      <a:pt x="22670" y="126381"/>
                    </a:cubicBezTo>
                    <a:cubicBezTo>
                      <a:pt x="5729" y="110180"/>
                      <a:pt x="-2322" y="87489"/>
                      <a:pt x="582" y="64126"/>
                    </a:cubicBezTo>
                    <a:cubicBezTo>
                      <a:pt x="4704" y="30945"/>
                      <a:pt x="31977" y="4171"/>
                      <a:pt x="65434" y="452"/>
                    </a:cubicBezTo>
                    <a:cubicBezTo>
                      <a:pt x="86591" y="-1867"/>
                      <a:pt x="107709" y="4803"/>
                      <a:pt x="123392" y="18844"/>
                    </a:cubicBezTo>
                    <a:cubicBezTo>
                      <a:pt x="138945" y="32766"/>
                      <a:pt x="147863" y="52664"/>
                      <a:pt x="147863" y="73451"/>
                    </a:cubicBezTo>
                    <a:cubicBezTo>
                      <a:pt x="147863" y="93001"/>
                      <a:pt x="140220" y="111397"/>
                      <a:pt x="126344" y="125254"/>
                    </a:cubicBezTo>
                    <a:cubicBezTo>
                      <a:pt x="118759" y="132830"/>
                      <a:pt x="114059" y="142024"/>
                      <a:pt x="112756" y="151843"/>
                    </a:cubicBezTo>
                    <a:lnTo>
                      <a:pt x="112368" y="155975"/>
                    </a:lnTo>
                    <a:cubicBezTo>
                      <a:pt x="112041" y="159366"/>
                      <a:pt x="109197" y="161902"/>
                      <a:pt x="105860" y="161902"/>
                    </a:cubicBezTo>
                    <a:close/>
                  </a:path>
                </a:pathLst>
              </a:custGeom>
              <a:grpFill/>
              <a:ln w="23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216" name="Freihandform: Form 764">
                <a:extLst>
                  <a:ext uri="{FF2B5EF4-FFF2-40B4-BE49-F238E27FC236}">
                    <a16:creationId xmlns:a16="http://schemas.microsoft.com/office/drawing/2014/main" id="{6797C1E5-E543-12C1-1A49-3C95B550A073}"/>
                  </a:ext>
                </a:extLst>
              </p:cNvPr>
              <p:cNvSpPr/>
              <p:nvPr/>
            </p:nvSpPr>
            <p:spPr>
              <a:xfrm>
                <a:off x="6396988" y="3334600"/>
                <a:ext cx="13083" cy="39052"/>
              </a:xfrm>
              <a:custGeom>
                <a:avLst/>
                <a:gdLst>
                  <a:gd name="connsiteX0" fmla="*/ 6542 w 13083"/>
                  <a:gd name="connsiteY0" fmla="*/ 39052 h 39052"/>
                  <a:gd name="connsiteX1" fmla="*/ 0 w 13083"/>
                  <a:gd name="connsiteY1" fmla="*/ 32510 h 39052"/>
                  <a:gd name="connsiteX2" fmla="*/ 0 w 13083"/>
                  <a:gd name="connsiteY2" fmla="*/ 6542 h 39052"/>
                  <a:gd name="connsiteX3" fmla="*/ 6542 w 13083"/>
                  <a:gd name="connsiteY3" fmla="*/ 0 h 39052"/>
                  <a:gd name="connsiteX4" fmla="*/ 13084 w 13083"/>
                  <a:gd name="connsiteY4" fmla="*/ 6542 h 39052"/>
                  <a:gd name="connsiteX5" fmla="*/ 13084 w 13083"/>
                  <a:gd name="connsiteY5" fmla="*/ 32510 h 39052"/>
                  <a:gd name="connsiteX6" fmla="*/ 6542 w 13083"/>
                  <a:gd name="connsiteY6" fmla="*/ 39052 h 390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3083" h="39052">
                    <a:moveTo>
                      <a:pt x="6542" y="39052"/>
                    </a:moveTo>
                    <a:cubicBezTo>
                      <a:pt x="2930" y="39052"/>
                      <a:pt x="0" y="36127"/>
                      <a:pt x="0" y="32510"/>
                    </a:cubicBezTo>
                    <a:lnTo>
                      <a:pt x="0" y="6542"/>
                    </a:lnTo>
                    <a:cubicBezTo>
                      <a:pt x="0" y="2925"/>
                      <a:pt x="2930" y="0"/>
                      <a:pt x="6542" y="0"/>
                    </a:cubicBezTo>
                    <a:cubicBezTo>
                      <a:pt x="10154" y="0"/>
                      <a:pt x="13084" y="2925"/>
                      <a:pt x="13084" y="6542"/>
                    </a:cubicBezTo>
                    <a:lnTo>
                      <a:pt x="13084" y="32510"/>
                    </a:lnTo>
                    <a:cubicBezTo>
                      <a:pt x="13084" y="36127"/>
                      <a:pt x="10154" y="39052"/>
                      <a:pt x="6542" y="39052"/>
                    </a:cubicBezTo>
                    <a:close/>
                  </a:path>
                </a:pathLst>
              </a:custGeom>
              <a:grpFill/>
              <a:ln w="23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217" name="Freihandform: Form 765">
                <a:extLst>
                  <a:ext uri="{FF2B5EF4-FFF2-40B4-BE49-F238E27FC236}">
                    <a16:creationId xmlns:a16="http://schemas.microsoft.com/office/drawing/2014/main" id="{F59ADD99-5EE3-166A-4793-A539914004F3}"/>
                  </a:ext>
                </a:extLst>
              </p:cNvPr>
              <p:cNvSpPr/>
              <p:nvPr/>
            </p:nvSpPr>
            <p:spPr>
              <a:xfrm>
                <a:off x="6479206" y="3369228"/>
                <a:ext cx="30392" cy="30392"/>
              </a:xfrm>
              <a:custGeom>
                <a:avLst/>
                <a:gdLst>
                  <a:gd name="connsiteX0" fmla="*/ 6542 w 30392"/>
                  <a:gd name="connsiteY0" fmla="*/ 30393 h 30392"/>
                  <a:gd name="connsiteX1" fmla="*/ 1916 w 30392"/>
                  <a:gd name="connsiteY1" fmla="*/ 28477 h 30392"/>
                  <a:gd name="connsiteX2" fmla="*/ 1916 w 30392"/>
                  <a:gd name="connsiteY2" fmla="*/ 19228 h 30392"/>
                  <a:gd name="connsiteX3" fmla="*/ 19228 w 30392"/>
                  <a:gd name="connsiteY3" fmla="*/ 1916 h 30392"/>
                  <a:gd name="connsiteX4" fmla="*/ 28477 w 30392"/>
                  <a:gd name="connsiteY4" fmla="*/ 1916 h 30392"/>
                  <a:gd name="connsiteX5" fmla="*/ 28477 w 30392"/>
                  <a:gd name="connsiteY5" fmla="*/ 11168 h 30392"/>
                  <a:gd name="connsiteX6" fmla="*/ 11165 w 30392"/>
                  <a:gd name="connsiteY6" fmla="*/ 28479 h 30392"/>
                  <a:gd name="connsiteX7" fmla="*/ 6542 w 30392"/>
                  <a:gd name="connsiteY7" fmla="*/ 30393 h 303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0392" h="30392">
                    <a:moveTo>
                      <a:pt x="6542" y="30393"/>
                    </a:moveTo>
                    <a:cubicBezTo>
                      <a:pt x="4869" y="30393"/>
                      <a:pt x="3193" y="29754"/>
                      <a:pt x="1916" y="28477"/>
                    </a:cubicBezTo>
                    <a:cubicBezTo>
                      <a:pt x="-639" y="25922"/>
                      <a:pt x="-639" y="21782"/>
                      <a:pt x="1916" y="19228"/>
                    </a:cubicBezTo>
                    <a:lnTo>
                      <a:pt x="19228" y="1916"/>
                    </a:lnTo>
                    <a:cubicBezTo>
                      <a:pt x="21782" y="-639"/>
                      <a:pt x="25922" y="-639"/>
                      <a:pt x="28477" y="1916"/>
                    </a:cubicBezTo>
                    <a:cubicBezTo>
                      <a:pt x="31031" y="4471"/>
                      <a:pt x="31031" y="8611"/>
                      <a:pt x="28477" y="11168"/>
                    </a:cubicBezTo>
                    <a:lnTo>
                      <a:pt x="11165" y="28479"/>
                    </a:lnTo>
                    <a:cubicBezTo>
                      <a:pt x="9888" y="29754"/>
                      <a:pt x="8215" y="30393"/>
                      <a:pt x="6542" y="30393"/>
                    </a:cubicBezTo>
                    <a:close/>
                  </a:path>
                </a:pathLst>
              </a:custGeom>
              <a:grpFill/>
              <a:ln w="23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218" name="Freihandform: Form 766">
                <a:extLst>
                  <a:ext uri="{FF2B5EF4-FFF2-40B4-BE49-F238E27FC236}">
                    <a16:creationId xmlns:a16="http://schemas.microsoft.com/office/drawing/2014/main" id="{81649364-4E57-AA3B-4EF0-16AFEDB67EC9}"/>
                  </a:ext>
                </a:extLst>
              </p:cNvPr>
              <p:cNvSpPr/>
              <p:nvPr/>
            </p:nvSpPr>
            <p:spPr>
              <a:xfrm>
                <a:off x="6297456" y="3369225"/>
                <a:ext cx="30392" cy="30395"/>
              </a:xfrm>
              <a:custGeom>
                <a:avLst/>
                <a:gdLst>
                  <a:gd name="connsiteX0" fmla="*/ 23851 w 30392"/>
                  <a:gd name="connsiteY0" fmla="*/ 30395 h 30395"/>
                  <a:gd name="connsiteX1" fmla="*/ 19225 w 30392"/>
                  <a:gd name="connsiteY1" fmla="*/ 28479 h 30395"/>
                  <a:gd name="connsiteX2" fmla="*/ 1916 w 30392"/>
                  <a:gd name="connsiteY2" fmla="*/ 11168 h 30395"/>
                  <a:gd name="connsiteX3" fmla="*/ 1916 w 30392"/>
                  <a:gd name="connsiteY3" fmla="*/ 1916 h 30395"/>
                  <a:gd name="connsiteX4" fmla="*/ 11168 w 30392"/>
                  <a:gd name="connsiteY4" fmla="*/ 1916 h 30395"/>
                  <a:gd name="connsiteX5" fmla="*/ 28477 w 30392"/>
                  <a:gd name="connsiteY5" fmla="*/ 19227 h 30395"/>
                  <a:gd name="connsiteX6" fmla="*/ 28477 w 30392"/>
                  <a:gd name="connsiteY6" fmla="*/ 28477 h 30395"/>
                  <a:gd name="connsiteX7" fmla="*/ 23851 w 30392"/>
                  <a:gd name="connsiteY7" fmla="*/ 30395 h 303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0392" h="30395">
                    <a:moveTo>
                      <a:pt x="23851" y="30395"/>
                    </a:moveTo>
                    <a:cubicBezTo>
                      <a:pt x="22178" y="30395"/>
                      <a:pt x="20503" y="29756"/>
                      <a:pt x="19225" y="28479"/>
                    </a:cubicBezTo>
                    <a:lnTo>
                      <a:pt x="1916" y="11168"/>
                    </a:lnTo>
                    <a:cubicBezTo>
                      <a:pt x="-639" y="8613"/>
                      <a:pt x="-639" y="4473"/>
                      <a:pt x="1916" y="1916"/>
                    </a:cubicBezTo>
                    <a:cubicBezTo>
                      <a:pt x="4471" y="-639"/>
                      <a:pt x="8611" y="-639"/>
                      <a:pt x="11168" y="1916"/>
                    </a:cubicBezTo>
                    <a:lnTo>
                      <a:pt x="28477" y="19227"/>
                    </a:lnTo>
                    <a:cubicBezTo>
                      <a:pt x="31031" y="21782"/>
                      <a:pt x="31031" y="25922"/>
                      <a:pt x="28477" y="28477"/>
                    </a:cubicBezTo>
                    <a:cubicBezTo>
                      <a:pt x="27199" y="29756"/>
                      <a:pt x="25526" y="30395"/>
                      <a:pt x="23851" y="30395"/>
                    </a:cubicBezTo>
                    <a:close/>
                  </a:path>
                </a:pathLst>
              </a:custGeom>
              <a:grpFill/>
              <a:ln w="23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219" name="Freihandform: Form 767">
                <a:extLst>
                  <a:ext uri="{FF2B5EF4-FFF2-40B4-BE49-F238E27FC236}">
                    <a16:creationId xmlns:a16="http://schemas.microsoft.com/office/drawing/2014/main" id="{4ED1F2D8-4812-C3BE-5033-D6C747FD970E}"/>
                  </a:ext>
                </a:extLst>
              </p:cNvPr>
              <p:cNvSpPr/>
              <p:nvPr/>
            </p:nvSpPr>
            <p:spPr>
              <a:xfrm>
                <a:off x="6364422" y="3552566"/>
                <a:ext cx="79999" cy="13083"/>
              </a:xfrm>
              <a:custGeom>
                <a:avLst/>
                <a:gdLst>
                  <a:gd name="connsiteX0" fmla="*/ 73457 w 79999"/>
                  <a:gd name="connsiteY0" fmla="*/ 13084 h 13083"/>
                  <a:gd name="connsiteX1" fmla="*/ 6542 w 79999"/>
                  <a:gd name="connsiteY1" fmla="*/ 13084 h 13083"/>
                  <a:gd name="connsiteX2" fmla="*/ 0 w 79999"/>
                  <a:gd name="connsiteY2" fmla="*/ 6542 h 13083"/>
                  <a:gd name="connsiteX3" fmla="*/ 6542 w 79999"/>
                  <a:gd name="connsiteY3" fmla="*/ 0 h 13083"/>
                  <a:gd name="connsiteX4" fmla="*/ 73457 w 79999"/>
                  <a:gd name="connsiteY4" fmla="*/ 0 h 13083"/>
                  <a:gd name="connsiteX5" fmla="*/ 79999 w 79999"/>
                  <a:gd name="connsiteY5" fmla="*/ 6542 h 13083"/>
                  <a:gd name="connsiteX6" fmla="*/ 73457 w 79999"/>
                  <a:gd name="connsiteY6" fmla="*/ 13084 h 130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79999" h="13083">
                    <a:moveTo>
                      <a:pt x="73457" y="13084"/>
                    </a:moveTo>
                    <a:lnTo>
                      <a:pt x="6542" y="13084"/>
                    </a:lnTo>
                    <a:cubicBezTo>
                      <a:pt x="2930" y="13084"/>
                      <a:pt x="0" y="10159"/>
                      <a:pt x="0" y="6542"/>
                    </a:cubicBezTo>
                    <a:cubicBezTo>
                      <a:pt x="0" y="2925"/>
                      <a:pt x="2930" y="0"/>
                      <a:pt x="6542" y="0"/>
                    </a:cubicBezTo>
                    <a:lnTo>
                      <a:pt x="73457" y="0"/>
                    </a:lnTo>
                    <a:cubicBezTo>
                      <a:pt x="77070" y="0"/>
                      <a:pt x="79999" y="2925"/>
                      <a:pt x="79999" y="6542"/>
                    </a:cubicBezTo>
                    <a:cubicBezTo>
                      <a:pt x="79999" y="10156"/>
                      <a:pt x="77070" y="13084"/>
                      <a:pt x="73457" y="13084"/>
                    </a:cubicBezTo>
                    <a:close/>
                  </a:path>
                </a:pathLst>
              </a:custGeom>
              <a:grpFill/>
              <a:ln w="23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220" name="Freihandform: Form 768">
                <a:extLst>
                  <a:ext uri="{FF2B5EF4-FFF2-40B4-BE49-F238E27FC236}">
                    <a16:creationId xmlns:a16="http://schemas.microsoft.com/office/drawing/2014/main" id="{832FF8C5-5BEF-1DC3-4F7D-0809A1E6C474}"/>
                  </a:ext>
                </a:extLst>
              </p:cNvPr>
              <p:cNvSpPr/>
              <p:nvPr/>
            </p:nvSpPr>
            <p:spPr>
              <a:xfrm>
                <a:off x="6376969" y="3573335"/>
                <a:ext cx="54905" cy="13083"/>
              </a:xfrm>
              <a:custGeom>
                <a:avLst/>
                <a:gdLst>
                  <a:gd name="connsiteX0" fmla="*/ 48364 w 54905"/>
                  <a:gd name="connsiteY0" fmla="*/ 13084 h 13083"/>
                  <a:gd name="connsiteX1" fmla="*/ 6542 w 54905"/>
                  <a:gd name="connsiteY1" fmla="*/ 13084 h 13083"/>
                  <a:gd name="connsiteX2" fmla="*/ 0 w 54905"/>
                  <a:gd name="connsiteY2" fmla="*/ 6542 h 13083"/>
                  <a:gd name="connsiteX3" fmla="*/ 6542 w 54905"/>
                  <a:gd name="connsiteY3" fmla="*/ 0 h 13083"/>
                  <a:gd name="connsiteX4" fmla="*/ 48364 w 54905"/>
                  <a:gd name="connsiteY4" fmla="*/ 0 h 13083"/>
                  <a:gd name="connsiteX5" fmla="*/ 54906 w 54905"/>
                  <a:gd name="connsiteY5" fmla="*/ 6542 h 13083"/>
                  <a:gd name="connsiteX6" fmla="*/ 48364 w 54905"/>
                  <a:gd name="connsiteY6" fmla="*/ 13084 h 130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54905" h="13083">
                    <a:moveTo>
                      <a:pt x="48364" y="13084"/>
                    </a:moveTo>
                    <a:lnTo>
                      <a:pt x="6542" y="13084"/>
                    </a:lnTo>
                    <a:cubicBezTo>
                      <a:pt x="2930" y="13084"/>
                      <a:pt x="0" y="10159"/>
                      <a:pt x="0" y="6542"/>
                    </a:cubicBezTo>
                    <a:cubicBezTo>
                      <a:pt x="0" y="2925"/>
                      <a:pt x="2930" y="0"/>
                      <a:pt x="6542" y="0"/>
                    </a:cubicBezTo>
                    <a:lnTo>
                      <a:pt x="48364" y="0"/>
                    </a:lnTo>
                    <a:cubicBezTo>
                      <a:pt x="51976" y="0"/>
                      <a:pt x="54906" y="2925"/>
                      <a:pt x="54906" y="6542"/>
                    </a:cubicBezTo>
                    <a:cubicBezTo>
                      <a:pt x="54906" y="10156"/>
                      <a:pt x="51976" y="13084"/>
                      <a:pt x="48364" y="13084"/>
                    </a:cubicBezTo>
                    <a:close/>
                  </a:path>
                </a:pathLst>
              </a:custGeom>
              <a:grpFill/>
              <a:ln w="23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</p:grpSp>
      </p:grpSp>
      <p:grpSp>
        <p:nvGrpSpPr>
          <p:cNvPr id="24" name="Group 23">
            <a:extLst>
              <a:ext uri="{FF2B5EF4-FFF2-40B4-BE49-F238E27FC236}">
                <a16:creationId xmlns:a16="http://schemas.microsoft.com/office/drawing/2014/main" id="{7713081C-C755-86D5-A488-EFFC6DBDEF57}"/>
              </a:ext>
            </a:extLst>
          </p:cNvPr>
          <p:cNvGrpSpPr/>
          <p:nvPr/>
        </p:nvGrpSpPr>
        <p:grpSpPr>
          <a:xfrm>
            <a:off x="7452562" y="4350752"/>
            <a:ext cx="396461" cy="354825"/>
            <a:chOff x="7452562" y="4350752"/>
            <a:chExt cx="396461" cy="354825"/>
          </a:xfrm>
        </p:grpSpPr>
        <p:grpSp>
          <p:nvGrpSpPr>
            <p:cNvPr id="222" name="Gruppieren 1320">
              <a:extLst>
                <a:ext uri="{FF2B5EF4-FFF2-40B4-BE49-F238E27FC236}">
                  <a16:creationId xmlns:a16="http://schemas.microsoft.com/office/drawing/2014/main" id="{32200E9E-15E2-EA62-9E6F-7B6B7791BCC5}"/>
                </a:ext>
              </a:extLst>
            </p:cNvPr>
            <p:cNvGrpSpPr/>
            <p:nvPr/>
          </p:nvGrpSpPr>
          <p:grpSpPr>
            <a:xfrm>
              <a:off x="7452562" y="4350752"/>
              <a:ext cx="396461" cy="295323"/>
              <a:chOff x="1731007" y="3288268"/>
              <a:chExt cx="435335" cy="324280"/>
            </a:xfrm>
            <a:solidFill>
              <a:schemeClr val="tx2"/>
            </a:solidFill>
          </p:grpSpPr>
          <p:sp>
            <p:nvSpPr>
              <p:cNvPr id="231" name="Freihandform: Form 506">
                <a:extLst>
                  <a:ext uri="{FF2B5EF4-FFF2-40B4-BE49-F238E27FC236}">
                    <a16:creationId xmlns:a16="http://schemas.microsoft.com/office/drawing/2014/main" id="{30DE1EE7-7A6B-DD4B-BCDF-D0574BEAFDE0}"/>
                  </a:ext>
                </a:extLst>
              </p:cNvPr>
              <p:cNvSpPr/>
              <p:nvPr/>
            </p:nvSpPr>
            <p:spPr>
              <a:xfrm>
                <a:off x="2080599" y="3289360"/>
                <a:ext cx="79148" cy="92339"/>
              </a:xfrm>
              <a:custGeom>
                <a:avLst/>
                <a:gdLst>
                  <a:gd name="connsiteX0" fmla="*/ 39574 w 79148"/>
                  <a:gd name="connsiteY0" fmla="*/ 92339 h 92339"/>
                  <a:gd name="connsiteX1" fmla="*/ 0 w 79148"/>
                  <a:gd name="connsiteY1" fmla="*/ 46170 h 92339"/>
                  <a:gd name="connsiteX2" fmla="*/ 39574 w 79148"/>
                  <a:gd name="connsiteY2" fmla="*/ 0 h 92339"/>
                  <a:gd name="connsiteX3" fmla="*/ 79148 w 79148"/>
                  <a:gd name="connsiteY3" fmla="*/ 46170 h 92339"/>
                  <a:gd name="connsiteX4" fmla="*/ 39574 w 79148"/>
                  <a:gd name="connsiteY4" fmla="*/ 92339 h 92339"/>
                  <a:gd name="connsiteX5" fmla="*/ 39574 w 79148"/>
                  <a:gd name="connsiteY5" fmla="*/ 13191 h 92339"/>
                  <a:gd name="connsiteX6" fmla="*/ 13191 w 79148"/>
                  <a:gd name="connsiteY6" fmla="*/ 46170 h 92339"/>
                  <a:gd name="connsiteX7" fmla="*/ 39574 w 79148"/>
                  <a:gd name="connsiteY7" fmla="*/ 79148 h 92339"/>
                  <a:gd name="connsiteX8" fmla="*/ 65957 w 79148"/>
                  <a:gd name="connsiteY8" fmla="*/ 46170 h 92339"/>
                  <a:gd name="connsiteX9" fmla="*/ 39574 w 79148"/>
                  <a:gd name="connsiteY9" fmla="*/ 13191 h 923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79148" h="92339">
                    <a:moveTo>
                      <a:pt x="39574" y="92339"/>
                    </a:moveTo>
                    <a:cubicBezTo>
                      <a:pt x="15911" y="92339"/>
                      <a:pt x="0" y="73773"/>
                      <a:pt x="0" y="46170"/>
                    </a:cubicBezTo>
                    <a:cubicBezTo>
                      <a:pt x="0" y="18566"/>
                      <a:pt x="15911" y="0"/>
                      <a:pt x="39574" y="0"/>
                    </a:cubicBezTo>
                    <a:cubicBezTo>
                      <a:pt x="63237" y="0"/>
                      <a:pt x="79148" y="18566"/>
                      <a:pt x="79148" y="46170"/>
                    </a:cubicBezTo>
                    <a:cubicBezTo>
                      <a:pt x="79148" y="73773"/>
                      <a:pt x="63237" y="92339"/>
                      <a:pt x="39574" y="92339"/>
                    </a:cubicBezTo>
                    <a:close/>
                    <a:moveTo>
                      <a:pt x="39574" y="13191"/>
                    </a:moveTo>
                    <a:cubicBezTo>
                      <a:pt x="20130" y="13191"/>
                      <a:pt x="13191" y="30237"/>
                      <a:pt x="13191" y="46170"/>
                    </a:cubicBezTo>
                    <a:cubicBezTo>
                      <a:pt x="13191" y="62102"/>
                      <a:pt x="20130" y="79148"/>
                      <a:pt x="39574" y="79148"/>
                    </a:cubicBezTo>
                    <a:cubicBezTo>
                      <a:pt x="59018" y="79148"/>
                      <a:pt x="65957" y="62102"/>
                      <a:pt x="65957" y="46170"/>
                    </a:cubicBezTo>
                    <a:cubicBezTo>
                      <a:pt x="65957" y="30237"/>
                      <a:pt x="59018" y="13191"/>
                      <a:pt x="39574" y="13191"/>
                    </a:cubicBezTo>
                    <a:close/>
                  </a:path>
                </a:pathLst>
              </a:custGeom>
              <a:grpFill/>
              <a:ln w="213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232" name="Freihandform: Form 507">
                <a:extLst>
                  <a:ext uri="{FF2B5EF4-FFF2-40B4-BE49-F238E27FC236}">
                    <a16:creationId xmlns:a16="http://schemas.microsoft.com/office/drawing/2014/main" id="{E985DBF5-7B93-A470-8E5F-4BC193DD6733}"/>
                  </a:ext>
                </a:extLst>
              </p:cNvPr>
              <p:cNvSpPr/>
              <p:nvPr/>
            </p:nvSpPr>
            <p:spPr>
              <a:xfrm>
                <a:off x="1796985" y="3599357"/>
                <a:ext cx="52765" cy="13191"/>
              </a:xfrm>
              <a:custGeom>
                <a:avLst/>
                <a:gdLst>
                  <a:gd name="connsiteX0" fmla="*/ 46170 w 52765"/>
                  <a:gd name="connsiteY0" fmla="*/ 13191 h 13191"/>
                  <a:gd name="connsiteX1" fmla="*/ 6596 w 52765"/>
                  <a:gd name="connsiteY1" fmla="*/ 13191 h 13191"/>
                  <a:gd name="connsiteX2" fmla="*/ 0 w 52765"/>
                  <a:gd name="connsiteY2" fmla="*/ 6596 h 13191"/>
                  <a:gd name="connsiteX3" fmla="*/ 6596 w 52765"/>
                  <a:gd name="connsiteY3" fmla="*/ 0 h 13191"/>
                  <a:gd name="connsiteX4" fmla="*/ 46170 w 52765"/>
                  <a:gd name="connsiteY4" fmla="*/ 0 h 13191"/>
                  <a:gd name="connsiteX5" fmla="*/ 52765 w 52765"/>
                  <a:gd name="connsiteY5" fmla="*/ 6596 h 13191"/>
                  <a:gd name="connsiteX6" fmla="*/ 46170 w 52765"/>
                  <a:gd name="connsiteY6" fmla="*/ 13191 h 131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52765" h="13191">
                    <a:moveTo>
                      <a:pt x="46170" y="13191"/>
                    </a:moveTo>
                    <a:lnTo>
                      <a:pt x="6596" y="13191"/>
                    </a:lnTo>
                    <a:cubicBezTo>
                      <a:pt x="2955" y="13191"/>
                      <a:pt x="0" y="10236"/>
                      <a:pt x="0" y="6596"/>
                    </a:cubicBezTo>
                    <a:cubicBezTo>
                      <a:pt x="0" y="2955"/>
                      <a:pt x="2955" y="0"/>
                      <a:pt x="6596" y="0"/>
                    </a:cubicBezTo>
                    <a:lnTo>
                      <a:pt x="46170" y="0"/>
                    </a:lnTo>
                    <a:cubicBezTo>
                      <a:pt x="49810" y="0"/>
                      <a:pt x="52765" y="2955"/>
                      <a:pt x="52765" y="6596"/>
                    </a:cubicBezTo>
                    <a:cubicBezTo>
                      <a:pt x="52765" y="10236"/>
                      <a:pt x="49810" y="13191"/>
                      <a:pt x="46170" y="13191"/>
                    </a:cubicBezTo>
                    <a:close/>
                  </a:path>
                </a:pathLst>
              </a:custGeom>
              <a:grpFill/>
              <a:ln w="213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233" name="Freihandform: Form 508">
                <a:extLst>
                  <a:ext uri="{FF2B5EF4-FFF2-40B4-BE49-F238E27FC236}">
                    <a16:creationId xmlns:a16="http://schemas.microsoft.com/office/drawing/2014/main" id="{6C1FB95A-ED26-FB2A-C2A5-CE355B34DDC0}"/>
                  </a:ext>
                </a:extLst>
              </p:cNvPr>
              <p:cNvSpPr/>
              <p:nvPr/>
            </p:nvSpPr>
            <p:spPr>
              <a:xfrm>
                <a:off x="1731007" y="3393753"/>
                <a:ext cx="191296" cy="105555"/>
              </a:xfrm>
              <a:custGeom>
                <a:avLst/>
                <a:gdLst>
                  <a:gd name="connsiteX0" fmla="*/ 184700 w 191296"/>
                  <a:gd name="connsiteY0" fmla="*/ 105556 h 105555"/>
                  <a:gd name="connsiteX1" fmla="*/ 110842 w 191296"/>
                  <a:gd name="connsiteY1" fmla="*/ 105556 h 105555"/>
                  <a:gd name="connsiteX2" fmla="*/ 87693 w 191296"/>
                  <a:gd name="connsiteY2" fmla="*/ 97418 h 105555"/>
                  <a:gd name="connsiteX3" fmla="*/ 55614 w 191296"/>
                  <a:gd name="connsiteY3" fmla="*/ 63347 h 105555"/>
                  <a:gd name="connsiteX4" fmla="*/ 55892 w 191296"/>
                  <a:gd name="connsiteY4" fmla="*/ 54011 h 105555"/>
                  <a:gd name="connsiteX5" fmla="*/ 65207 w 191296"/>
                  <a:gd name="connsiteY5" fmla="*/ 54289 h 105555"/>
                  <a:gd name="connsiteX6" fmla="*/ 97158 w 191296"/>
                  <a:gd name="connsiteY6" fmla="*/ 88231 h 105555"/>
                  <a:gd name="connsiteX7" fmla="*/ 110842 w 191296"/>
                  <a:gd name="connsiteY7" fmla="*/ 92364 h 105555"/>
                  <a:gd name="connsiteX8" fmla="*/ 178105 w 191296"/>
                  <a:gd name="connsiteY8" fmla="*/ 92364 h 105555"/>
                  <a:gd name="connsiteX9" fmla="*/ 166477 w 191296"/>
                  <a:gd name="connsiteY9" fmla="*/ 72577 h 105555"/>
                  <a:gd name="connsiteX10" fmla="*/ 121570 w 191296"/>
                  <a:gd name="connsiteY10" fmla="*/ 72577 h 105555"/>
                  <a:gd name="connsiteX11" fmla="*/ 116431 w 191296"/>
                  <a:gd name="connsiteY11" fmla="*/ 70115 h 105555"/>
                  <a:gd name="connsiteX12" fmla="*/ 74501 w 191296"/>
                  <a:gd name="connsiteY12" fmla="*/ 18163 h 105555"/>
                  <a:gd name="connsiteX13" fmla="*/ 74051 w 191296"/>
                  <a:gd name="connsiteY13" fmla="*/ 17542 h 105555"/>
                  <a:gd name="connsiteX14" fmla="*/ 65336 w 191296"/>
                  <a:gd name="connsiteY14" fmla="*/ 13195 h 105555"/>
                  <a:gd name="connsiteX15" fmla="*/ 39574 w 191296"/>
                  <a:gd name="connsiteY15" fmla="*/ 13216 h 105555"/>
                  <a:gd name="connsiteX16" fmla="*/ 26811 w 191296"/>
                  <a:gd name="connsiteY16" fmla="*/ 19640 h 105555"/>
                  <a:gd name="connsiteX17" fmla="*/ 13191 w 191296"/>
                  <a:gd name="connsiteY17" fmla="*/ 50028 h 105555"/>
                  <a:gd name="connsiteX18" fmla="*/ 13191 w 191296"/>
                  <a:gd name="connsiteY18" fmla="*/ 78059 h 105555"/>
                  <a:gd name="connsiteX19" fmla="*/ 6596 w 191296"/>
                  <a:gd name="connsiteY19" fmla="*/ 84655 h 105555"/>
                  <a:gd name="connsiteX20" fmla="*/ 0 w 191296"/>
                  <a:gd name="connsiteY20" fmla="*/ 78059 h 105555"/>
                  <a:gd name="connsiteX21" fmla="*/ 0 w 191296"/>
                  <a:gd name="connsiteY21" fmla="*/ 50028 h 105555"/>
                  <a:gd name="connsiteX22" fmla="*/ 17581 w 191296"/>
                  <a:gd name="connsiteY22" fmla="*/ 10218 h 105555"/>
                  <a:gd name="connsiteX23" fmla="*/ 39681 w 191296"/>
                  <a:gd name="connsiteY23" fmla="*/ 3 h 105555"/>
                  <a:gd name="connsiteX24" fmla="*/ 65957 w 191296"/>
                  <a:gd name="connsiteY24" fmla="*/ 3 h 105555"/>
                  <a:gd name="connsiteX25" fmla="*/ 66835 w 191296"/>
                  <a:gd name="connsiteY25" fmla="*/ 68 h 105555"/>
                  <a:gd name="connsiteX26" fmla="*/ 84973 w 191296"/>
                  <a:gd name="connsiteY26" fmla="*/ 10132 h 105555"/>
                  <a:gd name="connsiteX27" fmla="*/ 124718 w 191296"/>
                  <a:gd name="connsiteY27" fmla="*/ 59364 h 105555"/>
                  <a:gd name="connsiteX28" fmla="*/ 166477 w 191296"/>
                  <a:gd name="connsiteY28" fmla="*/ 59364 h 105555"/>
                  <a:gd name="connsiteX29" fmla="*/ 191296 w 191296"/>
                  <a:gd name="connsiteY29" fmla="*/ 92343 h 105555"/>
                  <a:gd name="connsiteX30" fmla="*/ 191296 w 191296"/>
                  <a:gd name="connsiteY30" fmla="*/ 98939 h 105555"/>
                  <a:gd name="connsiteX31" fmla="*/ 184700 w 191296"/>
                  <a:gd name="connsiteY31" fmla="*/ 105556 h 1055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</a:cxnLst>
                <a:rect l="l" t="t" r="r" b="b"/>
                <a:pathLst>
                  <a:path w="191296" h="105555">
                    <a:moveTo>
                      <a:pt x="184700" y="105556"/>
                    </a:moveTo>
                    <a:lnTo>
                      <a:pt x="110842" y="105556"/>
                    </a:lnTo>
                    <a:cubicBezTo>
                      <a:pt x="103582" y="105556"/>
                      <a:pt x="93710" y="103414"/>
                      <a:pt x="87693" y="97418"/>
                    </a:cubicBezTo>
                    <a:lnTo>
                      <a:pt x="55614" y="63347"/>
                    </a:lnTo>
                    <a:cubicBezTo>
                      <a:pt x="53108" y="60692"/>
                      <a:pt x="53236" y="56516"/>
                      <a:pt x="55892" y="54011"/>
                    </a:cubicBezTo>
                    <a:cubicBezTo>
                      <a:pt x="58547" y="51527"/>
                      <a:pt x="62723" y="51655"/>
                      <a:pt x="65207" y="54289"/>
                    </a:cubicBezTo>
                    <a:lnTo>
                      <a:pt x="97158" y="88231"/>
                    </a:lnTo>
                    <a:cubicBezTo>
                      <a:pt x="99535" y="90608"/>
                      <a:pt x="105231" y="92364"/>
                      <a:pt x="110842" y="92364"/>
                    </a:cubicBezTo>
                    <a:lnTo>
                      <a:pt x="178105" y="92364"/>
                    </a:lnTo>
                    <a:cubicBezTo>
                      <a:pt x="178105" y="84098"/>
                      <a:pt x="173672" y="72577"/>
                      <a:pt x="166477" y="72577"/>
                    </a:cubicBezTo>
                    <a:lnTo>
                      <a:pt x="121570" y="72577"/>
                    </a:lnTo>
                    <a:cubicBezTo>
                      <a:pt x="119579" y="72577"/>
                      <a:pt x="117694" y="71678"/>
                      <a:pt x="116431" y="70115"/>
                    </a:cubicBezTo>
                    <a:lnTo>
                      <a:pt x="74501" y="18163"/>
                    </a:lnTo>
                    <a:cubicBezTo>
                      <a:pt x="74351" y="17970"/>
                      <a:pt x="74201" y="17756"/>
                      <a:pt x="74051" y="17542"/>
                    </a:cubicBezTo>
                    <a:cubicBezTo>
                      <a:pt x="72574" y="15208"/>
                      <a:pt x="69640" y="13730"/>
                      <a:pt x="65336" y="13195"/>
                    </a:cubicBezTo>
                    <a:lnTo>
                      <a:pt x="39574" y="13216"/>
                    </a:lnTo>
                    <a:cubicBezTo>
                      <a:pt x="35698" y="13345"/>
                      <a:pt x="31115" y="15443"/>
                      <a:pt x="26811" y="19640"/>
                    </a:cubicBezTo>
                    <a:cubicBezTo>
                      <a:pt x="18909" y="27414"/>
                      <a:pt x="13191" y="40198"/>
                      <a:pt x="13191" y="50028"/>
                    </a:cubicBezTo>
                    <a:lnTo>
                      <a:pt x="13191" y="78059"/>
                    </a:lnTo>
                    <a:cubicBezTo>
                      <a:pt x="13191" y="81700"/>
                      <a:pt x="10236" y="84655"/>
                      <a:pt x="6596" y="84655"/>
                    </a:cubicBezTo>
                    <a:cubicBezTo>
                      <a:pt x="2955" y="84655"/>
                      <a:pt x="0" y="81700"/>
                      <a:pt x="0" y="78059"/>
                    </a:cubicBezTo>
                    <a:lnTo>
                      <a:pt x="0" y="50028"/>
                    </a:lnTo>
                    <a:cubicBezTo>
                      <a:pt x="0" y="36558"/>
                      <a:pt x="7067" y="20583"/>
                      <a:pt x="17581" y="10218"/>
                    </a:cubicBezTo>
                    <a:cubicBezTo>
                      <a:pt x="24498" y="3408"/>
                      <a:pt x="32079" y="-125"/>
                      <a:pt x="39681" y="3"/>
                    </a:cubicBezTo>
                    <a:lnTo>
                      <a:pt x="65957" y="3"/>
                    </a:lnTo>
                    <a:cubicBezTo>
                      <a:pt x="66257" y="3"/>
                      <a:pt x="66535" y="25"/>
                      <a:pt x="66835" y="68"/>
                    </a:cubicBezTo>
                    <a:cubicBezTo>
                      <a:pt x="77135" y="1395"/>
                      <a:pt x="82360" y="6192"/>
                      <a:pt x="84973" y="10132"/>
                    </a:cubicBezTo>
                    <a:lnTo>
                      <a:pt x="124718" y="59364"/>
                    </a:lnTo>
                    <a:lnTo>
                      <a:pt x="166477" y="59364"/>
                    </a:lnTo>
                    <a:cubicBezTo>
                      <a:pt x="182002" y="59364"/>
                      <a:pt x="191296" y="76132"/>
                      <a:pt x="191296" y="92343"/>
                    </a:cubicBezTo>
                    <a:lnTo>
                      <a:pt x="191296" y="98939"/>
                    </a:lnTo>
                    <a:cubicBezTo>
                      <a:pt x="191296" y="102622"/>
                      <a:pt x="188341" y="105556"/>
                      <a:pt x="184700" y="105556"/>
                    </a:cubicBezTo>
                    <a:close/>
                  </a:path>
                </a:pathLst>
              </a:custGeom>
              <a:grpFill/>
              <a:ln w="213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234" name="Freihandform: Form 509">
                <a:extLst>
                  <a:ext uri="{FF2B5EF4-FFF2-40B4-BE49-F238E27FC236}">
                    <a16:creationId xmlns:a16="http://schemas.microsoft.com/office/drawing/2014/main" id="{FBCA094E-1A20-F690-875C-B9B7C0159CA3}"/>
                  </a:ext>
                </a:extLst>
              </p:cNvPr>
              <p:cNvSpPr/>
              <p:nvPr/>
            </p:nvSpPr>
            <p:spPr>
              <a:xfrm>
                <a:off x="1737624" y="3288268"/>
                <a:ext cx="79148" cy="92339"/>
              </a:xfrm>
              <a:custGeom>
                <a:avLst/>
                <a:gdLst>
                  <a:gd name="connsiteX0" fmla="*/ 39574 w 79148"/>
                  <a:gd name="connsiteY0" fmla="*/ 92339 h 92339"/>
                  <a:gd name="connsiteX1" fmla="*/ 0 w 79148"/>
                  <a:gd name="connsiteY1" fmla="*/ 46170 h 92339"/>
                  <a:gd name="connsiteX2" fmla="*/ 39574 w 79148"/>
                  <a:gd name="connsiteY2" fmla="*/ 0 h 92339"/>
                  <a:gd name="connsiteX3" fmla="*/ 79148 w 79148"/>
                  <a:gd name="connsiteY3" fmla="*/ 46170 h 92339"/>
                  <a:gd name="connsiteX4" fmla="*/ 39574 w 79148"/>
                  <a:gd name="connsiteY4" fmla="*/ 92339 h 92339"/>
                  <a:gd name="connsiteX5" fmla="*/ 39574 w 79148"/>
                  <a:gd name="connsiteY5" fmla="*/ 13191 h 92339"/>
                  <a:gd name="connsiteX6" fmla="*/ 13191 w 79148"/>
                  <a:gd name="connsiteY6" fmla="*/ 46170 h 92339"/>
                  <a:gd name="connsiteX7" fmla="*/ 39574 w 79148"/>
                  <a:gd name="connsiteY7" fmla="*/ 79148 h 92339"/>
                  <a:gd name="connsiteX8" fmla="*/ 65957 w 79148"/>
                  <a:gd name="connsiteY8" fmla="*/ 46170 h 92339"/>
                  <a:gd name="connsiteX9" fmla="*/ 39574 w 79148"/>
                  <a:gd name="connsiteY9" fmla="*/ 13191 h 923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79148" h="92339">
                    <a:moveTo>
                      <a:pt x="39574" y="92339"/>
                    </a:moveTo>
                    <a:cubicBezTo>
                      <a:pt x="15911" y="92339"/>
                      <a:pt x="0" y="73773"/>
                      <a:pt x="0" y="46170"/>
                    </a:cubicBezTo>
                    <a:cubicBezTo>
                      <a:pt x="0" y="18566"/>
                      <a:pt x="15911" y="0"/>
                      <a:pt x="39574" y="0"/>
                    </a:cubicBezTo>
                    <a:cubicBezTo>
                      <a:pt x="63237" y="0"/>
                      <a:pt x="79148" y="18566"/>
                      <a:pt x="79148" y="46170"/>
                    </a:cubicBezTo>
                    <a:cubicBezTo>
                      <a:pt x="79148" y="73773"/>
                      <a:pt x="63259" y="92339"/>
                      <a:pt x="39574" y="92339"/>
                    </a:cubicBezTo>
                    <a:close/>
                    <a:moveTo>
                      <a:pt x="39574" y="13191"/>
                    </a:moveTo>
                    <a:cubicBezTo>
                      <a:pt x="20130" y="13191"/>
                      <a:pt x="13191" y="30237"/>
                      <a:pt x="13191" y="46170"/>
                    </a:cubicBezTo>
                    <a:cubicBezTo>
                      <a:pt x="13191" y="62102"/>
                      <a:pt x="20130" y="79148"/>
                      <a:pt x="39574" y="79148"/>
                    </a:cubicBezTo>
                    <a:cubicBezTo>
                      <a:pt x="59018" y="79148"/>
                      <a:pt x="65957" y="62102"/>
                      <a:pt x="65957" y="46170"/>
                    </a:cubicBezTo>
                    <a:cubicBezTo>
                      <a:pt x="65957" y="30237"/>
                      <a:pt x="59040" y="13191"/>
                      <a:pt x="39574" y="13191"/>
                    </a:cubicBezTo>
                    <a:close/>
                  </a:path>
                </a:pathLst>
              </a:custGeom>
              <a:grpFill/>
              <a:ln w="213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235" name="Freihandform: Form 510">
                <a:extLst>
                  <a:ext uri="{FF2B5EF4-FFF2-40B4-BE49-F238E27FC236}">
                    <a16:creationId xmlns:a16="http://schemas.microsoft.com/office/drawing/2014/main" id="{E10777C2-04CB-868D-76B3-A84C9FEEB2B1}"/>
                  </a:ext>
                </a:extLst>
              </p:cNvPr>
              <p:cNvSpPr/>
              <p:nvPr/>
            </p:nvSpPr>
            <p:spPr>
              <a:xfrm>
                <a:off x="1975068" y="3394891"/>
                <a:ext cx="191274" cy="105530"/>
              </a:xfrm>
              <a:custGeom>
                <a:avLst/>
                <a:gdLst>
                  <a:gd name="connsiteX0" fmla="*/ 80454 w 191274"/>
                  <a:gd name="connsiteY0" fmla="*/ 105531 h 105530"/>
                  <a:gd name="connsiteX1" fmla="*/ 6596 w 191274"/>
                  <a:gd name="connsiteY1" fmla="*/ 105531 h 105530"/>
                  <a:gd name="connsiteX2" fmla="*/ 0 w 191274"/>
                  <a:gd name="connsiteY2" fmla="*/ 98935 h 105530"/>
                  <a:gd name="connsiteX3" fmla="*/ 0 w 191274"/>
                  <a:gd name="connsiteY3" fmla="*/ 92339 h 105530"/>
                  <a:gd name="connsiteX4" fmla="*/ 24820 w 191274"/>
                  <a:gd name="connsiteY4" fmla="*/ 59361 h 105530"/>
                  <a:gd name="connsiteX5" fmla="*/ 66578 w 191274"/>
                  <a:gd name="connsiteY5" fmla="*/ 59361 h 105530"/>
                  <a:gd name="connsiteX6" fmla="*/ 106302 w 191274"/>
                  <a:gd name="connsiteY6" fmla="*/ 10129 h 105530"/>
                  <a:gd name="connsiteX7" fmla="*/ 124269 w 191274"/>
                  <a:gd name="connsiteY7" fmla="*/ 86 h 105530"/>
                  <a:gd name="connsiteX8" fmla="*/ 125318 w 191274"/>
                  <a:gd name="connsiteY8" fmla="*/ 0 h 105530"/>
                  <a:gd name="connsiteX9" fmla="*/ 151701 w 191274"/>
                  <a:gd name="connsiteY9" fmla="*/ 0 h 105530"/>
                  <a:gd name="connsiteX10" fmla="*/ 173693 w 191274"/>
                  <a:gd name="connsiteY10" fmla="*/ 10215 h 105530"/>
                  <a:gd name="connsiteX11" fmla="*/ 191275 w 191274"/>
                  <a:gd name="connsiteY11" fmla="*/ 50024 h 105530"/>
                  <a:gd name="connsiteX12" fmla="*/ 191275 w 191274"/>
                  <a:gd name="connsiteY12" fmla="*/ 78056 h 105530"/>
                  <a:gd name="connsiteX13" fmla="*/ 184679 w 191274"/>
                  <a:gd name="connsiteY13" fmla="*/ 84652 h 105530"/>
                  <a:gd name="connsiteX14" fmla="*/ 178083 w 191274"/>
                  <a:gd name="connsiteY14" fmla="*/ 78056 h 105530"/>
                  <a:gd name="connsiteX15" fmla="*/ 178083 w 191274"/>
                  <a:gd name="connsiteY15" fmla="*/ 50024 h 105530"/>
                  <a:gd name="connsiteX16" fmla="*/ 164442 w 191274"/>
                  <a:gd name="connsiteY16" fmla="*/ 19637 h 105530"/>
                  <a:gd name="connsiteX17" fmla="*/ 151808 w 191274"/>
                  <a:gd name="connsiteY17" fmla="*/ 13213 h 105530"/>
                  <a:gd name="connsiteX18" fmla="*/ 125768 w 191274"/>
                  <a:gd name="connsiteY18" fmla="*/ 13213 h 105530"/>
                  <a:gd name="connsiteX19" fmla="*/ 117245 w 191274"/>
                  <a:gd name="connsiteY19" fmla="*/ 17539 h 105530"/>
                  <a:gd name="connsiteX20" fmla="*/ 116795 w 191274"/>
                  <a:gd name="connsiteY20" fmla="*/ 18160 h 105530"/>
                  <a:gd name="connsiteX21" fmla="*/ 74865 w 191274"/>
                  <a:gd name="connsiteY21" fmla="*/ 70111 h 105530"/>
                  <a:gd name="connsiteX22" fmla="*/ 69726 w 191274"/>
                  <a:gd name="connsiteY22" fmla="*/ 72574 h 105530"/>
                  <a:gd name="connsiteX23" fmla="*/ 24820 w 191274"/>
                  <a:gd name="connsiteY23" fmla="*/ 72574 h 105530"/>
                  <a:gd name="connsiteX24" fmla="*/ 13191 w 191274"/>
                  <a:gd name="connsiteY24" fmla="*/ 92361 h 105530"/>
                  <a:gd name="connsiteX25" fmla="*/ 80454 w 191274"/>
                  <a:gd name="connsiteY25" fmla="*/ 92361 h 105530"/>
                  <a:gd name="connsiteX26" fmla="*/ 94267 w 191274"/>
                  <a:gd name="connsiteY26" fmla="*/ 88078 h 105530"/>
                  <a:gd name="connsiteX27" fmla="*/ 126089 w 191274"/>
                  <a:gd name="connsiteY27" fmla="*/ 54286 h 105530"/>
                  <a:gd name="connsiteX28" fmla="*/ 135404 w 191274"/>
                  <a:gd name="connsiteY28" fmla="*/ 54008 h 105530"/>
                  <a:gd name="connsiteX29" fmla="*/ 135683 w 191274"/>
                  <a:gd name="connsiteY29" fmla="*/ 63344 h 105530"/>
                  <a:gd name="connsiteX30" fmla="*/ 103732 w 191274"/>
                  <a:gd name="connsiteY30" fmla="*/ 97286 h 105530"/>
                  <a:gd name="connsiteX31" fmla="*/ 80454 w 191274"/>
                  <a:gd name="connsiteY31" fmla="*/ 105531 h 1055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</a:cxnLst>
                <a:rect l="l" t="t" r="r" b="b"/>
                <a:pathLst>
                  <a:path w="191274" h="105530">
                    <a:moveTo>
                      <a:pt x="80454" y="105531"/>
                    </a:moveTo>
                    <a:lnTo>
                      <a:pt x="6596" y="105531"/>
                    </a:lnTo>
                    <a:cubicBezTo>
                      <a:pt x="2955" y="105531"/>
                      <a:pt x="0" y="102576"/>
                      <a:pt x="0" y="98935"/>
                    </a:cubicBezTo>
                    <a:lnTo>
                      <a:pt x="0" y="92339"/>
                    </a:lnTo>
                    <a:cubicBezTo>
                      <a:pt x="0" y="76129"/>
                      <a:pt x="9294" y="59361"/>
                      <a:pt x="24820" y="59361"/>
                    </a:cubicBezTo>
                    <a:lnTo>
                      <a:pt x="66578" y="59361"/>
                    </a:lnTo>
                    <a:lnTo>
                      <a:pt x="106302" y="10129"/>
                    </a:lnTo>
                    <a:cubicBezTo>
                      <a:pt x="108914" y="6189"/>
                      <a:pt x="114118" y="1392"/>
                      <a:pt x="124269" y="86"/>
                    </a:cubicBezTo>
                    <a:cubicBezTo>
                      <a:pt x="124547" y="43"/>
                      <a:pt x="125039" y="0"/>
                      <a:pt x="125318" y="0"/>
                    </a:cubicBezTo>
                    <a:lnTo>
                      <a:pt x="151701" y="0"/>
                    </a:lnTo>
                    <a:cubicBezTo>
                      <a:pt x="159110" y="43"/>
                      <a:pt x="166776" y="3405"/>
                      <a:pt x="173693" y="10215"/>
                    </a:cubicBezTo>
                    <a:cubicBezTo>
                      <a:pt x="184208" y="20558"/>
                      <a:pt x="191275" y="36555"/>
                      <a:pt x="191275" y="50024"/>
                    </a:cubicBezTo>
                    <a:lnTo>
                      <a:pt x="191275" y="78056"/>
                    </a:lnTo>
                    <a:cubicBezTo>
                      <a:pt x="191275" y="81696"/>
                      <a:pt x="188319" y="84652"/>
                      <a:pt x="184679" y="84652"/>
                    </a:cubicBezTo>
                    <a:cubicBezTo>
                      <a:pt x="181039" y="84652"/>
                      <a:pt x="178083" y="81696"/>
                      <a:pt x="178083" y="78056"/>
                    </a:cubicBezTo>
                    <a:lnTo>
                      <a:pt x="178083" y="50024"/>
                    </a:lnTo>
                    <a:cubicBezTo>
                      <a:pt x="178083" y="40174"/>
                      <a:pt x="172344" y="27389"/>
                      <a:pt x="164442" y="19637"/>
                    </a:cubicBezTo>
                    <a:cubicBezTo>
                      <a:pt x="160159" y="15418"/>
                      <a:pt x="155727" y="13277"/>
                      <a:pt x="151808" y="13213"/>
                    </a:cubicBezTo>
                    <a:lnTo>
                      <a:pt x="125768" y="13213"/>
                    </a:lnTo>
                    <a:cubicBezTo>
                      <a:pt x="121463" y="13834"/>
                      <a:pt x="118679" y="15269"/>
                      <a:pt x="117245" y="17539"/>
                    </a:cubicBezTo>
                    <a:cubicBezTo>
                      <a:pt x="117116" y="17753"/>
                      <a:pt x="116966" y="17967"/>
                      <a:pt x="116795" y="18160"/>
                    </a:cubicBezTo>
                    <a:lnTo>
                      <a:pt x="74865" y="70111"/>
                    </a:lnTo>
                    <a:cubicBezTo>
                      <a:pt x="73602" y="71674"/>
                      <a:pt x="71717" y="72574"/>
                      <a:pt x="69726" y="72574"/>
                    </a:cubicBezTo>
                    <a:lnTo>
                      <a:pt x="24820" y="72574"/>
                    </a:lnTo>
                    <a:cubicBezTo>
                      <a:pt x="17624" y="72574"/>
                      <a:pt x="13191" y="84095"/>
                      <a:pt x="13191" y="92361"/>
                    </a:cubicBezTo>
                    <a:lnTo>
                      <a:pt x="80454" y="92361"/>
                    </a:lnTo>
                    <a:cubicBezTo>
                      <a:pt x="86065" y="92361"/>
                      <a:pt x="91740" y="90605"/>
                      <a:pt x="94267" y="88078"/>
                    </a:cubicBezTo>
                    <a:lnTo>
                      <a:pt x="126089" y="54286"/>
                    </a:lnTo>
                    <a:cubicBezTo>
                      <a:pt x="128594" y="51631"/>
                      <a:pt x="132770" y="51502"/>
                      <a:pt x="135404" y="54008"/>
                    </a:cubicBezTo>
                    <a:cubicBezTo>
                      <a:pt x="138060" y="56513"/>
                      <a:pt x="138188" y="60689"/>
                      <a:pt x="135683" y="63344"/>
                    </a:cubicBezTo>
                    <a:lnTo>
                      <a:pt x="103732" y="97286"/>
                    </a:lnTo>
                    <a:cubicBezTo>
                      <a:pt x="97586" y="103389"/>
                      <a:pt x="87714" y="105531"/>
                      <a:pt x="80454" y="105531"/>
                    </a:cubicBezTo>
                    <a:close/>
                  </a:path>
                </a:pathLst>
              </a:custGeom>
              <a:grpFill/>
              <a:ln w="213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236" name="Freihandform: Form 515">
                <a:extLst>
                  <a:ext uri="{FF2B5EF4-FFF2-40B4-BE49-F238E27FC236}">
                    <a16:creationId xmlns:a16="http://schemas.microsoft.com/office/drawing/2014/main" id="{FF9CE93B-BCE6-975C-DF6C-AFE5FE7FC6B8}"/>
                  </a:ext>
                </a:extLst>
              </p:cNvPr>
              <p:cNvSpPr/>
              <p:nvPr/>
            </p:nvSpPr>
            <p:spPr>
              <a:xfrm>
                <a:off x="1908576" y="3488261"/>
                <a:ext cx="96066" cy="86854"/>
              </a:xfrm>
              <a:custGeom>
                <a:avLst/>
                <a:gdLst>
                  <a:gd name="connsiteX0" fmla="*/ 70175 w 96066"/>
                  <a:gd name="connsiteY0" fmla="*/ 86854 h 86854"/>
                  <a:gd name="connsiteX1" fmla="*/ 51866 w 96066"/>
                  <a:gd name="connsiteY1" fmla="*/ 79273 h 86854"/>
                  <a:gd name="connsiteX2" fmla="*/ 29167 w 96066"/>
                  <a:gd name="connsiteY2" fmla="*/ 51799 h 86854"/>
                  <a:gd name="connsiteX3" fmla="*/ 6596 w 96066"/>
                  <a:gd name="connsiteY3" fmla="*/ 51799 h 86854"/>
                  <a:gd name="connsiteX4" fmla="*/ 0 w 96066"/>
                  <a:gd name="connsiteY4" fmla="*/ 45203 h 86854"/>
                  <a:gd name="connsiteX5" fmla="*/ 6596 w 96066"/>
                  <a:gd name="connsiteY5" fmla="*/ 38607 h 86854"/>
                  <a:gd name="connsiteX6" fmla="*/ 35398 w 96066"/>
                  <a:gd name="connsiteY6" fmla="*/ 38607 h 86854"/>
                  <a:gd name="connsiteX7" fmla="*/ 61631 w 96066"/>
                  <a:gd name="connsiteY7" fmla="*/ 70408 h 86854"/>
                  <a:gd name="connsiteX8" fmla="*/ 79170 w 96066"/>
                  <a:gd name="connsiteY8" fmla="*/ 69937 h 86854"/>
                  <a:gd name="connsiteX9" fmla="*/ 79170 w 96066"/>
                  <a:gd name="connsiteY9" fmla="*/ 51970 h 86854"/>
                  <a:gd name="connsiteX10" fmla="*/ 43300 w 96066"/>
                  <a:gd name="connsiteY10" fmla="*/ 10940 h 86854"/>
                  <a:gd name="connsiteX11" fmla="*/ 43921 w 96066"/>
                  <a:gd name="connsiteY11" fmla="*/ 1624 h 86854"/>
                  <a:gd name="connsiteX12" fmla="*/ 53215 w 96066"/>
                  <a:gd name="connsiteY12" fmla="*/ 2245 h 86854"/>
                  <a:gd name="connsiteX13" fmla="*/ 88763 w 96066"/>
                  <a:gd name="connsiteY13" fmla="*/ 42954 h 86854"/>
                  <a:gd name="connsiteX14" fmla="*/ 88463 w 96066"/>
                  <a:gd name="connsiteY14" fmla="*/ 79252 h 86854"/>
                  <a:gd name="connsiteX15" fmla="*/ 70175 w 96066"/>
                  <a:gd name="connsiteY15" fmla="*/ 86854 h 868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96066" h="86854">
                    <a:moveTo>
                      <a:pt x="70175" y="86854"/>
                    </a:moveTo>
                    <a:cubicBezTo>
                      <a:pt x="63537" y="86854"/>
                      <a:pt x="56920" y="84327"/>
                      <a:pt x="51866" y="79273"/>
                    </a:cubicBezTo>
                    <a:lnTo>
                      <a:pt x="29167" y="51799"/>
                    </a:lnTo>
                    <a:lnTo>
                      <a:pt x="6596" y="51799"/>
                    </a:lnTo>
                    <a:cubicBezTo>
                      <a:pt x="2955" y="51799"/>
                      <a:pt x="0" y="48843"/>
                      <a:pt x="0" y="45203"/>
                    </a:cubicBezTo>
                    <a:cubicBezTo>
                      <a:pt x="0" y="41562"/>
                      <a:pt x="2955" y="38607"/>
                      <a:pt x="6596" y="38607"/>
                    </a:cubicBezTo>
                    <a:lnTo>
                      <a:pt x="35398" y="38607"/>
                    </a:lnTo>
                    <a:lnTo>
                      <a:pt x="61631" y="70408"/>
                    </a:lnTo>
                    <a:cubicBezTo>
                      <a:pt x="66150" y="74905"/>
                      <a:pt x="74223" y="74905"/>
                      <a:pt x="79170" y="69937"/>
                    </a:cubicBezTo>
                    <a:cubicBezTo>
                      <a:pt x="84116" y="64990"/>
                      <a:pt x="84116" y="56917"/>
                      <a:pt x="79170" y="51970"/>
                    </a:cubicBezTo>
                    <a:lnTo>
                      <a:pt x="43300" y="10940"/>
                    </a:lnTo>
                    <a:cubicBezTo>
                      <a:pt x="40902" y="8199"/>
                      <a:pt x="41180" y="4023"/>
                      <a:pt x="43921" y="1624"/>
                    </a:cubicBezTo>
                    <a:cubicBezTo>
                      <a:pt x="46662" y="-774"/>
                      <a:pt x="50838" y="-474"/>
                      <a:pt x="53215" y="2245"/>
                    </a:cubicBezTo>
                    <a:lnTo>
                      <a:pt x="88763" y="42954"/>
                    </a:lnTo>
                    <a:cubicBezTo>
                      <a:pt x="98550" y="52719"/>
                      <a:pt x="98550" y="69166"/>
                      <a:pt x="88463" y="79252"/>
                    </a:cubicBezTo>
                    <a:cubicBezTo>
                      <a:pt x="83431" y="84327"/>
                      <a:pt x="76793" y="86854"/>
                      <a:pt x="70175" y="86854"/>
                    </a:cubicBezTo>
                    <a:close/>
                  </a:path>
                </a:pathLst>
              </a:custGeom>
              <a:grpFill/>
              <a:ln w="213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237" name="Freihandform: Form 516">
                <a:extLst>
                  <a:ext uri="{FF2B5EF4-FFF2-40B4-BE49-F238E27FC236}">
                    <a16:creationId xmlns:a16="http://schemas.microsoft.com/office/drawing/2014/main" id="{986A3CF9-EAA7-ED3C-4902-9BE994419674}"/>
                  </a:ext>
                </a:extLst>
              </p:cNvPr>
              <p:cNvSpPr/>
              <p:nvPr/>
            </p:nvSpPr>
            <p:spPr>
              <a:xfrm>
                <a:off x="1895941" y="3486909"/>
                <a:ext cx="113389" cy="13191"/>
              </a:xfrm>
              <a:custGeom>
                <a:avLst/>
                <a:gdLst>
                  <a:gd name="connsiteX0" fmla="*/ 106794 w 113389"/>
                  <a:gd name="connsiteY0" fmla="*/ 13191 h 13191"/>
                  <a:gd name="connsiteX1" fmla="*/ 6596 w 113389"/>
                  <a:gd name="connsiteY1" fmla="*/ 13191 h 13191"/>
                  <a:gd name="connsiteX2" fmla="*/ 0 w 113389"/>
                  <a:gd name="connsiteY2" fmla="*/ 6596 h 13191"/>
                  <a:gd name="connsiteX3" fmla="*/ 6596 w 113389"/>
                  <a:gd name="connsiteY3" fmla="*/ 0 h 13191"/>
                  <a:gd name="connsiteX4" fmla="*/ 106794 w 113389"/>
                  <a:gd name="connsiteY4" fmla="*/ 0 h 13191"/>
                  <a:gd name="connsiteX5" fmla="*/ 113390 w 113389"/>
                  <a:gd name="connsiteY5" fmla="*/ 6596 h 13191"/>
                  <a:gd name="connsiteX6" fmla="*/ 106794 w 113389"/>
                  <a:gd name="connsiteY6" fmla="*/ 13191 h 131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13389" h="13191">
                    <a:moveTo>
                      <a:pt x="106794" y="13191"/>
                    </a:moveTo>
                    <a:lnTo>
                      <a:pt x="6596" y="13191"/>
                    </a:lnTo>
                    <a:cubicBezTo>
                      <a:pt x="2955" y="13191"/>
                      <a:pt x="0" y="10236"/>
                      <a:pt x="0" y="6596"/>
                    </a:cubicBezTo>
                    <a:cubicBezTo>
                      <a:pt x="0" y="2955"/>
                      <a:pt x="2955" y="0"/>
                      <a:pt x="6596" y="0"/>
                    </a:cubicBezTo>
                    <a:lnTo>
                      <a:pt x="106794" y="0"/>
                    </a:lnTo>
                    <a:cubicBezTo>
                      <a:pt x="110435" y="0"/>
                      <a:pt x="113390" y="2955"/>
                      <a:pt x="113390" y="6596"/>
                    </a:cubicBezTo>
                    <a:cubicBezTo>
                      <a:pt x="113390" y="10258"/>
                      <a:pt x="110435" y="13191"/>
                      <a:pt x="106794" y="13191"/>
                    </a:cubicBezTo>
                    <a:close/>
                  </a:path>
                </a:pathLst>
              </a:custGeom>
              <a:grpFill/>
              <a:ln w="213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grpSp>
            <p:nvGrpSpPr>
              <p:cNvPr id="238" name="Grafik 319">
                <a:extLst>
                  <a:ext uri="{FF2B5EF4-FFF2-40B4-BE49-F238E27FC236}">
                    <a16:creationId xmlns:a16="http://schemas.microsoft.com/office/drawing/2014/main" id="{41087117-EA8E-C9A6-EE79-50E9D45D8E34}"/>
                  </a:ext>
                </a:extLst>
              </p:cNvPr>
              <p:cNvGrpSpPr/>
              <p:nvPr/>
            </p:nvGrpSpPr>
            <p:grpSpPr>
              <a:xfrm>
                <a:off x="1750815" y="3545478"/>
                <a:ext cx="79148" cy="13191"/>
                <a:chOff x="1750815" y="3545478"/>
                <a:chExt cx="79148" cy="13191"/>
              </a:xfrm>
              <a:grpFill/>
            </p:grpSpPr>
            <p:sp>
              <p:nvSpPr>
                <p:cNvPr id="239" name="Freihandform: Form 518">
                  <a:extLst>
                    <a:ext uri="{FF2B5EF4-FFF2-40B4-BE49-F238E27FC236}">
                      <a16:creationId xmlns:a16="http://schemas.microsoft.com/office/drawing/2014/main" id="{26ABB75E-FBF5-1317-8730-0FF44E72901D}"/>
                    </a:ext>
                  </a:extLst>
                </p:cNvPr>
                <p:cNvSpPr/>
                <p:nvPr/>
              </p:nvSpPr>
              <p:spPr>
                <a:xfrm>
                  <a:off x="1783793" y="3545478"/>
                  <a:ext cx="46169" cy="13191"/>
                </a:xfrm>
                <a:custGeom>
                  <a:avLst/>
                  <a:gdLst>
                    <a:gd name="connsiteX0" fmla="*/ 39574 w 46169"/>
                    <a:gd name="connsiteY0" fmla="*/ 13191 h 13191"/>
                    <a:gd name="connsiteX1" fmla="*/ 6596 w 46169"/>
                    <a:gd name="connsiteY1" fmla="*/ 13191 h 13191"/>
                    <a:gd name="connsiteX2" fmla="*/ 0 w 46169"/>
                    <a:gd name="connsiteY2" fmla="*/ 6596 h 13191"/>
                    <a:gd name="connsiteX3" fmla="*/ 6596 w 46169"/>
                    <a:gd name="connsiteY3" fmla="*/ 0 h 13191"/>
                    <a:gd name="connsiteX4" fmla="*/ 39574 w 46169"/>
                    <a:gd name="connsiteY4" fmla="*/ 0 h 13191"/>
                    <a:gd name="connsiteX5" fmla="*/ 46170 w 46169"/>
                    <a:gd name="connsiteY5" fmla="*/ 6596 h 13191"/>
                    <a:gd name="connsiteX6" fmla="*/ 39574 w 46169"/>
                    <a:gd name="connsiteY6" fmla="*/ 13191 h 1319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46169" h="13191">
                      <a:moveTo>
                        <a:pt x="39574" y="13191"/>
                      </a:moveTo>
                      <a:lnTo>
                        <a:pt x="6596" y="13191"/>
                      </a:lnTo>
                      <a:cubicBezTo>
                        <a:pt x="2955" y="13191"/>
                        <a:pt x="0" y="10236"/>
                        <a:pt x="0" y="6596"/>
                      </a:cubicBezTo>
                      <a:cubicBezTo>
                        <a:pt x="0" y="2955"/>
                        <a:pt x="2955" y="0"/>
                        <a:pt x="6596" y="0"/>
                      </a:cubicBezTo>
                      <a:lnTo>
                        <a:pt x="39574" y="0"/>
                      </a:lnTo>
                      <a:cubicBezTo>
                        <a:pt x="43215" y="0"/>
                        <a:pt x="46170" y="2955"/>
                        <a:pt x="46170" y="6596"/>
                      </a:cubicBezTo>
                      <a:cubicBezTo>
                        <a:pt x="46170" y="10258"/>
                        <a:pt x="43215" y="13191"/>
                        <a:pt x="39574" y="13191"/>
                      </a:cubicBezTo>
                      <a:close/>
                    </a:path>
                  </a:pathLst>
                </a:custGeom>
                <a:grpFill/>
                <a:ln w="213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GB" dirty="0"/>
                </a:p>
              </p:txBody>
            </p:sp>
            <p:sp>
              <p:nvSpPr>
                <p:cNvPr id="240" name="Freihandform: Form 519">
                  <a:extLst>
                    <a:ext uri="{FF2B5EF4-FFF2-40B4-BE49-F238E27FC236}">
                      <a16:creationId xmlns:a16="http://schemas.microsoft.com/office/drawing/2014/main" id="{A31C2649-45F0-B9E0-57A9-B833353C4C3D}"/>
                    </a:ext>
                  </a:extLst>
                </p:cNvPr>
                <p:cNvSpPr/>
                <p:nvPr/>
              </p:nvSpPr>
              <p:spPr>
                <a:xfrm>
                  <a:off x="1750815" y="3545478"/>
                  <a:ext cx="19787" cy="13191"/>
                </a:xfrm>
                <a:custGeom>
                  <a:avLst/>
                  <a:gdLst>
                    <a:gd name="connsiteX0" fmla="*/ 13191 w 19787"/>
                    <a:gd name="connsiteY0" fmla="*/ 13191 h 13191"/>
                    <a:gd name="connsiteX1" fmla="*/ 6596 w 19787"/>
                    <a:gd name="connsiteY1" fmla="*/ 13191 h 13191"/>
                    <a:gd name="connsiteX2" fmla="*/ 0 w 19787"/>
                    <a:gd name="connsiteY2" fmla="*/ 6596 h 13191"/>
                    <a:gd name="connsiteX3" fmla="*/ 6596 w 19787"/>
                    <a:gd name="connsiteY3" fmla="*/ 0 h 13191"/>
                    <a:gd name="connsiteX4" fmla="*/ 13191 w 19787"/>
                    <a:gd name="connsiteY4" fmla="*/ 0 h 13191"/>
                    <a:gd name="connsiteX5" fmla="*/ 19787 w 19787"/>
                    <a:gd name="connsiteY5" fmla="*/ 6596 h 13191"/>
                    <a:gd name="connsiteX6" fmla="*/ 13191 w 19787"/>
                    <a:gd name="connsiteY6" fmla="*/ 13191 h 1319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9787" h="13191">
                      <a:moveTo>
                        <a:pt x="13191" y="13191"/>
                      </a:moveTo>
                      <a:lnTo>
                        <a:pt x="6596" y="13191"/>
                      </a:lnTo>
                      <a:cubicBezTo>
                        <a:pt x="2955" y="13191"/>
                        <a:pt x="0" y="10236"/>
                        <a:pt x="0" y="6596"/>
                      </a:cubicBezTo>
                      <a:cubicBezTo>
                        <a:pt x="0" y="2955"/>
                        <a:pt x="2955" y="0"/>
                        <a:pt x="6596" y="0"/>
                      </a:cubicBezTo>
                      <a:lnTo>
                        <a:pt x="13191" y="0"/>
                      </a:lnTo>
                      <a:cubicBezTo>
                        <a:pt x="16832" y="0"/>
                        <a:pt x="19787" y="2955"/>
                        <a:pt x="19787" y="6596"/>
                      </a:cubicBezTo>
                      <a:cubicBezTo>
                        <a:pt x="19787" y="10258"/>
                        <a:pt x="16832" y="13191"/>
                        <a:pt x="13191" y="13191"/>
                      </a:cubicBezTo>
                      <a:close/>
                    </a:path>
                  </a:pathLst>
                </a:custGeom>
                <a:grpFill/>
                <a:ln w="213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GB" dirty="0"/>
                </a:p>
              </p:txBody>
            </p:sp>
          </p:grpSp>
        </p:grpSp>
        <p:grpSp>
          <p:nvGrpSpPr>
            <p:cNvPr id="223" name="Gruppieren 1319">
              <a:extLst>
                <a:ext uri="{FF2B5EF4-FFF2-40B4-BE49-F238E27FC236}">
                  <a16:creationId xmlns:a16="http://schemas.microsoft.com/office/drawing/2014/main" id="{2A82E2BA-D390-6330-0902-A75A9A196CFB}"/>
                </a:ext>
              </a:extLst>
            </p:cNvPr>
            <p:cNvGrpSpPr/>
            <p:nvPr/>
          </p:nvGrpSpPr>
          <p:grpSpPr>
            <a:xfrm>
              <a:off x="7545237" y="4568817"/>
              <a:ext cx="285767" cy="136760"/>
              <a:chOff x="1832769" y="3527715"/>
              <a:chExt cx="313787" cy="150169"/>
            </a:xfrm>
            <a:solidFill>
              <a:srgbClr val="004DBF"/>
            </a:solidFill>
          </p:grpSpPr>
          <p:sp>
            <p:nvSpPr>
              <p:cNvPr id="224" name="Freihandform: Form 511">
                <a:extLst>
                  <a:ext uri="{FF2B5EF4-FFF2-40B4-BE49-F238E27FC236}">
                    <a16:creationId xmlns:a16="http://schemas.microsoft.com/office/drawing/2014/main" id="{07D16107-987B-21EA-956A-0169C871F517}"/>
                  </a:ext>
                </a:extLst>
              </p:cNvPr>
              <p:cNvSpPr/>
              <p:nvPr/>
            </p:nvSpPr>
            <p:spPr>
              <a:xfrm>
                <a:off x="1959757" y="3598672"/>
                <a:ext cx="147224" cy="79212"/>
              </a:xfrm>
              <a:custGeom>
                <a:avLst/>
                <a:gdLst>
                  <a:gd name="connsiteX0" fmla="*/ 25676 w 147224"/>
                  <a:gd name="connsiteY0" fmla="*/ 79212 h 79212"/>
                  <a:gd name="connsiteX1" fmla="*/ 7581 w 147224"/>
                  <a:gd name="connsiteY1" fmla="*/ 71674 h 79212"/>
                  <a:gd name="connsiteX2" fmla="*/ 0 w 147224"/>
                  <a:gd name="connsiteY2" fmla="*/ 53344 h 79212"/>
                  <a:gd name="connsiteX3" fmla="*/ 7624 w 147224"/>
                  <a:gd name="connsiteY3" fmla="*/ 35034 h 79212"/>
                  <a:gd name="connsiteX4" fmla="*/ 16382 w 147224"/>
                  <a:gd name="connsiteY4" fmla="*/ 26554 h 79212"/>
                  <a:gd name="connsiteX5" fmla="*/ 25719 w 147224"/>
                  <a:gd name="connsiteY5" fmla="*/ 26725 h 79212"/>
                  <a:gd name="connsiteX6" fmla="*/ 25548 w 147224"/>
                  <a:gd name="connsiteY6" fmla="*/ 36062 h 79212"/>
                  <a:gd name="connsiteX7" fmla="*/ 16853 w 147224"/>
                  <a:gd name="connsiteY7" fmla="*/ 44457 h 79212"/>
                  <a:gd name="connsiteX8" fmla="*/ 13191 w 147224"/>
                  <a:gd name="connsiteY8" fmla="*/ 53365 h 79212"/>
                  <a:gd name="connsiteX9" fmla="*/ 16896 w 147224"/>
                  <a:gd name="connsiteY9" fmla="*/ 62338 h 79212"/>
                  <a:gd name="connsiteX10" fmla="*/ 25997 w 147224"/>
                  <a:gd name="connsiteY10" fmla="*/ 66021 h 79212"/>
                  <a:gd name="connsiteX11" fmla="*/ 34049 w 147224"/>
                  <a:gd name="connsiteY11" fmla="*/ 62338 h 79212"/>
                  <a:gd name="connsiteX12" fmla="*/ 88763 w 147224"/>
                  <a:gd name="connsiteY12" fmla="*/ 2163 h 79212"/>
                  <a:gd name="connsiteX13" fmla="*/ 93817 w 147224"/>
                  <a:gd name="connsiteY13" fmla="*/ 0 h 79212"/>
                  <a:gd name="connsiteX14" fmla="*/ 121014 w 147224"/>
                  <a:gd name="connsiteY14" fmla="*/ 685 h 79212"/>
                  <a:gd name="connsiteX15" fmla="*/ 140629 w 147224"/>
                  <a:gd name="connsiteY15" fmla="*/ 685 h 79212"/>
                  <a:gd name="connsiteX16" fmla="*/ 147225 w 147224"/>
                  <a:gd name="connsiteY16" fmla="*/ 7281 h 79212"/>
                  <a:gd name="connsiteX17" fmla="*/ 140629 w 147224"/>
                  <a:gd name="connsiteY17" fmla="*/ 13877 h 79212"/>
                  <a:gd name="connsiteX18" fmla="*/ 120842 w 147224"/>
                  <a:gd name="connsiteY18" fmla="*/ 13877 h 79212"/>
                  <a:gd name="connsiteX19" fmla="*/ 96494 w 147224"/>
                  <a:gd name="connsiteY19" fmla="*/ 13256 h 79212"/>
                  <a:gd name="connsiteX20" fmla="*/ 43835 w 147224"/>
                  <a:gd name="connsiteY20" fmla="*/ 71160 h 79212"/>
                  <a:gd name="connsiteX21" fmla="*/ 26361 w 147224"/>
                  <a:gd name="connsiteY21" fmla="*/ 79191 h 79212"/>
                  <a:gd name="connsiteX22" fmla="*/ 25676 w 147224"/>
                  <a:gd name="connsiteY22" fmla="*/ 79212 h 792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147224" h="79212">
                    <a:moveTo>
                      <a:pt x="25676" y="79212"/>
                    </a:moveTo>
                    <a:cubicBezTo>
                      <a:pt x="18952" y="79212"/>
                      <a:pt x="12399" y="76493"/>
                      <a:pt x="7581" y="71674"/>
                    </a:cubicBezTo>
                    <a:cubicBezTo>
                      <a:pt x="2677" y="66770"/>
                      <a:pt x="0" y="60260"/>
                      <a:pt x="0" y="53344"/>
                    </a:cubicBezTo>
                    <a:cubicBezTo>
                      <a:pt x="0" y="46427"/>
                      <a:pt x="2720" y="39917"/>
                      <a:pt x="7624" y="35034"/>
                    </a:cubicBezTo>
                    <a:lnTo>
                      <a:pt x="16382" y="26554"/>
                    </a:lnTo>
                    <a:cubicBezTo>
                      <a:pt x="19016" y="24048"/>
                      <a:pt x="23171" y="24113"/>
                      <a:pt x="25719" y="26725"/>
                    </a:cubicBezTo>
                    <a:cubicBezTo>
                      <a:pt x="28246" y="29338"/>
                      <a:pt x="28181" y="33514"/>
                      <a:pt x="25548" y="36062"/>
                    </a:cubicBezTo>
                    <a:lnTo>
                      <a:pt x="16853" y="44457"/>
                    </a:lnTo>
                    <a:cubicBezTo>
                      <a:pt x="14519" y="46769"/>
                      <a:pt x="13191" y="49960"/>
                      <a:pt x="13191" y="53365"/>
                    </a:cubicBezTo>
                    <a:cubicBezTo>
                      <a:pt x="13191" y="56749"/>
                      <a:pt x="14498" y="59939"/>
                      <a:pt x="16896" y="62338"/>
                    </a:cubicBezTo>
                    <a:cubicBezTo>
                      <a:pt x="19316" y="64758"/>
                      <a:pt x="22721" y="65978"/>
                      <a:pt x="25997" y="66021"/>
                    </a:cubicBezTo>
                    <a:cubicBezTo>
                      <a:pt x="29145" y="65935"/>
                      <a:pt x="31993" y="64629"/>
                      <a:pt x="34049" y="62338"/>
                    </a:cubicBezTo>
                    <a:lnTo>
                      <a:pt x="88763" y="2163"/>
                    </a:lnTo>
                    <a:cubicBezTo>
                      <a:pt x="90048" y="749"/>
                      <a:pt x="91911" y="64"/>
                      <a:pt x="93817" y="0"/>
                    </a:cubicBezTo>
                    <a:lnTo>
                      <a:pt x="121014" y="685"/>
                    </a:lnTo>
                    <a:lnTo>
                      <a:pt x="140629" y="685"/>
                    </a:lnTo>
                    <a:cubicBezTo>
                      <a:pt x="144270" y="685"/>
                      <a:pt x="147225" y="3640"/>
                      <a:pt x="147225" y="7281"/>
                    </a:cubicBezTo>
                    <a:cubicBezTo>
                      <a:pt x="147225" y="10921"/>
                      <a:pt x="144270" y="13877"/>
                      <a:pt x="140629" y="13877"/>
                    </a:cubicBezTo>
                    <a:lnTo>
                      <a:pt x="120842" y="13877"/>
                    </a:lnTo>
                    <a:lnTo>
                      <a:pt x="96494" y="13256"/>
                    </a:lnTo>
                    <a:lnTo>
                      <a:pt x="43835" y="71160"/>
                    </a:lnTo>
                    <a:cubicBezTo>
                      <a:pt x="39360" y="76150"/>
                      <a:pt x="33150" y="78998"/>
                      <a:pt x="26361" y="79191"/>
                    </a:cubicBezTo>
                    <a:cubicBezTo>
                      <a:pt x="26126" y="79191"/>
                      <a:pt x="25890" y="79212"/>
                      <a:pt x="25676" y="79212"/>
                    </a:cubicBezTo>
                    <a:close/>
                  </a:path>
                </a:pathLst>
              </a:custGeom>
              <a:grpFill/>
              <a:ln w="213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225" name="Freihandform: Form 512">
                <a:extLst>
                  <a:ext uri="{FF2B5EF4-FFF2-40B4-BE49-F238E27FC236}">
                    <a16:creationId xmlns:a16="http://schemas.microsoft.com/office/drawing/2014/main" id="{93983D2C-8866-67B5-20A3-9D76AF4F55F4}"/>
                  </a:ext>
                </a:extLst>
              </p:cNvPr>
              <p:cNvSpPr/>
              <p:nvPr/>
            </p:nvSpPr>
            <p:spPr>
              <a:xfrm>
                <a:off x="1832769" y="3527715"/>
                <a:ext cx="100027" cy="115113"/>
              </a:xfrm>
              <a:custGeom>
                <a:avLst/>
                <a:gdLst>
                  <a:gd name="connsiteX0" fmla="*/ 25869 w 100027"/>
                  <a:gd name="connsiteY0" fmla="*/ 115114 h 115113"/>
                  <a:gd name="connsiteX1" fmla="*/ 7581 w 100027"/>
                  <a:gd name="connsiteY1" fmla="*/ 107533 h 115113"/>
                  <a:gd name="connsiteX2" fmla="*/ 0 w 100027"/>
                  <a:gd name="connsiteY2" fmla="*/ 89224 h 115113"/>
                  <a:gd name="connsiteX3" fmla="*/ 7624 w 100027"/>
                  <a:gd name="connsiteY3" fmla="*/ 70914 h 115113"/>
                  <a:gd name="connsiteX4" fmla="*/ 76921 w 100027"/>
                  <a:gd name="connsiteY4" fmla="*/ 1917 h 115113"/>
                  <a:gd name="connsiteX5" fmla="*/ 86258 w 100027"/>
                  <a:gd name="connsiteY5" fmla="*/ 1938 h 115113"/>
                  <a:gd name="connsiteX6" fmla="*/ 86236 w 100027"/>
                  <a:gd name="connsiteY6" fmla="*/ 11275 h 115113"/>
                  <a:gd name="connsiteX7" fmla="*/ 16939 w 100027"/>
                  <a:gd name="connsiteY7" fmla="*/ 80272 h 115113"/>
                  <a:gd name="connsiteX8" fmla="*/ 13213 w 100027"/>
                  <a:gd name="connsiteY8" fmla="*/ 89245 h 115113"/>
                  <a:gd name="connsiteX9" fmla="*/ 16918 w 100027"/>
                  <a:gd name="connsiteY9" fmla="*/ 98218 h 115113"/>
                  <a:gd name="connsiteX10" fmla="*/ 34841 w 100027"/>
                  <a:gd name="connsiteY10" fmla="*/ 98218 h 115113"/>
                  <a:gd name="connsiteX11" fmla="*/ 88763 w 100027"/>
                  <a:gd name="connsiteY11" fmla="*/ 44296 h 115113"/>
                  <a:gd name="connsiteX12" fmla="*/ 98100 w 100027"/>
                  <a:gd name="connsiteY12" fmla="*/ 44296 h 115113"/>
                  <a:gd name="connsiteX13" fmla="*/ 98100 w 100027"/>
                  <a:gd name="connsiteY13" fmla="*/ 53633 h 115113"/>
                  <a:gd name="connsiteX14" fmla="*/ 44178 w 100027"/>
                  <a:gd name="connsiteY14" fmla="*/ 107554 h 115113"/>
                  <a:gd name="connsiteX15" fmla="*/ 25869 w 100027"/>
                  <a:gd name="connsiteY15" fmla="*/ 115114 h 1151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100027" h="115113">
                    <a:moveTo>
                      <a:pt x="25869" y="115114"/>
                    </a:moveTo>
                    <a:cubicBezTo>
                      <a:pt x="18952" y="115114"/>
                      <a:pt x="12463" y="112416"/>
                      <a:pt x="7581" y="107533"/>
                    </a:cubicBezTo>
                    <a:cubicBezTo>
                      <a:pt x="2698" y="102651"/>
                      <a:pt x="0" y="96141"/>
                      <a:pt x="0" y="89224"/>
                    </a:cubicBezTo>
                    <a:cubicBezTo>
                      <a:pt x="0" y="82307"/>
                      <a:pt x="2720" y="75797"/>
                      <a:pt x="7624" y="70914"/>
                    </a:cubicBezTo>
                    <a:lnTo>
                      <a:pt x="76921" y="1917"/>
                    </a:lnTo>
                    <a:cubicBezTo>
                      <a:pt x="79512" y="-653"/>
                      <a:pt x="83688" y="-632"/>
                      <a:pt x="86258" y="1938"/>
                    </a:cubicBezTo>
                    <a:cubicBezTo>
                      <a:pt x="88828" y="4529"/>
                      <a:pt x="88828" y="8705"/>
                      <a:pt x="86236" y="11275"/>
                    </a:cubicBezTo>
                    <a:lnTo>
                      <a:pt x="16939" y="80272"/>
                    </a:lnTo>
                    <a:cubicBezTo>
                      <a:pt x="14540" y="82671"/>
                      <a:pt x="13213" y="85840"/>
                      <a:pt x="13213" y="89245"/>
                    </a:cubicBezTo>
                    <a:cubicBezTo>
                      <a:pt x="13213" y="92629"/>
                      <a:pt x="14519" y="95819"/>
                      <a:pt x="16918" y="98218"/>
                    </a:cubicBezTo>
                    <a:cubicBezTo>
                      <a:pt x="21714" y="103015"/>
                      <a:pt x="30066" y="103015"/>
                      <a:pt x="34841" y="98218"/>
                    </a:cubicBezTo>
                    <a:lnTo>
                      <a:pt x="88763" y="44296"/>
                    </a:lnTo>
                    <a:cubicBezTo>
                      <a:pt x="91333" y="41726"/>
                      <a:pt x="95509" y="41726"/>
                      <a:pt x="98100" y="44296"/>
                    </a:cubicBezTo>
                    <a:cubicBezTo>
                      <a:pt x="100670" y="46866"/>
                      <a:pt x="100670" y="51042"/>
                      <a:pt x="98100" y="53633"/>
                    </a:cubicBezTo>
                    <a:lnTo>
                      <a:pt x="44178" y="107554"/>
                    </a:lnTo>
                    <a:cubicBezTo>
                      <a:pt x="39274" y="112416"/>
                      <a:pt x="32786" y="115114"/>
                      <a:pt x="25869" y="115114"/>
                    </a:cubicBezTo>
                    <a:close/>
                  </a:path>
                </a:pathLst>
              </a:custGeom>
              <a:grpFill/>
              <a:ln w="213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226" name="Freihandform: Form 513">
                <a:extLst>
                  <a:ext uri="{FF2B5EF4-FFF2-40B4-BE49-F238E27FC236}">
                    <a16:creationId xmlns:a16="http://schemas.microsoft.com/office/drawing/2014/main" id="{D43D3EE9-1FAE-B082-E377-816DC9C1EEE3}"/>
                  </a:ext>
                </a:extLst>
              </p:cNvPr>
              <p:cNvSpPr/>
              <p:nvPr/>
            </p:nvSpPr>
            <p:spPr>
              <a:xfrm>
                <a:off x="1881487" y="3568445"/>
                <a:ext cx="79083" cy="81000"/>
              </a:xfrm>
              <a:custGeom>
                <a:avLst/>
                <a:gdLst>
                  <a:gd name="connsiteX0" fmla="*/ 25826 w 79083"/>
                  <a:gd name="connsiteY0" fmla="*/ 81000 h 81000"/>
                  <a:gd name="connsiteX1" fmla="*/ 7581 w 79083"/>
                  <a:gd name="connsiteY1" fmla="*/ 72413 h 81000"/>
                  <a:gd name="connsiteX2" fmla="*/ 0 w 79083"/>
                  <a:gd name="connsiteY2" fmla="*/ 54082 h 81000"/>
                  <a:gd name="connsiteX3" fmla="*/ 7624 w 79083"/>
                  <a:gd name="connsiteY3" fmla="*/ 35773 h 81000"/>
                  <a:gd name="connsiteX4" fmla="*/ 41651 w 79083"/>
                  <a:gd name="connsiteY4" fmla="*/ 1917 h 81000"/>
                  <a:gd name="connsiteX5" fmla="*/ 50988 w 79083"/>
                  <a:gd name="connsiteY5" fmla="*/ 1938 h 81000"/>
                  <a:gd name="connsiteX6" fmla="*/ 50967 w 79083"/>
                  <a:gd name="connsiteY6" fmla="*/ 11275 h 81000"/>
                  <a:gd name="connsiteX7" fmla="*/ 16939 w 79083"/>
                  <a:gd name="connsiteY7" fmla="*/ 45110 h 81000"/>
                  <a:gd name="connsiteX8" fmla="*/ 13213 w 79083"/>
                  <a:gd name="connsiteY8" fmla="*/ 54082 h 81000"/>
                  <a:gd name="connsiteX9" fmla="*/ 16917 w 79083"/>
                  <a:gd name="connsiteY9" fmla="*/ 63077 h 81000"/>
                  <a:gd name="connsiteX10" fmla="*/ 26019 w 79083"/>
                  <a:gd name="connsiteY10" fmla="*/ 67788 h 81000"/>
                  <a:gd name="connsiteX11" fmla="*/ 34070 w 79083"/>
                  <a:gd name="connsiteY11" fmla="*/ 63055 h 81000"/>
                  <a:gd name="connsiteX12" fmla="*/ 67820 w 79083"/>
                  <a:gd name="connsiteY12" fmla="*/ 29306 h 81000"/>
                  <a:gd name="connsiteX13" fmla="*/ 77156 w 79083"/>
                  <a:gd name="connsiteY13" fmla="*/ 29306 h 81000"/>
                  <a:gd name="connsiteX14" fmla="*/ 77156 w 79083"/>
                  <a:gd name="connsiteY14" fmla="*/ 38643 h 81000"/>
                  <a:gd name="connsiteX15" fmla="*/ 43643 w 79083"/>
                  <a:gd name="connsiteY15" fmla="*/ 72135 h 81000"/>
                  <a:gd name="connsiteX16" fmla="*/ 26383 w 79083"/>
                  <a:gd name="connsiteY16" fmla="*/ 80979 h 81000"/>
                  <a:gd name="connsiteX17" fmla="*/ 25826 w 79083"/>
                  <a:gd name="connsiteY17" fmla="*/ 81000 h 81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79083" h="81000">
                    <a:moveTo>
                      <a:pt x="25826" y="81000"/>
                    </a:moveTo>
                    <a:cubicBezTo>
                      <a:pt x="19509" y="81000"/>
                      <a:pt x="13213" y="78045"/>
                      <a:pt x="7581" y="72413"/>
                    </a:cubicBezTo>
                    <a:cubicBezTo>
                      <a:pt x="2677" y="67509"/>
                      <a:pt x="0" y="60999"/>
                      <a:pt x="0" y="54082"/>
                    </a:cubicBezTo>
                    <a:cubicBezTo>
                      <a:pt x="0" y="47166"/>
                      <a:pt x="2720" y="40677"/>
                      <a:pt x="7624" y="35773"/>
                    </a:cubicBezTo>
                    <a:lnTo>
                      <a:pt x="41651" y="1917"/>
                    </a:lnTo>
                    <a:cubicBezTo>
                      <a:pt x="44221" y="-653"/>
                      <a:pt x="48418" y="-632"/>
                      <a:pt x="50988" y="1938"/>
                    </a:cubicBezTo>
                    <a:cubicBezTo>
                      <a:pt x="53558" y="4529"/>
                      <a:pt x="53536" y="8705"/>
                      <a:pt x="50967" y="11275"/>
                    </a:cubicBezTo>
                    <a:lnTo>
                      <a:pt x="16939" y="45110"/>
                    </a:lnTo>
                    <a:cubicBezTo>
                      <a:pt x="14540" y="47508"/>
                      <a:pt x="13213" y="50678"/>
                      <a:pt x="13213" y="54082"/>
                    </a:cubicBezTo>
                    <a:cubicBezTo>
                      <a:pt x="13213" y="57466"/>
                      <a:pt x="14519" y="60657"/>
                      <a:pt x="16917" y="63077"/>
                    </a:cubicBezTo>
                    <a:cubicBezTo>
                      <a:pt x="19123" y="65282"/>
                      <a:pt x="22464" y="67873"/>
                      <a:pt x="26019" y="67788"/>
                    </a:cubicBezTo>
                    <a:cubicBezTo>
                      <a:pt x="28610" y="67724"/>
                      <a:pt x="31329" y="66117"/>
                      <a:pt x="34070" y="63055"/>
                    </a:cubicBezTo>
                    <a:lnTo>
                      <a:pt x="67820" y="29306"/>
                    </a:lnTo>
                    <a:cubicBezTo>
                      <a:pt x="70390" y="26736"/>
                      <a:pt x="74565" y="26736"/>
                      <a:pt x="77156" y="29306"/>
                    </a:cubicBezTo>
                    <a:cubicBezTo>
                      <a:pt x="79726" y="31876"/>
                      <a:pt x="79726" y="36051"/>
                      <a:pt x="77156" y="38643"/>
                    </a:cubicBezTo>
                    <a:lnTo>
                      <a:pt x="43643" y="72135"/>
                    </a:lnTo>
                    <a:cubicBezTo>
                      <a:pt x="38632" y="77746"/>
                      <a:pt x="32721" y="80808"/>
                      <a:pt x="26383" y="80979"/>
                    </a:cubicBezTo>
                    <a:cubicBezTo>
                      <a:pt x="26190" y="81000"/>
                      <a:pt x="25997" y="81000"/>
                      <a:pt x="25826" y="81000"/>
                    </a:cubicBezTo>
                    <a:close/>
                  </a:path>
                </a:pathLst>
              </a:custGeom>
              <a:grpFill/>
              <a:ln w="213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227" name="Freihandform: Form 514">
                <a:extLst>
                  <a:ext uri="{FF2B5EF4-FFF2-40B4-BE49-F238E27FC236}">
                    <a16:creationId xmlns:a16="http://schemas.microsoft.com/office/drawing/2014/main" id="{65CBEF74-B0D0-21F7-9E91-8356DDF0E3C5}"/>
                  </a:ext>
                </a:extLst>
              </p:cNvPr>
              <p:cNvSpPr/>
              <p:nvPr/>
            </p:nvSpPr>
            <p:spPr>
              <a:xfrm>
                <a:off x="1919005" y="3595920"/>
                <a:ext cx="67948" cy="68558"/>
              </a:xfrm>
              <a:custGeom>
                <a:avLst/>
                <a:gdLst>
                  <a:gd name="connsiteX0" fmla="*/ 25697 w 67948"/>
                  <a:gd name="connsiteY0" fmla="*/ 68559 h 68558"/>
                  <a:gd name="connsiteX1" fmla="*/ 7581 w 67948"/>
                  <a:gd name="connsiteY1" fmla="*/ 60999 h 68558"/>
                  <a:gd name="connsiteX2" fmla="*/ 0 w 67948"/>
                  <a:gd name="connsiteY2" fmla="*/ 42690 h 68558"/>
                  <a:gd name="connsiteX3" fmla="*/ 7624 w 67948"/>
                  <a:gd name="connsiteY3" fmla="*/ 24381 h 68558"/>
                  <a:gd name="connsiteX4" fmla="*/ 30409 w 67948"/>
                  <a:gd name="connsiteY4" fmla="*/ 1895 h 68558"/>
                  <a:gd name="connsiteX5" fmla="*/ 39745 w 67948"/>
                  <a:gd name="connsiteY5" fmla="*/ 1960 h 68558"/>
                  <a:gd name="connsiteX6" fmla="*/ 39681 w 67948"/>
                  <a:gd name="connsiteY6" fmla="*/ 11296 h 68558"/>
                  <a:gd name="connsiteX7" fmla="*/ 16918 w 67948"/>
                  <a:gd name="connsiteY7" fmla="*/ 33760 h 68558"/>
                  <a:gd name="connsiteX8" fmla="*/ 13213 w 67948"/>
                  <a:gd name="connsiteY8" fmla="*/ 42711 h 68558"/>
                  <a:gd name="connsiteX9" fmla="*/ 16918 w 67948"/>
                  <a:gd name="connsiteY9" fmla="*/ 51684 h 68558"/>
                  <a:gd name="connsiteX10" fmla="*/ 26019 w 67948"/>
                  <a:gd name="connsiteY10" fmla="*/ 55367 h 68558"/>
                  <a:gd name="connsiteX11" fmla="*/ 34071 w 67948"/>
                  <a:gd name="connsiteY11" fmla="*/ 51684 h 68558"/>
                  <a:gd name="connsiteX12" fmla="*/ 56684 w 67948"/>
                  <a:gd name="connsiteY12" fmla="*/ 29049 h 68558"/>
                  <a:gd name="connsiteX13" fmla="*/ 66021 w 67948"/>
                  <a:gd name="connsiteY13" fmla="*/ 29049 h 68558"/>
                  <a:gd name="connsiteX14" fmla="*/ 66021 w 67948"/>
                  <a:gd name="connsiteY14" fmla="*/ 38386 h 68558"/>
                  <a:gd name="connsiteX15" fmla="*/ 43643 w 67948"/>
                  <a:gd name="connsiteY15" fmla="*/ 60764 h 68558"/>
                  <a:gd name="connsiteX16" fmla="*/ 26361 w 67948"/>
                  <a:gd name="connsiteY16" fmla="*/ 68559 h 68558"/>
                  <a:gd name="connsiteX17" fmla="*/ 25697 w 67948"/>
                  <a:gd name="connsiteY17" fmla="*/ 68559 h 685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67948" h="68558">
                    <a:moveTo>
                      <a:pt x="25697" y="68559"/>
                    </a:moveTo>
                    <a:cubicBezTo>
                      <a:pt x="18973" y="68559"/>
                      <a:pt x="12399" y="65818"/>
                      <a:pt x="7581" y="60999"/>
                    </a:cubicBezTo>
                    <a:cubicBezTo>
                      <a:pt x="2698" y="56117"/>
                      <a:pt x="0" y="49607"/>
                      <a:pt x="0" y="42690"/>
                    </a:cubicBezTo>
                    <a:cubicBezTo>
                      <a:pt x="0" y="35773"/>
                      <a:pt x="2720" y="29263"/>
                      <a:pt x="7624" y="24381"/>
                    </a:cubicBezTo>
                    <a:lnTo>
                      <a:pt x="30409" y="1895"/>
                    </a:lnTo>
                    <a:cubicBezTo>
                      <a:pt x="33000" y="-653"/>
                      <a:pt x="37176" y="-632"/>
                      <a:pt x="39745" y="1960"/>
                    </a:cubicBezTo>
                    <a:cubicBezTo>
                      <a:pt x="42315" y="4551"/>
                      <a:pt x="42272" y="8727"/>
                      <a:pt x="39681" y="11296"/>
                    </a:cubicBezTo>
                    <a:lnTo>
                      <a:pt x="16918" y="33760"/>
                    </a:lnTo>
                    <a:cubicBezTo>
                      <a:pt x="14541" y="36137"/>
                      <a:pt x="13213" y="39328"/>
                      <a:pt x="13213" y="42711"/>
                    </a:cubicBezTo>
                    <a:cubicBezTo>
                      <a:pt x="13213" y="46095"/>
                      <a:pt x="14519" y="49286"/>
                      <a:pt x="16918" y="51684"/>
                    </a:cubicBezTo>
                    <a:cubicBezTo>
                      <a:pt x="19337" y="54104"/>
                      <a:pt x="22657" y="55389"/>
                      <a:pt x="26019" y="55367"/>
                    </a:cubicBezTo>
                    <a:cubicBezTo>
                      <a:pt x="29167" y="55282"/>
                      <a:pt x="32015" y="53975"/>
                      <a:pt x="34071" y="51684"/>
                    </a:cubicBezTo>
                    <a:lnTo>
                      <a:pt x="56684" y="29049"/>
                    </a:lnTo>
                    <a:cubicBezTo>
                      <a:pt x="59254" y="26479"/>
                      <a:pt x="63430" y="26479"/>
                      <a:pt x="66021" y="29049"/>
                    </a:cubicBezTo>
                    <a:cubicBezTo>
                      <a:pt x="68591" y="31619"/>
                      <a:pt x="68591" y="35795"/>
                      <a:pt x="66021" y="38386"/>
                    </a:cubicBezTo>
                    <a:lnTo>
                      <a:pt x="43643" y="60764"/>
                    </a:lnTo>
                    <a:cubicBezTo>
                      <a:pt x="39403" y="65518"/>
                      <a:pt x="33171" y="68387"/>
                      <a:pt x="26361" y="68559"/>
                    </a:cubicBezTo>
                    <a:cubicBezTo>
                      <a:pt x="26147" y="68559"/>
                      <a:pt x="25912" y="68559"/>
                      <a:pt x="25697" y="68559"/>
                    </a:cubicBezTo>
                    <a:close/>
                  </a:path>
                </a:pathLst>
              </a:custGeom>
              <a:grpFill/>
              <a:ln w="213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grpSp>
            <p:nvGrpSpPr>
              <p:cNvPr id="228" name="Grafik 319">
                <a:extLst>
                  <a:ext uri="{FF2B5EF4-FFF2-40B4-BE49-F238E27FC236}">
                    <a16:creationId xmlns:a16="http://schemas.microsoft.com/office/drawing/2014/main" id="{7922FE21-3508-9AEA-4574-773051F1C209}"/>
                  </a:ext>
                </a:extLst>
              </p:cNvPr>
              <p:cNvGrpSpPr/>
              <p:nvPr/>
            </p:nvGrpSpPr>
            <p:grpSpPr>
              <a:xfrm>
                <a:off x="2067408" y="3545478"/>
                <a:ext cx="79148" cy="13191"/>
                <a:chOff x="2067408" y="3545478"/>
                <a:chExt cx="79148" cy="13191"/>
              </a:xfrm>
              <a:grpFill/>
            </p:grpSpPr>
            <p:sp>
              <p:nvSpPr>
                <p:cNvPr id="229" name="Freihandform: Form 521">
                  <a:extLst>
                    <a:ext uri="{FF2B5EF4-FFF2-40B4-BE49-F238E27FC236}">
                      <a16:creationId xmlns:a16="http://schemas.microsoft.com/office/drawing/2014/main" id="{E6C620AB-5A3D-619B-29F6-7B612737CED2}"/>
                    </a:ext>
                  </a:extLst>
                </p:cNvPr>
                <p:cNvSpPr/>
                <p:nvPr/>
              </p:nvSpPr>
              <p:spPr>
                <a:xfrm>
                  <a:off x="2067408" y="3545478"/>
                  <a:ext cx="46169" cy="13191"/>
                </a:xfrm>
                <a:custGeom>
                  <a:avLst/>
                  <a:gdLst>
                    <a:gd name="connsiteX0" fmla="*/ 39574 w 46169"/>
                    <a:gd name="connsiteY0" fmla="*/ 13191 h 13191"/>
                    <a:gd name="connsiteX1" fmla="*/ 6596 w 46169"/>
                    <a:gd name="connsiteY1" fmla="*/ 13191 h 13191"/>
                    <a:gd name="connsiteX2" fmla="*/ 0 w 46169"/>
                    <a:gd name="connsiteY2" fmla="*/ 6596 h 13191"/>
                    <a:gd name="connsiteX3" fmla="*/ 6596 w 46169"/>
                    <a:gd name="connsiteY3" fmla="*/ 0 h 13191"/>
                    <a:gd name="connsiteX4" fmla="*/ 39574 w 46169"/>
                    <a:gd name="connsiteY4" fmla="*/ 0 h 13191"/>
                    <a:gd name="connsiteX5" fmla="*/ 46170 w 46169"/>
                    <a:gd name="connsiteY5" fmla="*/ 6596 h 13191"/>
                    <a:gd name="connsiteX6" fmla="*/ 39574 w 46169"/>
                    <a:gd name="connsiteY6" fmla="*/ 13191 h 1319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46169" h="13191">
                      <a:moveTo>
                        <a:pt x="39574" y="13191"/>
                      </a:moveTo>
                      <a:lnTo>
                        <a:pt x="6596" y="13191"/>
                      </a:lnTo>
                      <a:cubicBezTo>
                        <a:pt x="2955" y="13191"/>
                        <a:pt x="0" y="10236"/>
                        <a:pt x="0" y="6596"/>
                      </a:cubicBezTo>
                      <a:cubicBezTo>
                        <a:pt x="0" y="2955"/>
                        <a:pt x="2955" y="0"/>
                        <a:pt x="6596" y="0"/>
                      </a:cubicBezTo>
                      <a:lnTo>
                        <a:pt x="39574" y="0"/>
                      </a:lnTo>
                      <a:cubicBezTo>
                        <a:pt x="43215" y="0"/>
                        <a:pt x="46170" y="2955"/>
                        <a:pt x="46170" y="6596"/>
                      </a:cubicBezTo>
                      <a:cubicBezTo>
                        <a:pt x="46170" y="10258"/>
                        <a:pt x="43215" y="13191"/>
                        <a:pt x="39574" y="13191"/>
                      </a:cubicBezTo>
                      <a:close/>
                    </a:path>
                  </a:pathLst>
                </a:custGeom>
                <a:grpFill/>
                <a:ln w="213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GB" dirty="0"/>
                </a:p>
              </p:txBody>
            </p:sp>
            <p:sp>
              <p:nvSpPr>
                <p:cNvPr id="230" name="Freihandform: Form 522">
                  <a:extLst>
                    <a:ext uri="{FF2B5EF4-FFF2-40B4-BE49-F238E27FC236}">
                      <a16:creationId xmlns:a16="http://schemas.microsoft.com/office/drawing/2014/main" id="{C0912A43-783C-085A-F6D1-020CB68A184C}"/>
                    </a:ext>
                  </a:extLst>
                </p:cNvPr>
                <p:cNvSpPr/>
                <p:nvPr/>
              </p:nvSpPr>
              <p:spPr>
                <a:xfrm>
                  <a:off x="2126769" y="3545478"/>
                  <a:ext cx="19787" cy="13191"/>
                </a:xfrm>
                <a:custGeom>
                  <a:avLst/>
                  <a:gdLst>
                    <a:gd name="connsiteX0" fmla="*/ 13191 w 19787"/>
                    <a:gd name="connsiteY0" fmla="*/ 13191 h 13191"/>
                    <a:gd name="connsiteX1" fmla="*/ 6596 w 19787"/>
                    <a:gd name="connsiteY1" fmla="*/ 13191 h 13191"/>
                    <a:gd name="connsiteX2" fmla="*/ 0 w 19787"/>
                    <a:gd name="connsiteY2" fmla="*/ 6596 h 13191"/>
                    <a:gd name="connsiteX3" fmla="*/ 6596 w 19787"/>
                    <a:gd name="connsiteY3" fmla="*/ 0 h 13191"/>
                    <a:gd name="connsiteX4" fmla="*/ 13191 w 19787"/>
                    <a:gd name="connsiteY4" fmla="*/ 0 h 13191"/>
                    <a:gd name="connsiteX5" fmla="*/ 19787 w 19787"/>
                    <a:gd name="connsiteY5" fmla="*/ 6596 h 13191"/>
                    <a:gd name="connsiteX6" fmla="*/ 13191 w 19787"/>
                    <a:gd name="connsiteY6" fmla="*/ 13191 h 1319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9787" h="13191">
                      <a:moveTo>
                        <a:pt x="13191" y="13191"/>
                      </a:moveTo>
                      <a:lnTo>
                        <a:pt x="6596" y="13191"/>
                      </a:lnTo>
                      <a:cubicBezTo>
                        <a:pt x="2955" y="13191"/>
                        <a:pt x="0" y="10236"/>
                        <a:pt x="0" y="6596"/>
                      </a:cubicBezTo>
                      <a:cubicBezTo>
                        <a:pt x="0" y="2955"/>
                        <a:pt x="2955" y="0"/>
                        <a:pt x="6596" y="0"/>
                      </a:cubicBezTo>
                      <a:lnTo>
                        <a:pt x="13191" y="0"/>
                      </a:lnTo>
                      <a:cubicBezTo>
                        <a:pt x="16832" y="0"/>
                        <a:pt x="19787" y="2955"/>
                        <a:pt x="19787" y="6596"/>
                      </a:cubicBezTo>
                      <a:cubicBezTo>
                        <a:pt x="19787" y="10258"/>
                        <a:pt x="16832" y="13191"/>
                        <a:pt x="13191" y="13191"/>
                      </a:cubicBezTo>
                      <a:close/>
                    </a:path>
                  </a:pathLst>
                </a:custGeom>
                <a:grpFill/>
                <a:ln w="213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GB" dirty="0"/>
                </a:p>
              </p:txBody>
            </p:sp>
          </p:grpSp>
        </p:grpSp>
      </p:grpSp>
    </p:spTree>
    <p:extLst>
      <p:ext uri="{BB962C8B-B14F-4D97-AF65-F5344CB8AC3E}">
        <p14:creationId xmlns:p14="http://schemas.microsoft.com/office/powerpoint/2010/main" val="16799920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1A6A978A-E65B-DC67-6740-5ABB58A2C05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784808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5" imgH="426" progId="TCLayout.ActiveDocument.1">
                  <p:embed/>
                </p:oleObj>
              </mc:Choice>
              <mc:Fallback>
                <p:oleObj name="think-cell Folie" r:id="rId4" imgW="425" imgH="42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1A6A978A-E65B-DC67-6740-5ABB58A2C05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FDFE70A-A851-830B-B70B-96D334E362F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C6334D5-801C-4DA6-A1E1-92AF5AC7F51A}" type="datetime4">
              <a:rPr lang="en-GB" noProof="0" smtClean="0"/>
              <a:pPr/>
              <a:t>14 March 2024</a:t>
            </a:fld>
            <a:endParaRPr lang="en-GB" noProof="0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22DF4CD-80EB-9199-B899-9FA2E996762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94909C6-CC71-4962-A18E-AF0515723D95}" type="slidenum">
              <a:rPr lang="en-GB" noProof="0" smtClean="0"/>
              <a:pPr/>
              <a:t>11</a:t>
            </a:fld>
            <a:endParaRPr lang="en-GB" noProof="0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6BBEB53-973A-69D6-041B-57D44C4055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GB" noProof="0" dirty="0"/>
              <a:t>Munich Re Group – Company Presentation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108A6CCA-BB9F-76AC-65A3-74B18AD4E3B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>
                <a:solidFill>
                  <a:srgbClr val="004DBF"/>
                </a:solidFill>
              </a:rPr>
              <a:t>Munich Re Group Ambition 2025 – Reinsurance </a:t>
            </a:r>
            <a:br>
              <a:rPr lang="en-GB" dirty="0"/>
            </a:br>
            <a:r>
              <a:rPr lang="en-GB" sz="1400" dirty="0">
                <a:solidFill>
                  <a:schemeClr val="tx2"/>
                </a:solidFill>
              </a:rPr>
              <a:t>Leading the evolution of the reinsurance industry as a strong multifaceted player</a:t>
            </a:r>
            <a:endParaRPr lang="en-GB" sz="1600" dirty="0">
              <a:solidFill>
                <a:schemeClr val="tx2"/>
              </a:solidFill>
            </a:endParaRPr>
          </a:p>
        </p:txBody>
      </p:sp>
      <p:sp>
        <p:nvSpPr>
          <p:cNvPr id="105" name="Freihandform: Form 113">
            <a:extLst>
              <a:ext uri="{FF2B5EF4-FFF2-40B4-BE49-F238E27FC236}">
                <a16:creationId xmlns:a16="http://schemas.microsoft.com/office/drawing/2014/main" id="{E4CA4366-B824-97D0-92F7-E1306ABF0311}"/>
              </a:ext>
            </a:extLst>
          </p:cNvPr>
          <p:cNvSpPr/>
          <p:nvPr/>
        </p:nvSpPr>
        <p:spPr>
          <a:xfrm>
            <a:off x="0" y="2182098"/>
            <a:ext cx="6860015" cy="2357966"/>
          </a:xfrm>
          <a:custGeom>
            <a:avLst/>
            <a:gdLst>
              <a:gd name="connsiteX0" fmla="*/ 0 w 6860015"/>
              <a:gd name="connsiteY0" fmla="*/ 0 h 2357966"/>
              <a:gd name="connsiteX1" fmla="*/ 306000 w 6860015"/>
              <a:gd name="connsiteY1" fmla="*/ 0 h 2357966"/>
              <a:gd name="connsiteX2" fmla="*/ 602169 w 6860015"/>
              <a:gd name="connsiteY2" fmla="*/ 0 h 2357966"/>
              <a:gd name="connsiteX3" fmla="*/ 749242 w 6860015"/>
              <a:gd name="connsiteY3" fmla="*/ 0 h 2357966"/>
              <a:gd name="connsiteX4" fmla="*/ 908169 w 6860015"/>
              <a:gd name="connsiteY4" fmla="*/ 0 h 2357966"/>
              <a:gd name="connsiteX5" fmla="*/ 1055242 w 6860015"/>
              <a:gd name="connsiteY5" fmla="*/ 0 h 2357966"/>
              <a:gd name="connsiteX6" fmla="*/ 1278350 w 6860015"/>
              <a:gd name="connsiteY6" fmla="*/ 0 h 2357966"/>
              <a:gd name="connsiteX7" fmla="*/ 1295228 w 6860015"/>
              <a:gd name="connsiteY7" fmla="*/ 0 h 2357966"/>
              <a:gd name="connsiteX8" fmla="*/ 1425423 w 6860015"/>
              <a:gd name="connsiteY8" fmla="*/ 0 h 2357966"/>
              <a:gd name="connsiteX9" fmla="*/ 1442301 w 6860015"/>
              <a:gd name="connsiteY9" fmla="*/ 0 h 2357966"/>
              <a:gd name="connsiteX10" fmla="*/ 1584350 w 6860015"/>
              <a:gd name="connsiteY10" fmla="*/ 0 h 2357966"/>
              <a:gd name="connsiteX11" fmla="*/ 1601228 w 6860015"/>
              <a:gd name="connsiteY11" fmla="*/ 0 h 2357966"/>
              <a:gd name="connsiteX12" fmla="*/ 1731423 w 6860015"/>
              <a:gd name="connsiteY12" fmla="*/ 0 h 2357966"/>
              <a:gd name="connsiteX13" fmla="*/ 1748301 w 6860015"/>
              <a:gd name="connsiteY13" fmla="*/ 0 h 2357966"/>
              <a:gd name="connsiteX14" fmla="*/ 1971409 w 6860015"/>
              <a:gd name="connsiteY14" fmla="*/ 0 h 2357966"/>
              <a:gd name="connsiteX15" fmla="*/ 2118483 w 6860015"/>
              <a:gd name="connsiteY15" fmla="*/ 0 h 2357966"/>
              <a:gd name="connsiteX16" fmla="*/ 2277409 w 6860015"/>
              <a:gd name="connsiteY16" fmla="*/ 0 h 2357966"/>
              <a:gd name="connsiteX17" fmla="*/ 2398410 w 6860015"/>
              <a:gd name="connsiteY17" fmla="*/ 0 h 2357966"/>
              <a:gd name="connsiteX18" fmla="*/ 2424483 w 6860015"/>
              <a:gd name="connsiteY18" fmla="*/ 0 h 2357966"/>
              <a:gd name="connsiteX19" fmla="*/ 2545481 w 6860015"/>
              <a:gd name="connsiteY19" fmla="*/ 0 h 2357966"/>
              <a:gd name="connsiteX20" fmla="*/ 2704410 w 6860015"/>
              <a:gd name="connsiteY20" fmla="*/ 0 h 2357966"/>
              <a:gd name="connsiteX21" fmla="*/ 2851481 w 6860015"/>
              <a:gd name="connsiteY21" fmla="*/ 0 h 2357966"/>
              <a:gd name="connsiteX22" fmla="*/ 3074592 w 6860015"/>
              <a:gd name="connsiteY22" fmla="*/ 0 h 2357966"/>
              <a:gd name="connsiteX23" fmla="*/ 3091469 w 6860015"/>
              <a:gd name="connsiteY23" fmla="*/ 0 h 2357966"/>
              <a:gd name="connsiteX24" fmla="*/ 3221662 w 6860015"/>
              <a:gd name="connsiteY24" fmla="*/ 0 h 2357966"/>
              <a:gd name="connsiteX25" fmla="*/ 3238541 w 6860015"/>
              <a:gd name="connsiteY25" fmla="*/ 0 h 2357966"/>
              <a:gd name="connsiteX26" fmla="*/ 3380592 w 6860015"/>
              <a:gd name="connsiteY26" fmla="*/ 0 h 2357966"/>
              <a:gd name="connsiteX27" fmla="*/ 3397469 w 6860015"/>
              <a:gd name="connsiteY27" fmla="*/ 0 h 2357966"/>
              <a:gd name="connsiteX28" fmla="*/ 3527662 w 6860015"/>
              <a:gd name="connsiteY28" fmla="*/ 0 h 2357966"/>
              <a:gd name="connsiteX29" fmla="*/ 3544541 w 6860015"/>
              <a:gd name="connsiteY29" fmla="*/ 0 h 2357966"/>
              <a:gd name="connsiteX30" fmla="*/ 3767651 w 6860015"/>
              <a:gd name="connsiteY30" fmla="*/ 0 h 2357966"/>
              <a:gd name="connsiteX31" fmla="*/ 3914723 w 6860015"/>
              <a:gd name="connsiteY31" fmla="*/ 0 h 2357966"/>
              <a:gd name="connsiteX32" fmla="*/ 4073651 w 6860015"/>
              <a:gd name="connsiteY32" fmla="*/ 0 h 2357966"/>
              <a:gd name="connsiteX33" fmla="*/ 4220723 w 6860015"/>
              <a:gd name="connsiteY33" fmla="*/ 0 h 2357966"/>
              <a:gd name="connsiteX34" fmla="*/ 5037703 w 6860015"/>
              <a:gd name="connsiteY34" fmla="*/ 0 h 2357966"/>
              <a:gd name="connsiteX35" fmla="*/ 5184775 w 6860015"/>
              <a:gd name="connsiteY35" fmla="*/ 0 h 2357966"/>
              <a:gd name="connsiteX36" fmla="*/ 5343703 w 6860015"/>
              <a:gd name="connsiteY36" fmla="*/ 0 h 2357966"/>
              <a:gd name="connsiteX37" fmla="*/ 5490775 w 6860015"/>
              <a:gd name="connsiteY37" fmla="*/ 0 h 2357966"/>
              <a:gd name="connsiteX38" fmla="*/ 5713885 w 6860015"/>
              <a:gd name="connsiteY38" fmla="*/ 0 h 2357966"/>
              <a:gd name="connsiteX39" fmla="*/ 5730763 w 6860015"/>
              <a:gd name="connsiteY39" fmla="*/ 0 h 2357966"/>
              <a:gd name="connsiteX40" fmla="*/ 5860956 w 6860015"/>
              <a:gd name="connsiteY40" fmla="*/ 0 h 2357966"/>
              <a:gd name="connsiteX41" fmla="*/ 5877834 w 6860015"/>
              <a:gd name="connsiteY41" fmla="*/ 0 h 2357966"/>
              <a:gd name="connsiteX42" fmla="*/ 6019885 w 6860015"/>
              <a:gd name="connsiteY42" fmla="*/ 0 h 2357966"/>
              <a:gd name="connsiteX43" fmla="*/ 6036763 w 6860015"/>
              <a:gd name="connsiteY43" fmla="*/ 0 h 2357966"/>
              <a:gd name="connsiteX44" fmla="*/ 6166956 w 6860015"/>
              <a:gd name="connsiteY44" fmla="*/ 0 h 2357966"/>
              <a:gd name="connsiteX45" fmla="*/ 6183834 w 6860015"/>
              <a:gd name="connsiteY45" fmla="*/ 0 h 2357966"/>
              <a:gd name="connsiteX46" fmla="*/ 6406945 w 6860015"/>
              <a:gd name="connsiteY46" fmla="*/ 0 h 2357966"/>
              <a:gd name="connsiteX47" fmla="*/ 6554015 w 6860015"/>
              <a:gd name="connsiteY47" fmla="*/ 0 h 2357966"/>
              <a:gd name="connsiteX48" fmla="*/ 6712945 w 6860015"/>
              <a:gd name="connsiteY48" fmla="*/ 0 h 2357966"/>
              <a:gd name="connsiteX49" fmla="*/ 6860015 w 6860015"/>
              <a:gd name="connsiteY49" fmla="*/ 0 h 2357966"/>
              <a:gd name="connsiteX50" fmla="*/ 5678636 w 6860015"/>
              <a:gd name="connsiteY50" fmla="*/ 1181380 h 2357966"/>
              <a:gd name="connsiteX51" fmla="*/ 6855222 w 6860015"/>
              <a:gd name="connsiteY51" fmla="*/ 2357966 h 2357966"/>
              <a:gd name="connsiteX52" fmla="*/ 6708151 w 6860015"/>
              <a:gd name="connsiteY52" fmla="*/ 2357966 h 2357966"/>
              <a:gd name="connsiteX53" fmla="*/ 6549222 w 6860015"/>
              <a:gd name="connsiteY53" fmla="*/ 2357966 h 2357966"/>
              <a:gd name="connsiteX54" fmla="*/ 6402151 w 6860015"/>
              <a:gd name="connsiteY54" fmla="*/ 2357966 h 2357966"/>
              <a:gd name="connsiteX55" fmla="*/ 6179041 w 6860015"/>
              <a:gd name="connsiteY55" fmla="*/ 2357966 h 2357966"/>
              <a:gd name="connsiteX56" fmla="*/ 6162165 w 6860015"/>
              <a:gd name="connsiteY56" fmla="*/ 2357966 h 2357966"/>
              <a:gd name="connsiteX57" fmla="*/ 6031970 w 6860015"/>
              <a:gd name="connsiteY57" fmla="*/ 2357966 h 2357966"/>
              <a:gd name="connsiteX58" fmla="*/ 6015091 w 6860015"/>
              <a:gd name="connsiteY58" fmla="*/ 2357966 h 2357966"/>
              <a:gd name="connsiteX59" fmla="*/ 5873041 w 6860015"/>
              <a:gd name="connsiteY59" fmla="*/ 2357966 h 2357966"/>
              <a:gd name="connsiteX60" fmla="*/ 5856165 w 6860015"/>
              <a:gd name="connsiteY60" fmla="*/ 2357966 h 2357966"/>
              <a:gd name="connsiteX61" fmla="*/ 5725970 w 6860015"/>
              <a:gd name="connsiteY61" fmla="*/ 2357966 h 2357966"/>
              <a:gd name="connsiteX62" fmla="*/ 5709091 w 6860015"/>
              <a:gd name="connsiteY62" fmla="*/ 2357966 h 2357966"/>
              <a:gd name="connsiteX63" fmla="*/ 5485982 w 6860015"/>
              <a:gd name="connsiteY63" fmla="*/ 2357966 h 2357966"/>
              <a:gd name="connsiteX64" fmla="*/ 5338910 w 6860015"/>
              <a:gd name="connsiteY64" fmla="*/ 2357966 h 2357966"/>
              <a:gd name="connsiteX65" fmla="*/ 5179982 w 6860015"/>
              <a:gd name="connsiteY65" fmla="*/ 2357966 h 2357966"/>
              <a:gd name="connsiteX66" fmla="*/ 5032910 w 6860015"/>
              <a:gd name="connsiteY66" fmla="*/ 2357966 h 2357966"/>
              <a:gd name="connsiteX67" fmla="*/ 4215930 w 6860015"/>
              <a:gd name="connsiteY67" fmla="*/ 2357966 h 2357966"/>
              <a:gd name="connsiteX68" fmla="*/ 4068857 w 6860015"/>
              <a:gd name="connsiteY68" fmla="*/ 2357966 h 2357966"/>
              <a:gd name="connsiteX69" fmla="*/ 3909930 w 6860015"/>
              <a:gd name="connsiteY69" fmla="*/ 2357966 h 2357966"/>
              <a:gd name="connsiteX70" fmla="*/ 3762857 w 6860015"/>
              <a:gd name="connsiteY70" fmla="*/ 2357966 h 2357966"/>
              <a:gd name="connsiteX71" fmla="*/ 3539748 w 6860015"/>
              <a:gd name="connsiteY71" fmla="*/ 2357966 h 2357966"/>
              <a:gd name="connsiteX72" fmla="*/ 3522872 w 6860015"/>
              <a:gd name="connsiteY72" fmla="*/ 2357966 h 2357966"/>
              <a:gd name="connsiteX73" fmla="*/ 3392676 w 6860015"/>
              <a:gd name="connsiteY73" fmla="*/ 2357966 h 2357966"/>
              <a:gd name="connsiteX74" fmla="*/ 3375798 w 6860015"/>
              <a:gd name="connsiteY74" fmla="*/ 2357966 h 2357966"/>
              <a:gd name="connsiteX75" fmla="*/ 3233748 w 6860015"/>
              <a:gd name="connsiteY75" fmla="*/ 2357966 h 2357966"/>
              <a:gd name="connsiteX76" fmla="*/ 3216872 w 6860015"/>
              <a:gd name="connsiteY76" fmla="*/ 2357966 h 2357966"/>
              <a:gd name="connsiteX77" fmla="*/ 3086676 w 6860015"/>
              <a:gd name="connsiteY77" fmla="*/ 2357966 h 2357966"/>
              <a:gd name="connsiteX78" fmla="*/ 3069798 w 6860015"/>
              <a:gd name="connsiteY78" fmla="*/ 2357966 h 2357966"/>
              <a:gd name="connsiteX79" fmla="*/ 2846688 w 6860015"/>
              <a:gd name="connsiteY79" fmla="*/ 2357966 h 2357966"/>
              <a:gd name="connsiteX80" fmla="*/ 2699617 w 6860015"/>
              <a:gd name="connsiteY80" fmla="*/ 2357966 h 2357966"/>
              <a:gd name="connsiteX81" fmla="*/ 2540688 w 6860015"/>
              <a:gd name="connsiteY81" fmla="*/ 2357966 h 2357966"/>
              <a:gd name="connsiteX82" fmla="*/ 2424483 w 6860015"/>
              <a:gd name="connsiteY82" fmla="*/ 2357966 h 2357966"/>
              <a:gd name="connsiteX83" fmla="*/ 2393617 w 6860015"/>
              <a:gd name="connsiteY83" fmla="*/ 2357966 h 2357966"/>
              <a:gd name="connsiteX84" fmla="*/ 2277409 w 6860015"/>
              <a:gd name="connsiteY84" fmla="*/ 2357966 h 2357966"/>
              <a:gd name="connsiteX85" fmla="*/ 2118483 w 6860015"/>
              <a:gd name="connsiteY85" fmla="*/ 2357966 h 2357966"/>
              <a:gd name="connsiteX86" fmla="*/ 1971409 w 6860015"/>
              <a:gd name="connsiteY86" fmla="*/ 2357966 h 2357966"/>
              <a:gd name="connsiteX87" fmla="*/ 1748301 w 6860015"/>
              <a:gd name="connsiteY87" fmla="*/ 2357966 h 2357966"/>
              <a:gd name="connsiteX88" fmla="*/ 1731423 w 6860015"/>
              <a:gd name="connsiteY88" fmla="*/ 2357966 h 2357966"/>
              <a:gd name="connsiteX89" fmla="*/ 1601228 w 6860015"/>
              <a:gd name="connsiteY89" fmla="*/ 2357966 h 2357966"/>
              <a:gd name="connsiteX90" fmla="*/ 1584350 w 6860015"/>
              <a:gd name="connsiteY90" fmla="*/ 2357966 h 2357966"/>
              <a:gd name="connsiteX91" fmla="*/ 1442301 w 6860015"/>
              <a:gd name="connsiteY91" fmla="*/ 2357966 h 2357966"/>
              <a:gd name="connsiteX92" fmla="*/ 1425423 w 6860015"/>
              <a:gd name="connsiteY92" fmla="*/ 2357966 h 2357966"/>
              <a:gd name="connsiteX93" fmla="*/ 1295228 w 6860015"/>
              <a:gd name="connsiteY93" fmla="*/ 2357966 h 2357966"/>
              <a:gd name="connsiteX94" fmla="*/ 1278350 w 6860015"/>
              <a:gd name="connsiteY94" fmla="*/ 2357966 h 2357966"/>
              <a:gd name="connsiteX95" fmla="*/ 1055242 w 6860015"/>
              <a:gd name="connsiteY95" fmla="*/ 2357966 h 2357966"/>
              <a:gd name="connsiteX96" fmla="*/ 908169 w 6860015"/>
              <a:gd name="connsiteY96" fmla="*/ 2357966 h 2357966"/>
              <a:gd name="connsiteX97" fmla="*/ 749242 w 6860015"/>
              <a:gd name="connsiteY97" fmla="*/ 2357966 h 2357966"/>
              <a:gd name="connsiteX98" fmla="*/ 602169 w 6860015"/>
              <a:gd name="connsiteY98" fmla="*/ 2357966 h 2357966"/>
              <a:gd name="connsiteX99" fmla="*/ 306000 w 6860015"/>
              <a:gd name="connsiteY99" fmla="*/ 2357966 h 2357966"/>
              <a:gd name="connsiteX100" fmla="*/ 0 w 6860015"/>
              <a:gd name="connsiteY100" fmla="*/ 2357966 h 23579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</a:cxnLst>
            <a:rect l="l" t="t" r="r" b="b"/>
            <a:pathLst>
              <a:path w="6860015" h="2357966">
                <a:moveTo>
                  <a:pt x="0" y="0"/>
                </a:moveTo>
                <a:lnTo>
                  <a:pt x="306000" y="0"/>
                </a:lnTo>
                <a:lnTo>
                  <a:pt x="602169" y="0"/>
                </a:lnTo>
                <a:lnTo>
                  <a:pt x="749242" y="0"/>
                </a:lnTo>
                <a:lnTo>
                  <a:pt x="908169" y="0"/>
                </a:lnTo>
                <a:lnTo>
                  <a:pt x="1055242" y="0"/>
                </a:lnTo>
                <a:lnTo>
                  <a:pt x="1278350" y="0"/>
                </a:lnTo>
                <a:lnTo>
                  <a:pt x="1295228" y="0"/>
                </a:lnTo>
                <a:lnTo>
                  <a:pt x="1425423" y="0"/>
                </a:lnTo>
                <a:lnTo>
                  <a:pt x="1442301" y="0"/>
                </a:lnTo>
                <a:lnTo>
                  <a:pt x="1584350" y="0"/>
                </a:lnTo>
                <a:lnTo>
                  <a:pt x="1601228" y="0"/>
                </a:lnTo>
                <a:lnTo>
                  <a:pt x="1731423" y="0"/>
                </a:lnTo>
                <a:lnTo>
                  <a:pt x="1748301" y="0"/>
                </a:lnTo>
                <a:lnTo>
                  <a:pt x="1971409" y="0"/>
                </a:lnTo>
                <a:lnTo>
                  <a:pt x="2118483" y="0"/>
                </a:lnTo>
                <a:lnTo>
                  <a:pt x="2277409" y="0"/>
                </a:lnTo>
                <a:lnTo>
                  <a:pt x="2398410" y="0"/>
                </a:lnTo>
                <a:lnTo>
                  <a:pt x="2424483" y="0"/>
                </a:lnTo>
                <a:lnTo>
                  <a:pt x="2545481" y="0"/>
                </a:lnTo>
                <a:lnTo>
                  <a:pt x="2704410" y="0"/>
                </a:lnTo>
                <a:lnTo>
                  <a:pt x="2851481" y="0"/>
                </a:lnTo>
                <a:lnTo>
                  <a:pt x="3074592" y="0"/>
                </a:lnTo>
                <a:lnTo>
                  <a:pt x="3091469" y="0"/>
                </a:lnTo>
                <a:lnTo>
                  <a:pt x="3221662" y="0"/>
                </a:lnTo>
                <a:lnTo>
                  <a:pt x="3238541" y="0"/>
                </a:lnTo>
                <a:lnTo>
                  <a:pt x="3380592" y="0"/>
                </a:lnTo>
                <a:lnTo>
                  <a:pt x="3397469" y="0"/>
                </a:lnTo>
                <a:lnTo>
                  <a:pt x="3527662" y="0"/>
                </a:lnTo>
                <a:lnTo>
                  <a:pt x="3544541" y="0"/>
                </a:lnTo>
                <a:lnTo>
                  <a:pt x="3767651" y="0"/>
                </a:lnTo>
                <a:lnTo>
                  <a:pt x="3914723" y="0"/>
                </a:lnTo>
                <a:lnTo>
                  <a:pt x="4073651" y="0"/>
                </a:lnTo>
                <a:lnTo>
                  <a:pt x="4220723" y="0"/>
                </a:lnTo>
                <a:lnTo>
                  <a:pt x="5037703" y="0"/>
                </a:lnTo>
                <a:lnTo>
                  <a:pt x="5184775" y="0"/>
                </a:lnTo>
                <a:lnTo>
                  <a:pt x="5343703" y="0"/>
                </a:lnTo>
                <a:lnTo>
                  <a:pt x="5490775" y="0"/>
                </a:lnTo>
                <a:lnTo>
                  <a:pt x="5713885" y="0"/>
                </a:lnTo>
                <a:lnTo>
                  <a:pt x="5730763" y="0"/>
                </a:lnTo>
                <a:lnTo>
                  <a:pt x="5860956" y="0"/>
                </a:lnTo>
                <a:lnTo>
                  <a:pt x="5877834" y="0"/>
                </a:lnTo>
                <a:lnTo>
                  <a:pt x="6019885" y="0"/>
                </a:lnTo>
                <a:lnTo>
                  <a:pt x="6036763" y="0"/>
                </a:lnTo>
                <a:lnTo>
                  <a:pt x="6166956" y="0"/>
                </a:lnTo>
                <a:lnTo>
                  <a:pt x="6183834" y="0"/>
                </a:lnTo>
                <a:lnTo>
                  <a:pt x="6406945" y="0"/>
                </a:lnTo>
                <a:lnTo>
                  <a:pt x="6554015" y="0"/>
                </a:lnTo>
                <a:lnTo>
                  <a:pt x="6712945" y="0"/>
                </a:lnTo>
                <a:lnTo>
                  <a:pt x="6860015" y="0"/>
                </a:lnTo>
                <a:lnTo>
                  <a:pt x="5678636" y="1181380"/>
                </a:lnTo>
                <a:lnTo>
                  <a:pt x="6855222" y="2357966"/>
                </a:lnTo>
                <a:lnTo>
                  <a:pt x="6708151" y="2357966"/>
                </a:lnTo>
                <a:lnTo>
                  <a:pt x="6549222" y="2357966"/>
                </a:lnTo>
                <a:lnTo>
                  <a:pt x="6402151" y="2357966"/>
                </a:lnTo>
                <a:lnTo>
                  <a:pt x="6179041" y="2357966"/>
                </a:lnTo>
                <a:lnTo>
                  <a:pt x="6162165" y="2357966"/>
                </a:lnTo>
                <a:lnTo>
                  <a:pt x="6031970" y="2357966"/>
                </a:lnTo>
                <a:lnTo>
                  <a:pt x="6015091" y="2357966"/>
                </a:lnTo>
                <a:lnTo>
                  <a:pt x="5873041" y="2357966"/>
                </a:lnTo>
                <a:lnTo>
                  <a:pt x="5856165" y="2357966"/>
                </a:lnTo>
                <a:lnTo>
                  <a:pt x="5725970" y="2357966"/>
                </a:lnTo>
                <a:lnTo>
                  <a:pt x="5709091" y="2357966"/>
                </a:lnTo>
                <a:lnTo>
                  <a:pt x="5485982" y="2357966"/>
                </a:lnTo>
                <a:lnTo>
                  <a:pt x="5338910" y="2357966"/>
                </a:lnTo>
                <a:lnTo>
                  <a:pt x="5179982" y="2357966"/>
                </a:lnTo>
                <a:lnTo>
                  <a:pt x="5032910" y="2357966"/>
                </a:lnTo>
                <a:lnTo>
                  <a:pt x="4215930" y="2357966"/>
                </a:lnTo>
                <a:lnTo>
                  <a:pt x="4068857" y="2357966"/>
                </a:lnTo>
                <a:lnTo>
                  <a:pt x="3909930" y="2357966"/>
                </a:lnTo>
                <a:lnTo>
                  <a:pt x="3762857" y="2357966"/>
                </a:lnTo>
                <a:lnTo>
                  <a:pt x="3539748" y="2357966"/>
                </a:lnTo>
                <a:lnTo>
                  <a:pt x="3522872" y="2357966"/>
                </a:lnTo>
                <a:lnTo>
                  <a:pt x="3392676" y="2357966"/>
                </a:lnTo>
                <a:lnTo>
                  <a:pt x="3375798" y="2357966"/>
                </a:lnTo>
                <a:lnTo>
                  <a:pt x="3233748" y="2357966"/>
                </a:lnTo>
                <a:lnTo>
                  <a:pt x="3216872" y="2357966"/>
                </a:lnTo>
                <a:lnTo>
                  <a:pt x="3086676" y="2357966"/>
                </a:lnTo>
                <a:lnTo>
                  <a:pt x="3069798" y="2357966"/>
                </a:lnTo>
                <a:lnTo>
                  <a:pt x="2846688" y="2357966"/>
                </a:lnTo>
                <a:lnTo>
                  <a:pt x="2699617" y="2357966"/>
                </a:lnTo>
                <a:lnTo>
                  <a:pt x="2540688" y="2357966"/>
                </a:lnTo>
                <a:lnTo>
                  <a:pt x="2424483" y="2357966"/>
                </a:lnTo>
                <a:lnTo>
                  <a:pt x="2393617" y="2357966"/>
                </a:lnTo>
                <a:lnTo>
                  <a:pt x="2277409" y="2357966"/>
                </a:lnTo>
                <a:lnTo>
                  <a:pt x="2118483" y="2357966"/>
                </a:lnTo>
                <a:lnTo>
                  <a:pt x="1971409" y="2357966"/>
                </a:lnTo>
                <a:lnTo>
                  <a:pt x="1748301" y="2357966"/>
                </a:lnTo>
                <a:lnTo>
                  <a:pt x="1731423" y="2357966"/>
                </a:lnTo>
                <a:lnTo>
                  <a:pt x="1601228" y="2357966"/>
                </a:lnTo>
                <a:lnTo>
                  <a:pt x="1584350" y="2357966"/>
                </a:lnTo>
                <a:lnTo>
                  <a:pt x="1442301" y="2357966"/>
                </a:lnTo>
                <a:lnTo>
                  <a:pt x="1425423" y="2357966"/>
                </a:lnTo>
                <a:lnTo>
                  <a:pt x="1295228" y="2357966"/>
                </a:lnTo>
                <a:lnTo>
                  <a:pt x="1278350" y="2357966"/>
                </a:lnTo>
                <a:lnTo>
                  <a:pt x="1055242" y="2357966"/>
                </a:lnTo>
                <a:lnTo>
                  <a:pt x="908169" y="2357966"/>
                </a:lnTo>
                <a:lnTo>
                  <a:pt x="749242" y="2357966"/>
                </a:lnTo>
                <a:lnTo>
                  <a:pt x="602169" y="2357966"/>
                </a:lnTo>
                <a:lnTo>
                  <a:pt x="306000" y="2357966"/>
                </a:lnTo>
                <a:lnTo>
                  <a:pt x="0" y="2357966"/>
                </a:lnTo>
                <a:close/>
              </a:path>
            </a:pathLst>
          </a:custGeom>
          <a:solidFill>
            <a:srgbClr val="004DBF">
              <a:alpha val="10000"/>
            </a:srgbClr>
          </a:solidFill>
          <a:ln w="9525" cap="flat" cmpd="sng" algn="ctr">
            <a:noFill/>
            <a:prstDash val="solid"/>
            <a:miter lim="800000"/>
          </a:ln>
          <a:effectLst/>
        </p:spPr>
        <p:txBody>
          <a:bodyPr wrap="square" rtlCol="0" anchor="ctr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1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Arial Unicode MS"/>
              <a:cs typeface="Arial"/>
            </a:endParaRPr>
          </a:p>
        </p:txBody>
      </p:sp>
      <p:pic>
        <p:nvPicPr>
          <p:cNvPr id="106" name="Grafik 8">
            <a:extLst>
              <a:ext uri="{FF2B5EF4-FFF2-40B4-BE49-F238E27FC236}">
                <a16:creationId xmlns:a16="http://schemas.microsoft.com/office/drawing/2014/main" id="{B77E741F-72EE-37AD-0BC1-EBCAE9DBA236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5169424" y="3184446"/>
            <a:ext cx="358066" cy="358064"/>
          </a:xfrm>
          <a:prstGeom prst="rect">
            <a:avLst/>
          </a:prstGeom>
        </p:spPr>
      </p:pic>
      <p:sp>
        <p:nvSpPr>
          <p:cNvPr id="107" name="Raute 115">
            <a:extLst>
              <a:ext uri="{FF2B5EF4-FFF2-40B4-BE49-F238E27FC236}">
                <a16:creationId xmlns:a16="http://schemas.microsoft.com/office/drawing/2014/main" id="{1AF230F7-A696-18BB-88B9-72D8AC438003}"/>
              </a:ext>
            </a:extLst>
          </p:cNvPr>
          <p:cNvSpPr/>
          <p:nvPr/>
        </p:nvSpPr>
        <p:spPr>
          <a:xfrm>
            <a:off x="5765617" y="1889844"/>
            <a:ext cx="2947268" cy="2947269"/>
          </a:xfrm>
          <a:prstGeom prst="diamond">
            <a:avLst/>
          </a:prstGeom>
          <a:solidFill>
            <a:srgbClr val="004DBF">
              <a:alpha val="10000"/>
            </a:srgbClr>
          </a:solidFill>
          <a:ln w="9525" cap="flat" cmpd="sng" algn="ctr">
            <a:noFill/>
            <a:prstDash val="solid"/>
            <a:miter lim="800000"/>
          </a:ln>
          <a:effectLst/>
        </p:spPr>
        <p:txBody>
          <a:bodyPr rtlCol="0" anchor="ctr" anchorCtr="0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1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Arial Unicode MS"/>
              <a:cs typeface="Arial"/>
            </a:endParaRPr>
          </a:p>
        </p:txBody>
      </p:sp>
      <p:sp>
        <p:nvSpPr>
          <p:cNvPr id="108" name="Raute 12">
            <a:extLst>
              <a:ext uri="{FF2B5EF4-FFF2-40B4-BE49-F238E27FC236}">
                <a16:creationId xmlns:a16="http://schemas.microsoft.com/office/drawing/2014/main" id="{74B00CA8-6AB4-45B1-9FBA-6CCC7CF158AD}"/>
              </a:ext>
            </a:extLst>
          </p:cNvPr>
          <p:cNvSpPr/>
          <p:nvPr/>
        </p:nvSpPr>
        <p:spPr>
          <a:xfrm>
            <a:off x="7656616" y="2182100"/>
            <a:ext cx="1181384" cy="2362758"/>
          </a:xfrm>
          <a:custGeom>
            <a:avLst/>
            <a:gdLst>
              <a:gd name="connsiteX0" fmla="*/ 0 w 3456001"/>
              <a:gd name="connsiteY0" fmla="*/ 1727995 h 3455989"/>
              <a:gd name="connsiteX1" fmla="*/ 1728001 w 3456001"/>
              <a:gd name="connsiteY1" fmla="*/ 0 h 3455989"/>
              <a:gd name="connsiteX2" fmla="*/ 3456001 w 3456001"/>
              <a:gd name="connsiteY2" fmla="*/ 1727995 h 3455989"/>
              <a:gd name="connsiteX3" fmla="*/ 1728001 w 3456001"/>
              <a:gd name="connsiteY3" fmla="*/ 3455989 h 3455989"/>
              <a:gd name="connsiteX4" fmla="*/ 0 w 3456001"/>
              <a:gd name="connsiteY4" fmla="*/ 1727995 h 3455989"/>
              <a:gd name="connsiteX0" fmla="*/ 0 w 3456001"/>
              <a:gd name="connsiteY0" fmla="*/ 1727995 h 3455989"/>
              <a:gd name="connsiteX1" fmla="*/ 1728001 w 3456001"/>
              <a:gd name="connsiteY1" fmla="*/ 0 h 3455989"/>
              <a:gd name="connsiteX2" fmla="*/ 3456001 w 3456001"/>
              <a:gd name="connsiteY2" fmla="*/ 1727995 h 3455989"/>
              <a:gd name="connsiteX3" fmla="*/ 1728001 w 3456001"/>
              <a:gd name="connsiteY3" fmla="*/ 3455989 h 3455989"/>
              <a:gd name="connsiteX4" fmla="*/ 91440 w 3456001"/>
              <a:gd name="connsiteY4" fmla="*/ 1819435 h 3455989"/>
              <a:gd name="connsiteX0" fmla="*/ 0 w 3456001"/>
              <a:gd name="connsiteY0" fmla="*/ 1727995 h 3455989"/>
              <a:gd name="connsiteX1" fmla="*/ 1728001 w 3456001"/>
              <a:gd name="connsiteY1" fmla="*/ 0 h 3455989"/>
              <a:gd name="connsiteX2" fmla="*/ 3456001 w 3456001"/>
              <a:gd name="connsiteY2" fmla="*/ 1727995 h 3455989"/>
              <a:gd name="connsiteX3" fmla="*/ 1728001 w 3456001"/>
              <a:gd name="connsiteY3" fmla="*/ 3455989 h 3455989"/>
              <a:gd name="connsiteX0" fmla="*/ 0 w 1728000"/>
              <a:gd name="connsiteY0" fmla="*/ 0 h 3455989"/>
              <a:gd name="connsiteX1" fmla="*/ 1728000 w 1728000"/>
              <a:gd name="connsiteY1" fmla="*/ 1727995 h 3455989"/>
              <a:gd name="connsiteX2" fmla="*/ 0 w 1728000"/>
              <a:gd name="connsiteY2" fmla="*/ 3455989 h 34559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728000" h="3455989">
                <a:moveTo>
                  <a:pt x="0" y="0"/>
                </a:moveTo>
                <a:lnTo>
                  <a:pt x="1728000" y="1727995"/>
                </a:lnTo>
                <a:lnTo>
                  <a:pt x="0" y="3455989"/>
                </a:lnTo>
              </a:path>
            </a:pathLst>
          </a:custGeom>
          <a:noFill/>
          <a:ln w="19050" cap="rnd" cmpd="sng" algn="ctr">
            <a:solidFill>
              <a:srgbClr val="004DBF"/>
            </a:solidFill>
            <a:prstDash val="solid"/>
            <a:miter lim="800000"/>
          </a:ln>
          <a:effectLst/>
        </p:spPr>
        <p:txBody>
          <a:bodyPr wrap="square" rtlCol="0" anchor="ctr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1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Arial Unicode MS"/>
              <a:cs typeface="Arial"/>
            </a:endParaRPr>
          </a:p>
        </p:txBody>
      </p:sp>
      <p:sp>
        <p:nvSpPr>
          <p:cNvPr id="110" name="Textfeld 117">
            <a:extLst>
              <a:ext uri="{FF2B5EF4-FFF2-40B4-BE49-F238E27FC236}">
                <a16:creationId xmlns:a16="http://schemas.microsoft.com/office/drawing/2014/main" id="{D325DFA8-9F50-15FF-B68C-305063C7B96A}"/>
              </a:ext>
            </a:extLst>
          </p:cNvPr>
          <p:cNvSpPr txBox="1"/>
          <p:nvPr/>
        </p:nvSpPr>
        <p:spPr>
          <a:xfrm>
            <a:off x="6941092" y="2510148"/>
            <a:ext cx="596317" cy="184666"/>
          </a:xfrm>
          <a:prstGeom prst="rect">
            <a:avLst/>
          </a:prstGeom>
          <a:noFill/>
          <a:effectLst/>
        </p:spPr>
        <p:txBody>
          <a:bodyPr wrap="none" lIns="0" tIns="0" rIns="0" bIns="0" rtlCol="0" anchor="ctr">
            <a:spAutoFit/>
          </a:bodyPr>
          <a:lstStyle>
            <a:defPPr>
              <a:defRPr lang="x-none"/>
            </a:defPPr>
            <a:lvl1pPr algn="ctr">
              <a:lnSpc>
                <a:spcPct val="110000"/>
              </a:lnSpc>
              <a:defRPr sz="2000">
                <a:solidFill>
                  <a:schemeClr val="tx2"/>
                </a:solidFill>
                <a:latin typeface="MunichRe Medium" pitchFamily="2" charset="0"/>
              </a:defRPr>
            </a:lvl1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0" cap="none" spc="0" normalizeH="0" baseline="0" noProof="0" dirty="0">
                <a:ln>
                  <a:noFill/>
                </a:ln>
                <a:solidFill>
                  <a:srgbClr val="004DBF"/>
                </a:solidFill>
                <a:effectLst/>
                <a:uLnTx/>
                <a:uFillTx/>
                <a:latin typeface="Arial"/>
              </a:rPr>
              <a:t>Succeed</a:t>
            </a:r>
            <a:endParaRPr kumimoji="0" lang="en-GB" sz="1400" b="0" i="0" u="none" strike="noStrike" kern="0" cap="none" spc="0" normalizeH="0" baseline="0" noProof="0" dirty="0">
              <a:ln>
                <a:noFill/>
              </a:ln>
              <a:solidFill>
                <a:srgbClr val="004DBF"/>
              </a:solidFill>
              <a:effectLst/>
              <a:uLnTx/>
              <a:uFillTx/>
              <a:latin typeface="Arial"/>
            </a:endParaRP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9761601C-C5B6-BBAA-6FF8-ABAE02F571EC}"/>
              </a:ext>
            </a:extLst>
          </p:cNvPr>
          <p:cNvGrpSpPr/>
          <p:nvPr/>
        </p:nvGrpSpPr>
        <p:grpSpPr>
          <a:xfrm>
            <a:off x="6975052" y="2031944"/>
            <a:ext cx="528397" cy="435098"/>
            <a:chOff x="6975052" y="2031944"/>
            <a:chExt cx="528397" cy="435098"/>
          </a:xfrm>
        </p:grpSpPr>
        <p:sp>
          <p:nvSpPr>
            <p:cNvPr id="112" name="Freihandform: Form 119">
              <a:extLst>
                <a:ext uri="{FF2B5EF4-FFF2-40B4-BE49-F238E27FC236}">
                  <a16:creationId xmlns:a16="http://schemas.microsoft.com/office/drawing/2014/main" id="{E254D8F6-F349-CEE8-E5C0-3908E3257507}"/>
                </a:ext>
              </a:extLst>
            </p:cNvPr>
            <p:cNvSpPr/>
            <p:nvPr/>
          </p:nvSpPr>
          <p:spPr>
            <a:xfrm>
              <a:off x="7273302" y="2250028"/>
              <a:ext cx="93156" cy="201254"/>
            </a:xfrm>
            <a:custGeom>
              <a:avLst/>
              <a:gdLst>
                <a:gd name="connsiteX0" fmla="*/ 332203 w 526947"/>
                <a:gd name="connsiteY0" fmla="*/ 1138425 h 1138425"/>
                <a:gd name="connsiteX1" fmla="*/ 370589 w 526947"/>
                <a:gd name="connsiteY1" fmla="*/ 1110803 h 1138425"/>
                <a:gd name="connsiteX2" fmla="*/ 345062 w 526947"/>
                <a:gd name="connsiteY2" fmla="*/ 1059749 h 1138425"/>
                <a:gd name="connsiteX3" fmla="*/ 106080 w 526947"/>
                <a:gd name="connsiteY3" fmla="*/ 980120 h 1138425"/>
                <a:gd name="connsiteX4" fmla="*/ 80934 w 526947"/>
                <a:gd name="connsiteY4" fmla="*/ 944020 h 1138425"/>
                <a:gd name="connsiteX5" fmla="*/ 108366 w 526947"/>
                <a:gd name="connsiteY5" fmla="*/ 909539 h 1138425"/>
                <a:gd name="connsiteX6" fmla="*/ 372589 w 526947"/>
                <a:gd name="connsiteY6" fmla="*/ 840007 h 1138425"/>
                <a:gd name="connsiteX7" fmla="*/ 516988 w 526947"/>
                <a:gd name="connsiteY7" fmla="*/ 702942 h 1138425"/>
                <a:gd name="connsiteX8" fmla="*/ 478888 w 526947"/>
                <a:gd name="connsiteY8" fmla="*/ 507489 h 1138425"/>
                <a:gd name="connsiteX9" fmla="*/ 313534 w 526947"/>
                <a:gd name="connsiteY9" fmla="*/ 309179 h 1138425"/>
                <a:gd name="connsiteX10" fmla="*/ 251431 w 526947"/>
                <a:gd name="connsiteY10" fmla="*/ 137729 h 1138425"/>
                <a:gd name="connsiteX11" fmla="*/ 256480 w 526947"/>
                <a:gd name="connsiteY11" fmla="*/ 42574 h 1138425"/>
                <a:gd name="connsiteX12" fmla="*/ 218189 w 526947"/>
                <a:gd name="connsiteY12" fmla="*/ 92 h 1138425"/>
                <a:gd name="connsiteX13" fmla="*/ 175708 w 526947"/>
                <a:gd name="connsiteY13" fmla="*/ 38288 h 1138425"/>
                <a:gd name="connsiteX14" fmla="*/ 170659 w 526947"/>
                <a:gd name="connsiteY14" fmla="*/ 135538 h 1138425"/>
                <a:gd name="connsiteX15" fmla="*/ 251431 w 526947"/>
                <a:gd name="connsiteY15" fmla="*/ 360804 h 1138425"/>
                <a:gd name="connsiteX16" fmla="*/ 416785 w 526947"/>
                <a:gd name="connsiteY16" fmla="*/ 559210 h 1138425"/>
                <a:gd name="connsiteX17" fmla="*/ 440026 w 526947"/>
                <a:gd name="connsiteY17" fmla="*/ 678177 h 1138425"/>
                <a:gd name="connsiteX18" fmla="*/ 352015 w 526947"/>
                <a:gd name="connsiteY18" fmla="*/ 761711 h 1138425"/>
                <a:gd name="connsiteX19" fmla="*/ 87792 w 526947"/>
                <a:gd name="connsiteY19" fmla="*/ 831244 h 1138425"/>
                <a:gd name="connsiteX20" fmla="*/ 67 w 526947"/>
                <a:gd name="connsiteY20" fmla="*/ 941258 h 1138425"/>
                <a:gd name="connsiteX21" fmla="*/ 80458 w 526947"/>
                <a:gd name="connsiteY21" fmla="*/ 1056701 h 1138425"/>
                <a:gd name="connsiteX22" fmla="*/ 319440 w 526947"/>
                <a:gd name="connsiteY22" fmla="*/ 1136330 h 1138425"/>
                <a:gd name="connsiteX23" fmla="*/ 332203 w 526947"/>
                <a:gd name="connsiteY23" fmla="*/ 1138425 h 1138425"/>
                <a:gd name="connsiteX24" fmla="*/ 332203 w 526947"/>
                <a:gd name="connsiteY24" fmla="*/ 1138425 h 11384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526947" h="1138425">
                  <a:moveTo>
                    <a:pt x="332203" y="1138425"/>
                  </a:moveTo>
                  <a:cubicBezTo>
                    <a:pt x="349158" y="1138425"/>
                    <a:pt x="364874" y="1127757"/>
                    <a:pt x="370589" y="1110803"/>
                  </a:cubicBezTo>
                  <a:cubicBezTo>
                    <a:pt x="377638" y="1089562"/>
                    <a:pt x="366208" y="1066702"/>
                    <a:pt x="345062" y="1059749"/>
                  </a:cubicBezTo>
                  <a:lnTo>
                    <a:pt x="106080" y="980120"/>
                  </a:lnTo>
                  <a:cubicBezTo>
                    <a:pt x="81886" y="972023"/>
                    <a:pt x="80648" y="950402"/>
                    <a:pt x="80934" y="944020"/>
                  </a:cubicBezTo>
                  <a:cubicBezTo>
                    <a:pt x="81124" y="937543"/>
                    <a:pt x="83696" y="916016"/>
                    <a:pt x="108366" y="909539"/>
                  </a:cubicBezTo>
                  <a:lnTo>
                    <a:pt x="372589" y="840007"/>
                  </a:lnTo>
                  <a:cubicBezTo>
                    <a:pt x="441360" y="821909"/>
                    <a:pt x="495367" y="770665"/>
                    <a:pt x="516988" y="702942"/>
                  </a:cubicBezTo>
                  <a:cubicBezTo>
                    <a:pt x="538705" y="635219"/>
                    <a:pt x="524418" y="562163"/>
                    <a:pt x="478888" y="507489"/>
                  </a:cubicBezTo>
                  <a:lnTo>
                    <a:pt x="313534" y="309179"/>
                  </a:lnTo>
                  <a:cubicBezTo>
                    <a:pt x="273529" y="261173"/>
                    <a:pt x="251431" y="200213"/>
                    <a:pt x="251431" y="137729"/>
                  </a:cubicBezTo>
                  <a:lnTo>
                    <a:pt x="256480" y="42574"/>
                  </a:lnTo>
                  <a:cubicBezTo>
                    <a:pt x="257623" y="20285"/>
                    <a:pt x="240477" y="1235"/>
                    <a:pt x="218189" y="92"/>
                  </a:cubicBezTo>
                  <a:cubicBezTo>
                    <a:pt x="195329" y="-1432"/>
                    <a:pt x="176851" y="16094"/>
                    <a:pt x="175708" y="38288"/>
                  </a:cubicBezTo>
                  <a:lnTo>
                    <a:pt x="170659" y="135538"/>
                  </a:lnTo>
                  <a:cubicBezTo>
                    <a:pt x="170659" y="219072"/>
                    <a:pt x="199330" y="298320"/>
                    <a:pt x="251431" y="360804"/>
                  </a:cubicBezTo>
                  <a:lnTo>
                    <a:pt x="416785" y="559210"/>
                  </a:lnTo>
                  <a:cubicBezTo>
                    <a:pt x="444503" y="592452"/>
                    <a:pt x="453266" y="636934"/>
                    <a:pt x="440026" y="678177"/>
                  </a:cubicBezTo>
                  <a:cubicBezTo>
                    <a:pt x="426786" y="719420"/>
                    <a:pt x="393925" y="750662"/>
                    <a:pt x="352015" y="761711"/>
                  </a:cubicBezTo>
                  <a:lnTo>
                    <a:pt x="87792" y="831244"/>
                  </a:lnTo>
                  <a:cubicBezTo>
                    <a:pt x="36261" y="844769"/>
                    <a:pt x="1781" y="888013"/>
                    <a:pt x="67" y="941258"/>
                  </a:cubicBezTo>
                  <a:cubicBezTo>
                    <a:pt x="-1648" y="994502"/>
                    <a:pt x="29880" y="1039841"/>
                    <a:pt x="80458" y="1056701"/>
                  </a:cubicBezTo>
                  <a:lnTo>
                    <a:pt x="319440" y="1136330"/>
                  </a:lnTo>
                  <a:cubicBezTo>
                    <a:pt x="323726" y="1137663"/>
                    <a:pt x="328012" y="1138425"/>
                    <a:pt x="332203" y="1138425"/>
                  </a:cubicBezTo>
                  <a:lnTo>
                    <a:pt x="332203" y="1138425"/>
                  </a:lnTo>
                  <a:close/>
                </a:path>
              </a:pathLst>
            </a:custGeom>
            <a:solidFill>
              <a:srgbClr val="004DB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1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grpSp>
          <p:nvGrpSpPr>
            <p:cNvPr id="113" name="Gruppieren 120">
              <a:extLst>
                <a:ext uri="{FF2B5EF4-FFF2-40B4-BE49-F238E27FC236}">
                  <a16:creationId xmlns:a16="http://schemas.microsoft.com/office/drawing/2014/main" id="{89AD1801-09E4-210B-3DBB-84BBB4A7D7CC}"/>
                </a:ext>
              </a:extLst>
            </p:cNvPr>
            <p:cNvGrpSpPr/>
            <p:nvPr/>
          </p:nvGrpSpPr>
          <p:grpSpPr>
            <a:xfrm rot="21372989">
              <a:off x="7176569" y="2031944"/>
              <a:ext cx="145456" cy="167251"/>
              <a:chOff x="3687821" y="3219301"/>
              <a:chExt cx="187471" cy="215563"/>
            </a:xfrm>
            <a:solidFill>
              <a:srgbClr val="004DBF"/>
            </a:solidFill>
          </p:grpSpPr>
          <p:sp>
            <p:nvSpPr>
              <p:cNvPr id="117" name="Freihandform: Form 124">
                <a:extLst>
                  <a:ext uri="{FF2B5EF4-FFF2-40B4-BE49-F238E27FC236}">
                    <a16:creationId xmlns:a16="http://schemas.microsoft.com/office/drawing/2014/main" id="{B4DD4DFD-1CC4-AAD2-4DF6-3B9AF2DCEF64}"/>
                  </a:ext>
                </a:extLst>
              </p:cNvPr>
              <p:cNvSpPr/>
              <p:nvPr/>
            </p:nvSpPr>
            <p:spPr>
              <a:xfrm>
                <a:off x="3849965" y="3257370"/>
                <a:ext cx="25327" cy="177494"/>
              </a:xfrm>
              <a:custGeom>
                <a:avLst/>
                <a:gdLst>
                  <a:gd name="connsiteX0" fmla="*/ 6652 w 25327"/>
                  <a:gd name="connsiteY0" fmla="*/ 177494 h 177494"/>
                  <a:gd name="connsiteX1" fmla="*/ 6161 w 25327"/>
                  <a:gd name="connsiteY1" fmla="*/ 177468 h 177494"/>
                  <a:gd name="connsiteX2" fmla="*/ 20 w 25327"/>
                  <a:gd name="connsiteY2" fmla="*/ 170347 h 177494"/>
                  <a:gd name="connsiteX3" fmla="*/ 12044 w 25327"/>
                  <a:gd name="connsiteY3" fmla="*/ 6161 h 177494"/>
                  <a:gd name="connsiteX4" fmla="*/ 19166 w 25327"/>
                  <a:gd name="connsiteY4" fmla="*/ 20 h 177494"/>
                  <a:gd name="connsiteX5" fmla="*/ 25307 w 25327"/>
                  <a:gd name="connsiteY5" fmla="*/ 7142 h 177494"/>
                  <a:gd name="connsiteX6" fmla="*/ 13283 w 25327"/>
                  <a:gd name="connsiteY6" fmla="*/ 171302 h 177494"/>
                  <a:gd name="connsiteX7" fmla="*/ 6652 w 25327"/>
                  <a:gd name="connsiteY7" fmla="*/ 177494 h 1774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5327" h="177494">
                    <a:moveTo>
                      <a:pt x="6652" y="177494"/>
                    </a:moveTo>
                    <a:cubicBezTo>
                      <a:pt x="6497" y="177494"/>
                      <a:pt x="6316" y="177494"/>
                      <a:pt x="6161" y="177468"/>
                    </a:cubicBezTo>
                    <a:cubicBezTo>
                      <a:pt x="2497" y="177210"/>
                      <a:pt x="-264" y="174011"/>
                      <a:pt x="20" y="170347"/>
                    </a:cubicBezTo>
                    <a:lnTo>
                      <a:pt x="12044" y="6161"/>
                    </a:lnTo>
                    <a:cubicBezTo>
                      <a:pt x="12302" y="2497"/>
                      <a:pt x="15425" y="-264"/>
                      <a:pt x="19166" y="20"/>
                    </a:cubicBezTo>
                    <a:cubicBezTo>
                      <a:pt x="22830" y="278"/>
                      <a:pt x="25591" y="3478"/>
                      <a:pt x="25307" y="7142"/>
                    </a:cubicBezTo>
                    <a:lnTo>
                      <a:pt x="13283" y="171302"/>
                    </a:lnTo>
                    <a:cubicBezTo>
                      <a:pt x="13025" y="174837"/>
                      <a:pt x="10109" y="177494"/>
                      <a:pt x="6652" y="177494"/>
                    </a:cubicBezTo>
                    <a:close/>
                  </a:path>
                </a:pathLst>
              </a:custGeom>
              <a:grpFill/>
              <a:ln w="25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1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18" name="Freihandform: Form 125">
                <a:extLst>
                  <a:ext uri="{FF2B5EF4-FFF2-40B4-BE49-F238E27FC236}">
                    <a16:creationId xmlns:a16="http://schemas.microsoft.com/office/drawing/2014/main" id="{76C72171-318F-73A2-0FCA-9C010AB5395C}"/>
                  </a:ext>
                </a:extLst>
              </p:cNvPr>
              <p:cNvSpPr/>
              <p:nvPr/>
            </p:nvSpPr>
            <p:spPr>
              <a:xfrm>
                <a:off x="3740062" y="3254035"/>
                <a:ext cx="135214" cy="97071"/>
              </a:xfrm>
              <a:custGeom>
                <a:avLst/>
                <a:gdLst>
                  <a:gd name="connsiteX0" fmla="*/ 121870 w 135214"/>
                  <a:gd name="connsiteY0" fmla="*/ 97072 h 97071"/>
                  <a:gd name="connsiteX1" fmla="*/ 121638 w 135214"/>
                  <a:gd name="connsiteY1" fmla="*/ 97072 h 97071"/>
                  <a:gd name="connsiteX2" fmla="*/ 6427 w 135214"/>
                  <a:gd name="connsiteY2" fmla="*/ 93072 h 97071"/>
                  <a:gd name="connsiteX3" fmla="*/ 2 w 135214"/>
                  <a:gd name="connsiteY3" fmla="*/ 86234 h 97071"/>
                  <a:gd name="connsiteX4" fmla="*/ 2246 w 135214"/>
                  <a:gd name="connsiteY4" fmla="*/ 6451 h 97071"/>
                  <a:gd name="connsiteX5" fmla="*/ 9084 w 135214"/>
                  <a:gd name="connsiteY5" fmla="*/ 0 h 97071"/>
                  <a:gd name="connsiteX6" fmla="*/ 128760 w 135214"/>
                  <a:gd name="connsiteY6" fmla="*/ 3380 h 97071"/>
                  <a:gd name="connsiteX7" fmla="*/ 135210 w 135214"/>
                  <a:gd name="connsiteY7" fmla="*/ 10218 h 97071"/>
                  <a:gd name="connsiteX8" fmla="*/ 128372 w 135214"/>
                  <a:gd name="connsiteY8" fmla="*/ 16669 h 97071"/>
                  <a:gd name="connsiteX9" fmla="*/ 15354 w 135214"/>
                  <a:gd name="connsiteY9" fmla="*/ 13469 h 97071"/>
                  <a:gd name="connsiteX10" fmla="*/ 13471 w 135214"/>
                  <a:gd name="connsiteY10" fmla="*/ 79990 h 97071"/>
                  <a:gd name="connsiteX11" fmla="*/ 122077 w 135214"/>
                  <a:gd name="connsiteY11" fmla="*/ 83783 h 97071"/>
                  <a:gd name="connsiteX12" fmla="*/ 128476 w 135214"/>
                  <a:gd name="connsiteY12" fmla="*/ 90672 h 97071"/>
                  <a:gd name="connsiteX13" fmla="*/ 121870 w 135214"/>
                  <a:gd name="connsiteY13" fmla="*/ 97072 h 970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35214" h="97071">
                    <a:moveTo>
                      <a:pt x="121870" y="97072"/>
                    </a:moveTo>
                    <a:cubicBezTo>
                      <a:pt x="121792" y="97072"/>
                      <a:pt x="121715" y="97072"/>
                      <a:pt x="121638" y="97072"/>
                    </a:cubicBezTo>
                    <a:lnTo>
                      <a:pt x="6427" y="93072"/>
                    </a:lnTo>
                    <a:cubicBezTo>
                      <a:pt x="2763" y="92943"/>
                      <a:pt x="-76" y="89898"/>
                      <a:pt x="2" y="86234"/>
                    </a:cubicBezTo>
                    <a:lnTo>
                      <a:pt x="2246" y="6451"/>
                    </a:lnTo>
                    <a:cubicBezTo>
                      <a:pt x="2350" y="2787"/>
                      <a:pt x="5368" y="-26"/>
                      <a:pt x="9084" y="0"/>
                    </a:cubicBezTo>
                    <a:lnTo>
                      <a:pt x="128760" y="3380"/>
                    </a:lnTo>
                    <a:cubicBezTo>
                      <a:pt x="132424" y="3484"/>
                      <a:pt x="135339" y="6554"/>
                      <a:pt x="135210" y="10218"/>
                    </a:cubicBezTo>
                    <a:cubicBezTo>
                      <a:pt x="135107" y="13882"/>
                      <a:pt x="132011" y="16772"/>
                      <a:pt x="128372" y="16669"/>
                    </a:cubicBezTo>
                    <a:lnTo>
                      <a:pt x="15354" y="13469"/>
                    </a:lnTo>
                    <a:lnTo>
                      <a:pt x="13471" y="79990"/>
                    </a:lnTo>
                    <a:lnTo>
                      <a:pt x="122077" y="83783"/>
                    </a:lnTo>
                    <a:cubicBezTo>
                      <a:pt x="125740" y="83912"/>
                      <a:pt x="128605" y="86983"/>
                      <a:pt x="128476" y="90672"/>
                    </a:cubicBezTo>
                    <a:cubicBezTo>
                      <a:pt x="128372" y="94259"/>
                      <a:pt x="125431" y="97072"/>
                      <a:pt x="121870" y="97072"/>
                    </a:cubicBezTo>
                    <a:close/>
                  </a:path>
                </a:pathLst>
              </a:custGeom>
              <a:grpFill/>
              <a:ln w="25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1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19" name="Freihandform: Form 126">
                <a:extLst>
                  <a:ext uri="{FF2B5EF4-FFF2-40B4-BE49-F238E27FC236}">
                    <a16:creationId xmlns:a16="http://schemas.microsoft.com/office/drawing/2014/main" id="{D2D0FD62-84AB-E809-6D5A-FC59F1EFD09C}"/>
                  </a:ext>
                </a:extLst>
              </p:cNvPr>
              <p:cNvSpPr/>
              <p:nvPr/>
            </p:nvSpPr>
            <p:spPr>
              <a:xfrm>
                <a:off x="3687821" y="3219301"/>
                <a:ext cx="101993" cy="94675"/>
              </a:xfrm>
              <a:custGeom>
                <a:avLst/>
                <a:gdLst>
                  <a:gd name="connsiteX0" fmla="*/ 57429 w 101993"/>
                  <a:gd name="connsiteY0" fmla="*/ 94676 h 94675"/>
                  <a:gd name="connsiteX1" fmla="*/ 57223 w 101993"/>
                  <a:gd name="connsiteY1" fmla="*/ 94676 h 94675"/>
                  <a:gd name="connsiteX2" fmla="*/ 6442 w 101993"/>
                  <a:gd name="connsiteY2" fmla="*/ 93076 h 94675"/>
                  <a:gd name="connsiteX3" fmla="*/ 894 w 101993"/>
                  <a:gd name="connsiteY3" fmla="*/ 89747 h 94675"/>
                  <a:gd name="connsiteX4" fmla="*/ 791 w 101993"/>
                  <a:gd name="connsiteY4" fmla="*/ 83296 h 94675"/>
                  <a:gd name="connsiteX5" fmla="*/ 20298 w 101993"/>
                  <a:gd name="connsiteY5" fmla="*/ 46888 h 94675"/>
                  <a:gd name="connsiteX6" fmla="*/ 2881 w 101993"/>
                  <a:gd name="connsiteY6" fmla="*/ 9448 h 94675"/>
                  <a:gd name="connsiteX7" fmla="*/ 3346 w 101993"/>
                  <a:gd name="connsiteY7" fmla="*/ 2997 h 94675"/>
                  <a:gd name="connsiteX8" fmla="*/ 9100 w 101993"/>
                  <a:gd name="connsiteY8" fmla="*/ 4 h 94675"/>
                  <a:gd name="connsiteX9" fmla="*/ 95540 w 101993"/>
                  <a:gd name="connsiteY9" fmla="*/ 2429 h 94675"/>
                  <a:gd name="connsiteX10" fmla="*/ 100185 w 101993"/>
                  <a:gd name="connsiteY10" fmla="*/ 4519 h 94675"/>
                  <a:gd name="connsiteX11" fmla="*/ 101991 w 101993"/>
                  <a:gd name="connsiteY11" fmla="*/ 9267 h 94675"/>
                  <a:gd name="connsiteX12" fmla="*/ 101088 w 101993"/>
                  <a:gd name="connsiteY12" fmla="*/ 41702 h 94675"/>
                  <a:gd name="connsiteX13" fmla="*/ 94250 w 101993"/>
                  <a:gd name="connsiteY13" fmla="*/ 48152 h 94675"/>
                  <a:gd name="connsiteX14" fmla="*/ 87799 w 101993"/>
                  <a:gd name="connsiteY14" fmla="*/ 41315 h 94675"/>
                  <a:gd name="connsiteX15" fmla="*/ 88522 w 101993"/>
                  <a:gd name="connsiteY15" fmla="*/ 15537 h 94675"/>
                  <a:gd name="connsiteX16" fmla="*/ 19498 w 101993"/>
                  <a:gd name="connsiteY16" fmla="*/ 13602 h 94675"/>
                  <a:gd name="connsiteX17" fmla="*/ 33793 w 101993"/>
                  <a:gd name="connsiteY17" fmla="*/ 44308 h 94675"/>
                  <a:gd name="connsiteX18" fmla="*/ 33638 w 101993"/>
                  <a:gd name="connsiteY18" fmla="*/ 50242 h 94675"/>
                  <a:gd name="connsiteX19" fmla="*/ 17640 w 101993"/>
                  <a:gd name="connsiteY19" fmla="*/ 80123 h 94675"/>
                  <a:gd name="connsiteX20" fmla="*/ 57713 w 101993"/>
                  <a:gd name="connsiteY20" fmla="*/ 81387 h 94675"/>
                  <a:gd name="connsiteX21" fmla="*/ 64138 w 101993"/>
                  <a:gd name="connsiteY21" fmla="*/ 88251 h 94675"/>
                  <a:gd name="connsiteX22" fmla="*/ 57429 w 101993"/>
                  <a:gd name="connsiteY22" fmla="*/ 94676 h 946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101993" h="94675">
                    <a:moveTo>
                      <a:pt x="57429" y="94676"/>
                    </a:moveTo>
                    <a:cubicBezTo>
                      <a:pt x="57351" y="94676"/>
                      <a:pt x="57274" y="94676"/>
                      <a:pt x="57223" y="94676"/>
                    </a:cubicBezTo>
                    <a:lnTo>
                      <a:pt x="6442" y="93076"/>
                    </a:lnTo>
                    <a:cubicBezTo>
                      <a:pt x="4145" y="92998"/>
                      <a:pt x="2030" y="91760"/>
                      <a:pt x="894" y="89747"/>
                    </a:cubicBezTo>
                    <a:cubicBezTo>
                      <a:pt x="-267" y="87760"/>
                      <a:pt x="-293" y="85309"/>
                      <a:pt x="791" y="83296"/>
                    </a:cubicBezTo>
                    <a:lnTo>
                      <a:pt x="20298" y="46888"/>
                    </a:lnTo>
                    <a:lnTo>
                      <a:pt x="2881" y="9448"/>
                    </a:lnTo>
                    <a:cubicBezTo>
                      <a:pt x="1900" y="7358"/>
                      <a:pt x="2081" y="4906"/>
                      <a:pt x="3346" y="2997"/>
                    </a:cubicBezTo>
                    <a:cubicBezTo>
                      <a:pt x="4610" y="1062"/>
                      <a:pt x="6777" y="-74"/>
                      <a:pt x="9100" y="4"/>
                    </a:cubicBezTo>
                    <a:lnTo>
                      <a:pt x="95540" y="2429"/>
                    </a:lnTo>
                    <a:cubicBezTo>
                      <a:pt x="97295" y="2481"/>
                      <a:pt x="98972" y="3229"/>
                      <a:pt x="100185" y="4519"/>
                    </a:cubicBezTo>
                    <a:cubicBezTo>
                      <a:pt x="101398" y="5809"/>
                      <a:pt x="102043" y="7512"/>
                      <a:pt x="101991" y="9267"/>
                    </a:cubicBezTo>
                    <a:lnTo>
                      <a:pt x="101088" y="41702"/>
                    </a:lnTo>
                    <a:cubicBezTo>
                      <a:pt x="100985" y="45366"/>
                      <a:pt x="97811" y="48230"/>
                      <a:pt x="94250" y="48152"/>
                    </a:cubicBezTo>
                    <a:cubicBezTo>
                      <a:pt x="90586" y="48049"/>
                      <a:pt x="87670" y="44979"/>
                      <a:pt x="87799" y="41315"/>
                    </a:cubicBezTo>
                    <a:lnTo>
                      <a:pt x="88522" y="15537"/>
                    </a:lnTo>
                    <a:lnTo>
                      <a:pt x="19498" y="13602"/>
                    </a:lnTo>
                    <a:lnTo>
                      <a:pt x="33793" y="44308"/>
                    </a:lnTo>
                    <a:cubicBezTo>
                      <a:pt x="34671" y="46217"/>
                      <a:pt x="34619" y="48411"/>
                      <a:pt x="33638" y="50242"/>
                    </a:cubicBezTo>
                    <a:lnTo>
                      <a:pt x="17640" y="80123"/>
                    </a:lnTo>
                    <a:lnTo>
                      <a:pt x="57713" y="81387"/>
                    </a:lnTo>
                    <a:cubicBezTo>
                      <a:pt x="61377" y="81490"/>
                      <a:pt x="64267" y="84561"/>
                      <a:pt x="64138" y="88251"/>
                    </a:cubicBezTo>
                    <a:cubicBezTo>
                      <a:pt x="63957" y="91837"/>
                      <a:pt x="61016" y="94676"/>
                      <a:pt x="57429" y="94676"/>
                    </a:cubicBezTo>
                    <a:close/>
                  </a:path>
                </a:pathLst>
              </a:custGeom>
              <a:grpFill/>
              <a:ln w="25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1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0" name="Freihandform: Form 127">
                <a:extLst>
                  <a:ext uri="{FF2B5EF4-FFF2-40B4-BE49-F238E27FC236}">
                    <a16:creationId xmlns:a16="http://schemas.microsoft.com/office/drawing/2014/main" id="{AAC8CC8B-DDA5-501E-0A6D-9700983394C3}"/>
                  </a:ext>
                </a:extLst>
              </p:cNvPr>
              <p:cNvSpPr/>
              <p:nvPr/>
            </p:nvSpPr>
            <p:spPr>
              <a:xfrm>
                <a:off x="3742322" y="3221708"/>
                <a:ext cx="47476" cy="45615"/>
              </a:xfrm>
              <a:custGeom>
                <a:avLst/>
                <a:gdLst>
                  <a:gd name="connsiteX0" fmla="*/ 6644 w 47476"/>
                  <a:gd name="connsiteY0" fmla="*/ 45616 h 45615"/>
                  <a:gd name="connsiteX1" fmla="*/ 1818 w 47476"/>
                  <a:gd name="connsiteY1" fmla="*/ 43526 h 45615"/>
                  <a:gd name="connsiteX2" fmla="*/ 2077 w 47476"/>
                  <a:gd name="connsiteY2" fmla="*/ 34133 h 45615"/>
                  <a:gd name="connsiteX3" fmla="*/ 36266 w 47476"/>
                  <a:gd name="connsiteY3" fmla="*/ 1828 h 45615"/>
                  <a:gd name="connsiteX4" fmla="*/ 45658 w 47476"/>
                  <a:gd name="connsiteY4" fmla="*/ 2086 h 45615"/>
                  <a:gd name="connsiteX5" fmla="*/ 45400 w 47476"/>
                  <a:gd name="connsiteY5" fmla="*/ 11478 h 45615"/>
                  <a:gd name="connsiteX6" fmla="*/ 11211 w 47476"/>
                  <a:gd name="connsiteY6" fmla="*/ 43784 h 45615"/>
                  <a:gd name="connsiteX7" fmla="*/ 6644 w 47476"/>
                  <a:gd name="connsiteY7" fmla="*/ 45616 h 456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7476" h="45615">
                    <a:moveTo>
                      <a:pt x="6644" y="45616"/>
                    </a:moveTo>
                    <a:cubicBezTo>
                      <a:pt x="4889" y="45616"/>
                      <a:pt x="3109" y="44919"/>
                      <a:pt x="1818" y="43526"/>
                    </a:cubicBezTo>
                    <a:cubicBezTo>
                      <a:pt x="-710" y="40868"/>
                      <a:pt x="-581" y="36636"/>
                      <a:pt x="2077" y="34133"/>
                    </a:cubicBezTo>
                    <a:lnTo>
                      <a:pt x="36266" y="1828"/>
                    </a:lnTo>
                    <a:cubicBezTo>
                      <a:pt x="38923" y="-701"/>
                      <a:pt x="43155" y="-598"/>
                      <a:pt x="45658" y="2086"/>
                    </a:cubicBezTo>
                    <a:cubicBezTo>
                      <a:pt x="48187" y="4744"/>
                      <a:pt x="48058" y="8975"/>
                      <a:pt x="45400" y="11478"/>
                    </a:cubicBezTo>
                    <a:lnTo>
                      <a:pt x="11211" y="43784"/>
                    </a:lnTo>
                    <a:cubicBezTo>
                      <a:pt x="9921" y="45022"/>
                      <a:pt x="8295" y="45616"/>
                      <a:pt x="6644" y="45616"/>
                    </a:cubicBezTo>
                    <a:close/>
                  </a:path>
                </a:pathLst>
              </a:custGeom>
              <a:grpFill/>
              <a:ln w="25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1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115" name="Freihandform: Form 122">
              <a:extLst>
                <a:ext uri="{FF2B5EF4-FFF2-40B4-BE49-F238E27FC236}">
                  <a16:creationId xmlns:a16="http://schemas.microsoft.com/office/drawing/2014/main" id="{EE5FA303-E04B-8E10-2113-26030985AA04}"/>
                </a:ext>
              </a:extLst>
            </p:cNvPr>
            <p:cNvSpPr/>
            <p:nvPr/>
          </p:nvSpPr>
          <p:spPr>
            <a:xfrm>
              <a:off x="7119119" y="2186985"/>
              <a:ext cx="384330" cy="280057"/>
            </a:xfrm>
            <a:custGeom>
              <a:avLst/>
              <a:gdLst>
                <a:gd name="connsiteX0" fmla="*/ 40402 w 2174033"/>
                <a:gd name="connsiteY0" fmla="*/ 1584198 h 1584197"/>
                <a:gd name="connsiteX1" fmla="*/ 73549 w 2174033"/>
                <a:gd name="connsiteY1" fmla="*/ 1567053 h 1584197"/>
                <a:gd name="connsiteX2" fmla="*/ 1095962 w 2174033"/>
                <a:gd name="connsiteY2" fmla="*/ 110871 h 1584197"/>
                <a:gd name="connsiteX3" fmla="*/ 2100469 w 2174033"/>
                <a:gd name="connsiteY3" fmla="*/ 1548955 h 1584197"/>
                <a:gd name="connsiteX4" fmla="*/ 2156761 w 2174033"/>
                <a:gd name="connsiteY4" fmla="*/ 1558957 h 1584197"/>
                <a:gd name="connsiteX5" fmla="*/ 2166763 w 2174033"/>
                <a:gd name="connsiteY5" fmla="*/ 1502759 h 1584197"/>
                <a:gd name="connsiteX6" fmla="*/ 1129109 w 2174033"/>
                <a:gd name="connsiteY6" fmla="*/ 17240 h 1584197"/>
                <a:gd name="connsiteX7" fmla="*/ 1096057 w 2174033"/>
                <a:gd name="connsiteY7" fmla="*/ 0 h 1584197"/>
                <a:gd name="connsiteX8" fmla="*/ 1096057 w 2174033"/>
                <a:gd name="connsiteY8" fmla="*/ 0 h 1584197"/>
                <a:gd name="connsiteX9" fmla="*/ 1063006 w 2174033"/>
                <a:gd name="connsiteY9" fmla="*/ 17240 h 1584197"/>
                <a:gd name="connsiteX10" fmla="*/ 7350 w 2174033"/>
                <a:gd name="connsiteY10" fmla="*/ 1520571 h 1584197"/>
                <a:gd name="connsiteX11" fmla="*/ 17161 w 2174033"/>
                <a:gd name="connsiteY11" fmla="*/ 1576769 h 1584197"/>
                <a:gd name="connsiteX12" fmla="*/ 40402 w 2174033"/>
                <a:gd name="connsiteY12" fmla="*/ 1584198 h 1584197"/>
                <a:gd name="connsiteX13" fmla="*/ 40402 w 2174033"/>
                <a:gd name="connsiteY13" fmla="*/ 1584198 h 15841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174033" h="1584197">
                  <a:moveTo>
                    <a:pt x="40402" y="1584198"/>
                  </a:moveTo>
                  <a:cubicBezTo>
                    <a:pt x="53165" y="1584198"/>
                    <a:pt x="65643" y="1578197"/>
                    <a:pt x="73549" y="1567053"/>
                  </a:cubicBezTo>
                  <a:lnTo>
                    <a:pt x="1095962" y="110871"/>
                  </a:lnTo>
                  <a:lnTo>
                    <a:pt x="2100469" y="1548955"/>
                  </a:lnTo>
                  <a:cubicBezTo>
                    <a:pt x="2113327" y="1567244"/>
                    <a:pt x="2138474" y="1571625"/>
                    <a:pt x="2156761" y="1558957"/>
                  </a:cubicBezTo>
                  <a:cubicBezTo>
                    <a:pt x="2175049" y="1546193"/>
                    <a:pt x="2179526" y="1520952"/>
                    <a:pt x="2166763" y="1502759"/>
                  </a:cubicBezTo>
                  <a:lnTo>
                    <a:pt x="1129109" y="17240"/>
                  </a:lnTo>
                  <a:cubicBezTo>
                    <a:pt x="1121584" y="6477"/>
                    <a:pt x="1109202" y="0"/>
                    <a:pt x="1096057" y="0"/>
                  </a:cubicBezTo>
                  <a:lnTo>
                    <a:pt x="1096057" y="0"/>
                  </a:lnTo>
                  <a:cubicBezTo>
                    <a:pt x="1082913" y="0"/>
                    <a:pt x="1070530" y="6477"/>
                    <a:pt x="1063006" y="17240"/>
                  </a:cubicBezTo>
                  <a:lnTo>
                    <a:pt x="7350" y="1520571"/>
                  </a:lnTo>
                  <a:cubicBezTo>
                    <a:pt x="-5509" y="1538859"/>
                    <a:pt x="-1032" y="1564005"/>
                    <a:pt x="17161" y="1576769"/>
                  </a:cubicBezTo>
                  <a:cubicBezTo>
                    <a:pt x="24304" y="1581817"/>
                    <a:pt x="32401" y="1584198"/>
                    <a:pt x="40402" y="1584198"/>
                  </a:cubicBezTo>
                  <a:lnTo>
                    <a:pt x="40402" y="1584198"/>
                  </a:lnTo>
                  <a:close/>
                </a:path>
              </a:pathLst>
            </a:custGeom>
            <a:solidFill>
              <a:schemeClr val="tx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1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16" name="Freihandform: Form 123">
              <a:extLst>
                <a:ext uri="{FF2B5EF4-FFF2-40B4-BE49-F238E27FC236}">
                  <a16:creationId xmlns:a16="http://schemas.microsoft.com/office/drawing/2014/main" id="{72FE6249-CD09-47E5-CDA5-7EB4E052CB32}"/>
                </a:ext>
              </a:extLst>
            </p:cNvPr>
            <p:cNvSpPr/>
            <p:nvPr/>
          </p:nvSpPr>
          <p:spPr>
            <a:xfrm>
              <a:off x="6975052" y="2262547"/>
              <a:ext cx="234203" cy="173175"/>
            </a:xfrm>
            <a:custGeom>
              <a:avLst/>
              <a:gdLst>
                <a:gd name="connsiteX0" fmla="*/ 40385 w 1324812"/>
                <a:gd name="connsiteY0" fmla="*/ 979590 h 979589"/>
                <a:gd name="connsiteX1" fmla="*/ 71055 w 1324812"/>
                <a:gd name="connsiteY1" fmla="*/ 965493 h 979589"/>
                <a:gd name="connsiteX2" fmla="*/ 812957 w 1324812"/>
                <a:gd name="connsiteY2" fmla="*/ 99004 h 979589"/>
                <a:gd name="connsiteX3" fmla="*/ 1256632 w 1324812"/>
                <a:gd name="connsiteY3" fmla="*/ 519247 h 979589"/>
                <a:gd name="connsiteX4" fmla="*/ 1313782 w 1324812"/>
                <a:gd name="connsiteY4" fmla="*/ 517627 h 979589"/>
                <a:gd name="connsiteX5" fmla="*/ 1312163 w 1324812"/>
                <a:gd name="connsiteY5" fmla="*/ 460477 h 979589"/>
                <a:gd name="connsiteX6" fmla="*/ 837722 w 1324812"/>
                <a:gd name="connsiteY6" fmla="*/ 11088 h 979589"/>
                <a:gd name="connsiteX7" fmla="*/ 807909 w 1324812"/>
                <a:gd name="connsiteY7" fmla="*/ 39 h 979589"/>
                <a:gd name="connsiteX8" fmla="*/ 779334 w 1324812"/>
                <a:gd name="connsiteY8" fmla="*/ 14136 h 979589"/>
                <a:gd name="connsiteX9" fmla="*/ 9714 w 1324812"/>
                <a:gd name="connsiteY9" fmla="*/ 912915 h 979589"/>
                <a:gd name="connsiteX10" fmla="*/ 14096 w 1324812"/>
                <a:gd name="connsiteY10" fmla="*/ 969875 h 979589"/>
                <a:gd name="connsiteX11" fmla="*/ 40385 w 1324812"/>
                <a:gd name="connsiteY11" fmla="*/ 979590 h 979589"/>
                <a:gd name="connsiteX12" fmla="*/ 40385 w 1324812"/>
                <a:gd name="connsiteY12" fmla="*/ 979590 h 9795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324812" h="979589">
                  <a:moveTo>
                    <a:pt x="40385" y="979590"/>
                  </a:moveTo>
                  <a:cubicBezTo>
                    <a:pt x="51719" y="979590"/>
                    <a:pt x="63054" y="974827"/>
                    <a:pt x="71055" y="965493"/>
                  </a:cubicBezTo>
                  <a:lnTo>
                    <a:pt x="812957" y="99004"/>
                  </a:lnTo>
                  <a:lnTo>
                    <a:pt x="1256632" y="519247"/>
                  </a:lnTo>
                  <a:cubicBezTo>
                    <a:pt x="1272825" y="534582"/>
                    <a:pt x="1298351" y="533915"/>
                    <a:pt x="1313782" y="517627"/>
                  </a:cubicBezTo>
                  <a:cubicBezTo>
                    <a:pt x="1329117" y="501435"/>
                    <a:pt x="1328355" y="475813"/>
                    <a:pt x="1312163" y="460477"/>
                  </a:cubicBezTo>
                  <a:lnTo>
                    <a:pt x="837722" y="11088"/>
                  </a:lnTo>
                  <a:cubicBezTo>
                    <a:pt x="829721" y="3468"/>
                    <a:pt x="818387" y="-437"/>
                    <a:pt x="807909" y="39"/>
                  </a:cubicBezTo>
                  <a:cubicBezTo>
                    <a:pt x="796860" y="610"/>
                    <a:pt x="786573" y="5754"/>
                    <a:pt x="779334" y="14136"/>
                  </a:cubicBezTo>
                  <a:lnTo>
                    <a:pt x="9714" y="912915"/>
                  </a:lnTo>
                  <a:cubicBezTo>
                    <a:pt x="-4764" y="929869"/>
                    <a:pt x="-2859" y="955396"/>
                    <a:pt x="14096" y="969875"/>
                  </a:cubicBezTo>
                  <a:cubicBezTo>
                    <a:pt x="21716" y="976351"/>
                    <a:pt x="31050" y="979590"/>
                    <a:pt x="40385" y="979590"/>
                  </a:cubicBezTo>
                  <a:lnTo>
                    <a:pt x="40385" y="979590"/>
                  </a:lnTo>
                  <a:close/>
                </a:path>
              </a:pathLst>
            </a:custGeom>
            <a:solidFill>
              <a:schemeClr val="tx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1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121" name="Textfeld 12">
            <a:extLst>
              <a:ext uri="{FF2B5EF4-FFF2-40B4-BE49-F238E27FC236}">
                <a16:creationId xmlns:a16="http://schemas.microsoft.com/office/drawing/2014/main" id="{65410FDC-CE9A-C269-0D40-60C8FB05CBDF}"/>
              </a:ext>
            </a:extLst>
          </p:cNvPr>
          <p:cNvSpPr txBox="1"/>
          <p:nvPr/>
        </p:nvSpPr>
        <p:spPr>
          <a:xfrm>
            <a:off x="1190426" y="1289912"/>
            <a:ext cx="1386000" cy="469359"/>
          </a:xfrm>
          <a:prstGeom prst="rect">
            <a:avLst/>
          </a:prstGeom>
          <a:noFill/>
          <a:effectLst/>
        </p:spPr>
        <p:txBody>
          <a:bodyPr wrap="square" lIns="0" tIns="0" rIns="0" bIns="0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0" cap="none" spc="0" normalizeH="0" baseline="0" noProof="0" dirty="0">
                <a:ln>
                  <a:noFill/>
                </a:ln>
                <a:solidFill>
                  <a:srgbClr val="004DBF"/>
                </a:solidFill>
                <a:effectLst/>
                <a:uLnTx/>
                <a:uFillTx/>
              </a:rPr>
              <a:t>Core P-C RI 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rPr>
              <a:t>Leading global reinsurer</a:t>
            </a:r>
            <a:br>
              <a:rPr kumimoji="0" lang="en-GB" sz="900" b="0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rPr>
            </a:br>
            <a:r>
              <a:rPr kumimoji="0" lang="en-GB" sz="900" b="0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rPr>
              <a:t>in Property-casualty.</a:t>
            </a:r>
          </a:p>
        </p:txBody>
      </p:sp>
      <p:sp>
        <p:nvSpPr>
          <p:cNvPr id="122" name="Freihandform: Form 108">
            <a:extLst>
              <a:ext uri="{FF2B5EF4-FFF2-40B4-BE49-F238E27FC236}">
                <a16:creationId xmlns:a16="http://schemas.microsoft.com/office/drawing/2014/main" id="{A7CE1834-0D85-650F-6B2D-C1B1DC09636D}"/>
              </a:ext>
            </a:extLst>
          </p:cNvPr>
          <p:cNvSpPr/>
          <p:nvPr/>
        </p:nvSpPr>
        <p:spPr>
          <a:xfrm flipH="1">
            <a:off x="3725656" y="2182100"/>
            <a:ext cx="1266601" cy="2357964"/>
          </a:xfrm>
          <a:custGeom>
            <a:avLst/>
            <a:gdLst>
              <a:gd name="connsiteX0" fmla="*/ 1536305 w 1647131"/>
              <a:gd name="connsiteY0" fmla="*/ 0 h 3066376"/>
              <a:gd name="connsiteX1" fmla="*/ 1647131 w 1647131"/>
              <a:gd name="connsiteY1" fmla="*/ 0 h 3066376"/>
              <a:gd name="connsiteX2" fmla="*/ 1647131 w 1647131"/>
              <a:gd name="connsiteY2" fmla="*/ 2286 h 3066376"/>
              <a:gd name="connsiteX3" fmla="*/ 113112 w 1647131"/>
              <a:gd name="connsiteY3" fmla="*/ 1536305 h 3066376"/>
              <a:gd name="connsiteX4" fmla="*/ 1643183 w 1647131"/>
              <a:gd name="connsiteY4" fmla="*/ 3066376 h 3066376"/>
              <a:gd name="connsiteX5" fmla="*/ 1530071 w 1647131"/>
              <a:gd name="connsiteY5" fmla="*/ 3066376 h 3066376"/>
              <a:gd name="connsiteX6" fmla="*/ 0 w 1647131"/>
              <a:gd name="connsiteY6" fmla="*/ 1536305 h 30663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647131" h="3066376">
                <a:moveTo>
                  <a:pt x="1536305" y="0"/>
                </a:moveTo>
                <a:lnTo>
                  <a:pt x="1647131" y="0"/>
                </a:lnTo>
                <a:lnTo>
                  <a:pt x="1647131" y="2286"/>
                </a:lnTo>
                <a:lnTo>
                  <a:pt x="113112" y="1536305"/>
                </a:lnTo>
                <a:lnTo>
                  <a:pt x="1643183" y="3066376"/>
                </a:lnTo>
                <a:lnTo>
                  <a:pt x="1530071" y="3066376"/>
                </a:lnTo>
                <a:lnTo>
                  <a:pt x="0" y="1536305"/>
                </a:lnTo>
                <a:close/>
              </a:path>
            </a:pathLst>
          </a:custGeom>
          <a:gradFill>
            <a:gsLst>
              <a:gs pos="50000">
                <a:sysClr val="window" lastClr="FFFFFF">
                  <a:alpha val="80000"/>
                </a:sysClr>
              </a:gs>
              <a:gs pos="10000">
                <a:sysClr val="window" lastClr="FFFFFF">
                  <a:alpha val="0"/>
                </a:sysClr>
              </a:gs>
              <a:gs pos="90000">
                <a:sysClr val="window" lastClr="FFFFFF">
                  <a:alpha val="0"/>
                </a:sysClr>
              </a:gs>
            </a:gsLst>
            <a:lin ang="5400000" scaled="1"/>
          </a:gradFill>
          <a:ln w="9525" cap="flat" cmpd="sng" algn="ctr">
            <a:noFill/>
            <a:prstDash val="solid"/>
            <a:miter lim="800000"/>
          </a:ln>
          <a:effectLst/>
        </p:spPr>
        <p:txBody>
          <a:bodyPr wrap="square" rtlCol="0" anchor="ctr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Arial Unicode MS"/>
              <a:cs typeface="Arial"/>
            </a:endParaRPr>
          </a:p>
        </p:txBody>
      </p:sp>
      <p:sp>
        <p:nvSpPr>
          <p:cNvPr id="123" name="Freihandform: Form 109">
            <a:extLst>
              <a:ext uri="{FF2B5EF4-FFF2-40B4-BE49-F238E27FC236}">
                <a16:creationId xmlns:a16="http://schemas.microsoft.com/office/drawing/2014/main" id="{C6BA1684-2D7A-F7A0-BBB3-D54B1647A583}"/>
              </a:ext>
            </a:extLst>
          </p:cNvPr>
          <p:cNvSpPr/>
          <p:nvPr/>
        </p:nvSpPr>
        <p:spPr>
          <a:xfrm flipH="1">
            <a:off x="3265263" y="2182100"/>
            <a:ext cx="1266601" cy="2357964"/>
          </a:xfrm>
          <a:custGeom>
            <a:avLst/>
            <a:gdLst>
              <a:gd name="connsiteX0" fmla="*/ 1536305 w 1647131"/>
              <a:gd name="connsiteY0" fmla="*/ 0 h 3066376"/>
              <a:gd name="connsiteX1" fmla="*/ 1647131 w 1647131"/>
              <a:gd name="connsiteY1" fmla="*/ 0 h 3066376"/>
              <a:gd name="connsiteX2" fmla="*/ 1647131 w 1647131"/>
              <a:gd name="connsiteY2" fmla="*/ 2286 h 3066376"/>
              <a:gd name="connsiteX3" fmla="*/ 113112 w 1647131"/>
              <a:gd name="connsiteY3" fmla="*/ 1536305 h 3066376"/>
              <a:gd name="connsiteX4" fmla="*/ 1643183 w 1647131"/>
              <a:gd name="connsiteY4" fmla="*/ 3066376 h 3066376"/>
              <a:gd name="connsiteX5" fmla="*/ 1530071 w 1647131"/>
              <a:gd name="connsiteY5" fmla="*/ 3066376 h 3066376"/>
              <a:gd name="connsiteX6" fmla="*/ 0 w 1647131"/>
              <a:gd name="connsiteY6" fmla="*/ 1536305 h 30663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647131" h="3066376">
                <a:moveTo>
                  <a:pt x="1536305" y="0"/>
                </a:moveTo>
                <a:lnTo>
                  <a:pt x="1647131" y="0"/>
                </a:lnTo>
                <a:lnTo>
                  <a:pt x="1647131" y="2286"/>
                </a:lnTo>
                <a:lnTo>
                  <a:pt x="113112" y="1536305"/>
                </a:lnTo>
                <a:lnTo>
                  <a:pt x="1643183" y="3066376"/>
                </a:lnTo>
                <a:lnTo>
                  <a:pt x="1530071" y="3066376"/>
                </a:lnTo>
                <a:lnTo>
                  <a:pt x="0" y="1536305"/>
                </a:lnTo>
                <a:close/>
              </a:path>
            </a:pathLst>
          </a:custGeom>
          <a:gradFill>
            <a:gsLst>
              <a:gs pos="50000">
                <a:sysClr val="window" lastClr="FFFFFF">
                  <a:alpha val="55000"/>
                </a:sysClr>
              </a:gs>
              <a:gs pos="10000">
                <a:sysClr val="window" lastClr="FFFFFF">
                  <a:alpha val="0"/>
                </a:sysClr>
              </a:gs>
              <a:gs pos="90000">
                <a:sysClr val="window" lastClr="FFFFFF">
                  <a:alpha val="0"/>
                </a:sysClr>
              </a:gs>
            </a:gsLst>
            <a:lin ang="5400000" scaled="1"/>
          </a:gradFill>
          <a:ln w="9525" cap="flat" cmpd="sng" algn="ctr">
            <a:noFill/>
            <a:prstDash val="solid"/>
            <a:miter lim="800000"/>
          </a:ln>
          <a:effectLst/>
        </p:spPr>
        <p:txBody>
          <a:bodyPr wrap="square" rtlCol="0" anchor="ctr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Arial Unicode MS"/>
              <a:cs typeface="Arial"/>
            </a:endParaRPr>
          </a:p>
        </p:txBody>
      </p:sp>
      <p:sp>
        <p:nvSpPr>
          <p:cNvPr id="124" name="Freihandform: Form 111">
            <a:extLst>
              <a:ext uri="{FF2B5EF4-FFF2-40B4-BE49-F238E27FC236}">
                <a16:creationId xmlns:a16="http://schemas.microsoft.com/office/drawing/2014/main" id="{CFF7F72B-6258-1093-9192-DDFF12D94BD7}"/>
              </a:ext>
            </a:extLst>
          </p:cNvPr>
          <p:cNvSpPr/>
          <p:nvPr/>
        </p:nvSpPr>
        <p:spPr>
          <a:xfrm flipH="1">
            <a:off x="2804869" y="2182100"/>
            <a:ext cx="1266601" cy="2357964"/>
          </a:xfrm>
          <a:custGeom>
            <a:avLst/>
            <a:gdLst>
              <a:gd name="connsiteX0" fmla="*/ 1536305 w 1647131"/>
              <a:gd name="connsiteY0" fmla="*/ 0 h 3066376"/>
              <a:gd name="connsiteX1" fmla="*/ 1647131 w 1647131"/>
              <a:gd name="connsiteY1" fmla="*/ 0 h 3066376"/>
              <a:gd name="connsiteX2" fmla="*/ 1647131 w 1647131"/>
              <a:gd name="connsiteY2" fmla="*/ 2286 h 3066376"/>
              <a:gd name="connsiteX3" fmla="*/ 113112 w 1647131"/>
              <a:gd name="connsiteY3" fmla="*/ 1536305 h 3066376"/>
              <a:gd name="connsiteX4" fmla="*/ 1643183 w 1647131"/>
              <a:gd name="connsiteY4" fmla="*/ 3066376 h 3066376"/>
              <a:gd name="connsiteX5" fmla="*/ 1530071 w 1647131"/>
              <a:gd name="connsiteY5" fmla="*/ 3066376 h 3066376"/>
              <a:gd name="connsiteX6" fmla="*/ 0 w 1647131"/>
              <a:gd name="connsiteY6" fmla="*/ 1536305 h 30663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647131" h="3066376">
                <a:moveTo>
                  <a:pt x="1536305" y="0"/>
                </a:moveTo>
                <a:lnTo>
                  <a:pt x="1647131" y="0"/>
                </a:lnTo>
                <a:lnTo>
                  <a:pt x="1647131" y="2286"/>
                </a:lnTo>
                <a:lnTo>
                  <a:pt x="113112" y="1536305"/>
                </a:lnTo>
                <a:lnTo>
                  <a:pt x="1643183" y="3066376"/>
                </a:lnTo>
                <a:lnTo>
                  <a:pt x="1530071" y="3066376"/>
                </a:lnTo>
                <a:lnTo>
                  <a:pt x="0" y="1536305"/>
                </a:lnTo>
                <a:close/>
              </a:path>
            </a:pathLst>
          </a:custGeom>
          <a:gradFill>
            <a:gsLst>
              <a:gs pos="50000">
                <a:sysClr val="window" lastClr="FFFFFF">
                  <a:alpha val="41000"/>
                </a:sysClr>
              </a:gs>
              <a:gs pos="10000">
                <a:sysClr val="window" lastClr="FFFFFF">
                  <a:alpha val="0"/>
                </a:sysClr>
              </a:gs>
              <a:gs pos="90000">
                <a:srgbClr val="EFF0F2">
                  <a:alpha val="0"/>
                </a:srgbClr>
              </a:gs>
            </a:gsLst>
            <a:lin ang="5400000" scaled="1"/>
          </a:gradFill>
          <a:ln w="9525" cap="flat" cmpd="sng" algn="ctr">
            <a:noFill/>
            <a:prstDash val="solid"/>
            <a:miter lim="800000"/>
          </a:ln>
          <a:effectLst/>
        </p:spPr>
        <p:txBody>
          <a:bodyPr wrap="square" rtlCol="0" anchor="ctr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Arial Unicode MS"/>
              <a:cs typeface="Arial"/>
            </a:endParaRPr>
          </a:p>
        </p:txBody>
      </p:sp>
      <p:cxnSp>
        <p:nvCxnSpPr>
          <p:cNvPr id="125" name="Gerader Verbinder 129">
            <a:extLst>
              <a:ext uri="{FF2B5EF4-FFF2-40B4-BE49-F238E27FC236}">
                <a16:creationId xmlns:a16="http://schemas.microsoft.com/office/drawing/2014/main" id="{5E809848-7420-474B-8B7C-90672EC2C698}"/>
              </a:ext>
            </a:extLst>
          </p:cNvPr>
          <p:cNvCxnSpPr>
            <a:cxnSpLocks/>
          </p:cNvCxnSpPr>
          <p:nvPr/>
        </p:nvCxnSpPr>
        <p:spPr>
          <a:xfrm>
            <a:off x="1" y="2186890"/>
            <a:ext cx="6849580" cy="0"/>
          </a:xfrm>
          <a:prstGeom prst="line">
            <a:avLst/>
          </a:prstGeom>
          <a:noFill/>
          <a:ln w="19050" cap="rnd" cmpd="sng" algn="ctr">
            <a:solidFill>
              <a:srgbClr val="004DBF"/>
            </a:solidFill>
            <a:prstDash val="solid"/>
            <a:miter lim="800000"/>
          </a:ln>
          <a:effectLst/>
        </p:spPr>
      </p:cxnSp>
      <p:cxnSp>
        <p:nvCxnSpPr>
          <p:cNvPr id="126" name="Gerader Verbinder 130">
            <a:extLst>
              <a:ext uri="{FF2B5EF4-FFF2-40B4-BE49-F238E27FC236}">
                <a16:creationId xmlns:a16="http://schemas.microsoft.com/office/drawing/2014/main" id="{3DEBE65F-A1BE-B6B3-5CAF-2A9CE913E0EB}"/>
              </a:ext>
            </a:extLst>
          </p:cNvPr>
          <p:cNvCxnSpPr>
            <a:cxnSpLocks/>
          </p:cNvCxnSpPr>
          <p:nvPr/>
        </p:nvCxnSpPr>
        <p:spPr>
          <a:xfrm>
            <a:off x="1" y="4540066"/>
            <a:ext cx="6849580" cy="0"/>
          </a:xfrm>
          <a:prstGeom prst="line">
            <a:avLst/>
          </a:prstGeom>
          <a:noFill/>
          <a:ln w="19050" cap="rnd" cmpd="sng" algn="ctr">
            <a:solidFill>
              <a:srgbClr val="004DBF"/>
            </a:solidFill>
            <a:prstDash val="solid"/>
            <a:miter lim="800000"/>
          </a:ln>
          <a:effectLst/>
        </p:spPr>
      </p:cxnSp>
      <p:sp>
        <p:nvSpPr>
          <p:cNvPr id="127" name="Textfeld 132">
            <a:extLst>
              <a:ext uri="{FF2B5EF4-FFF2-40B4-BE49-F238E27FC236}">
                <a16:creationId xmlns:a16="http://schemas.microsoft.com/office/drawing/2014/main" id="{A71C9F9D-F5E7-1728-6480-4806E00F1E3E}"/>
              </a:ext>
            </a:extLst>
          </p:cNvPr>
          <p:cNvSpPr txBox="1"/>
          <p:nvPr/>
        </p:nvSpPr>
        <p:spPr>
          <a:xfrm>
            <a:off x="361670" y="2684696"/>
            <a:ext cx="383118" cy="184666"/>
          </a:xfrm>
          <a:prstGeom prst="rect">
            <a:avLst/>
          </a:prstGeom>
          <a:noFill/>
          <a:effectLst/>
        </p:spPr>
        <p:txBody>
          <a:bodyPr wrap="none" lIns="0" tIns="0" rIns="0" bIns="0" rtlCol="0" anchor="t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0" cap="none" spc="0" normalizeH="0" baseline="0" noProof="0" dirty="0">
                <a:ln>
                  <a:noFill/>
                </a:ln>
                <a:solidFill>
                  <a:srgbClr val="004DBF"/>
                </a:solidFill>
                <a:effectLst/>
                <a:uLnTx/>
                <a:uFillTx/>
              </a:rPr>
              <a:t>Scale</a:t>
            </a: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F03F659D-F3A5-7F47-C3E1-64E02984EDA2}"/>
              </a:ext>
            </a:extLst>
          </p:cNvPr>
          <p:cNvGrpSpPr/>
          <p:nvPr/>
        </p:nvGrpSpPr>
        <p:grpSpPr>
          <a:xfrm>
            <a:off x="373616" y="2266990"/>
            <a:ext cx="359226" cy="355962"/>
            <a:chOff x="373616" y="2266990"/>
            <a:chExt cx="359226" cy="355962"/>
          </a:xfrm>
        </p:grpSpPr>
        <p:grpSp>
          <p:nvGrpSpPr>
            <p:cNvPr id="129" name="Gruppieren 135">
              <a:extLst>
                <a:ext uri="{FF2B5EF4-FFF2-40B4-BE49-F238E27FC236}">
                  <a16:creationId xmlns:a16="http://schemas.microsoft.com/office/drawing/2014/main" id="{1B0D2719-406E-0979-ECEA-BB0B02EF5A68}"/>
                </a:ext>
              </a:extLst>
            </p:cNvPr>
            <p:cNvGrpSpPr/>
            <p:nvPr/>
          </p:nvGrpSpPr>
          <p:grpSpPr>
            <a:xfrm>
              <a:off x="409153" y="2308798"/>
              <a:ext cx="286144" cy="314154"/>
              <a:chOff x="567835" y="2160652"/>
              <a:chExt cx="453714" cy="498133"/>
            </a:xfrm>
            <a:solidFill>
              <a:schemeClr val="tx2"/>
            </a:solidFill>
          </p:grpSpPr>
          <p:sp>
            <p:nvSpPr>
              <p:cNvPr id="138" name="Freihandform: Form 147">
                <a:extLst>
                  <a:ext uri="{FF2B5EF4-FFF2-40B4-BE49-F238E27FC236}">
                    <a16:creationId xmlns:a16="http://schemas.microsoft.com/office/drawing/2014/main" id="{2DBDFE69-9AAB-EAF6-06DD-DE90C091B32E}"/>
                  </a:ext>
                </a:extLst>
              </p:cNvPr>
              <p:cNvSpPr/>
              <p:nvPr/>
            </p:nvSpPr>
            <p:spPr>
              <a:xfrm>
                <a:off x="879306" y="2309882"/>
                <a:ext cx="75666" cy="75665"/>
              </a:xfrm>
              <a:custGeom>
                <a:avLst/>
                <a:gdLst>
                  <a:gd name="connsiteX0" fmla="*/ 171450 w 342900"/>
                  <a:gd name="connsiteY0" fmla="*/ 342900 h 342899"/>
                  <a:gd name="connsiteX1" fmla="*/ 0 w 342900"/>
                  <a:gd name="connsiteY1" fmla="*/ 171450 h 342899"/>
                  <a:gd name="connsiteX2" fmla="*/ 171450 w 342900"/>
                  <a:gd name="connsiteY2" fmla="*/ 0 h 342899"/>
                  <a:gd name="connsiteX3" fmla="*/ 342900 w 342900"/>
                  <a:gd name="connsiteY3" fmla="*/ 171450 h 342899"/>
                  <a:gd name="connsiteX4" fmla="*/ 171450 w 342900"/>
                  <a:gd name="connsiteY4" fmla="*/ 342900 h 342899"/>
                  <a:gd name="connsiteX5" fmla="*/ 171450 w 342900"/>
                  <a:gd name="connsiteY5" fmla="*/ 57150 h 342899"/>
                  <a:gd name="connsiteX6" fmla="*/ 57150 w 342900"/>
                  <a:gd name="connsiteY6" fmla="*/ 171450 h 342899"/>
                  <a:gd name="connsiteX7" fmla="*/ 171450 w 342900"/>
                  <a:gd name="connsiteY7" fmla="*/ 285750 h 342899"/>
                  <a:gd name="connsiteX8" fmla="*/ 285750 w 342900"/>
                  <a:gd name="connsiteY8" fmla="*/ 171450 h 342899"/>
                  <a:gd name="connsiteX9" fmla="*/ 171450 w 342900"/>
                  <a:gd name="connsiteY9" fmla="*/ 57150 h 3428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342900" h="342899">
                    <a:moveTo>
                      <a:pt x="171450" y="342900"/>
                    </a:moveTo>
                    <a:cubicBezTo>
                      <a:pt x="76867" y="342900"/>
                      <a:pt x="0" y="266033"/>
                      <a:pt x="0" y="171450"/>
                    </a:cubicBezTo>
                    <a:cubicBezTo>
                      <a:pt x="0" y="76867"/>
                      <a:pt x="76867" y="0"/>
                      <a:pt x="171450" y="0"/>
                    </a:cubicBezTo>
                    <a:cubicBezTo>
                      <a:pt x="266033" y="0"/>
                      <a:pt x="342900" y="76867"/>
                      <a:pt x="342900" y="171450"/>
                    </a:cubicBezTo>
                    <a:cubicBezTo>
                      <a:pt x="342900" y="266033"/>
                      <a:pt x="266033" y="342900"/>
                      <a:pt x="171450" y="342900"/>
                    </a:cubicBezTo>
                    <a:close/>
                    <a:moveTo>
                      <a:pt x="171450" y="57150"/>
                    </a:moveTo>
                    <a:cubicBezTo>
                      <a:pt x="108395" y="57150"/>
                      <a:pt x="57150" y="108394"/>
                      <a:pt x="57150" y="171450"/>
                    </a:cubicBezTo>
                    <a:cubicBezTo>
                      <a:pt x="57150" y="234506"/>
                      <a:pt x="108395" y="285750"/>
                      <a:pt x="171450" y="285750"/>
                    </a:cubicBezTo>
                    <a:cubicBezTo>
                      <a:pt x="234505" y="285750"/>
                      <a:pt x="285750" y="234506"/>
                      <a:pt x="285750" y="171450"/>
                    </a:cubicBezTo>
                    <a:cubicBezTo>
                      <a:pt x="285750" y="108394"/>
                      <a:pt x="234505" y="57150"/>
                      <a:pt x="171450" y="5715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2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9" name="Freihandform: Form 148">
                <a:extLst>
                  <a:ext uri="{FF2B5EF4-FFF2-40B4-BE49-F238E27FC236}">
                    <a16:creationId xmlns:a16="http://schemas.microsoft.com/office/drawing/2014/main" id="{5EDC4164-59EE-B173-543D-00F2CFDC6EA7}"/>
                  </a:ext>
                </a:extLst>
              </p:cNvPr>
              <p:cNvSpPr/>
              <p:nvPr/>
            </p:nvSpPr>
            <p:spPr>
              <a:xfrm>
                <a:off x="656512" y="2646174"/>
                <a:ext cx="277441" cy="12611"/>
              </a:xfrm>
              <a:custGeom>
                <a:avLst/>
                <a:gdLst>
                  <a:gd name="connsiteX0" fmla="*/ 1228725 w 1257300"/>
                  <a:gd name="connsiteY0" fmla="*/ 57150 h 57150"/>
                  <a:gd name="connsiteX1" fmla="*/ 28575 w 1257300"/>
                  <a:gd name="connsiteY1" fmla="*/ 57150 h 57150"/>
                  <a:gd name="connsiteX2" fmla="*/ 0 w 1257300"/>
                  <a:gd name="connsiteY2" fmla="*/ 28575 h 57150"/>
                  <a:gd name="connsiteX3" fmla="*/ 28575 w 1257300"/>
                  <a:gd name="connsiteY3" fmla="*/ 0 h 57150"/>
                  <a:gd name="connsiteX4" fmla="*/ 1228725 w 1257300"/>
                  <a:gd name="connsiteY4" fmla="*/ 0 h 57150"/>
                  <a:gd name="connsiteX5" fmla="*/ 1257300 w 1257300"/>
                  <a:gd name="connsiteY5" fmla="*/ 28575 h 57150"/>
                  <a:gd name="connsiteX6" fmla="*/ 1228725 w 1257300"/>
                  <a:gd name="connsiteY6" fmla="*/ 57150 h 57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257300" h="57150">
                    <a:moveTo>
                      <a:pt x="1228725" y="57150"/>
                    </a:moveTo>
                    <a:lnTo>
                      <a:pt x="28575" y="57150"/>
                    </a:lnTo>
                    <a:cubicBezTo>
                      <a:pt x="12763" y="57150"/>
                      <a:pt x="0" y="44387"/>
                      <a:pt x="0" y="28575"/>
                    </a:cubicBezTo>
                    <a:cubicBezTo>
                      <a:pt x="0" y="12763"/>
                      <a:pt x="12763" y="0"/>
                      <a:pt x="28575" y="0"/>
                    </a:cubicBezTo>
                    <a:lnTo>
                      <a:pt x="1228725" y="0"/>
                    </a:lnTo>
                    <a:cubicBezTo>
                      <a:pt x="1244537" y="0"/>
                      <a:pt x="1257300" y="12763"/>
                      <a:pt x="1257300" y="28575"/>
                    </a:cubicBezTo>
                    <a:cubicBezTo>
                      <a:pt x="1257300" y="44387"/>
                      <a:pt x="1244537" y="57150"/>
                      <a:pt x="1228725" y="5715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2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40" name="Freihandform: Form 149">
                <a:extLst>
                  <a:ext uri="{FF2B5EF4-FFF2-40B4-BE49-F238E27FC236}">
                    <a16:creationId xmlns:a16="http://schemas.microsoft.com/office/drawing/2014/main" id="{E8A5C856-F4E8-D1E6-368D-E1292E64D793}"/>
                  </a:ext>
                </a:extLst>
              </p:cNvPr>
              <p:cNvSpPr/>
              <p:nvPr/>
            </p:nvSpPr>
            <p:spPr>
              <a:xfrm>
                <a:off x="635494" y="2309882"/>
                <a:ext cx="75666" cy="75665"/>
              </a:xfrm>
              <a:custGeom>
                <a:avLst/>
                <a:gdLst>
                  <a:gd name="connsiteX0" fmla="*/ 171450 w 342900"/>
                  <a:gd name="connsiteY0" fmla="*/ 342900 h 342899"/>
                  <a:gd name="connsiteX1" fmla="*/ 0 w 342900"/>
                  <a:gd name="connsiteY1" fmla="*/ 171450 h 342899"/>
                  <a:gd name="connsiteX2" fmla="*/ 171450 w 342900"/>
                  <a:gd name="connsiteY2" fmla="*/ 0 h 342899"/>
                  <a:gd name="connsiteX3" fmla="*/ 342900 w 342900"/>
                  <a:gd name="connsiteY3" fmla="*/ 171450 h 342899"/>
                  <a:gd name="connsiteX4" fmla="*/ 171450 w 342900"/>
                  <a:gd name="connsiteY4" fmla="*/ 342900 h 342899"/>
                  <a:gd name="connsiteX5" fmla="*/ 171450 w 342900"/>
                  <a:gd name="connsiteY5" fmla="*/ 57150 h 342899"/>
                  <a:gd name="connsiteX6" fmla="*/ 57150 w 342900"/>
                  <a:gd name="connsiteY6" fmla="*/ 171450 h 342899"/>
                  <a:gd name="connsiteX7" fmla="*/ 171450 w 342900"/>
                  <a:gd name="connsiteY7" fmla="*/ 285750 h 342899"/>
                  <a:gd name="connsiteX8" fmla="*/ 285750 w 342900"/>
                  <a:gd name="connsiteY8" fmla="*/ 171450 h 342899"/>
                  <a:gd name="connsiteX9" fmla="*/ 171450 w 342900"/>
                  <a:gd name="connsiteY9" fmla="*/ 57150 h 3428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342900" h="342899">
                    <a:moveTo>
                      <a:pt x="171450" y="342900"/>
                    </a:moveTo>
                    <a:cubicBezTo>
                      <a:pt x="76867" y="342900"/>
                      <a:pt x="0" y="266033"/>
                      <a:pt x="0" y="171450"/>
                    </a:cubicBezTo>
                    <a:cubicBezTo>
                      <a:pt x="0" y="76867"/>
                      <a:pt x="76867" y="0"/>
                      <a:pt x="171450" y="0"/>
                    </a:cubicBezTo>
                    <a:cubicBezTo>
                      <a:pt x="266033" y="0"/>
                      <a:pt x="342900" y="76867"/>
                      <a:pt x="342900" y="171450"/>
                    </a:cubicBezTo>
                    <a:cubicBezTo>
                      <a:pt x="342900" y="266033"/>
                      <a:pt x="266033" y="342900"/>
                      <a:pt x="171450" y="342900"/>
                    </a:cubicBezTo>
                    <a:close/>
                    <a:moveTo>
                      <a:pt x="171450" y="57150"/>
                    </a:moveTo>
                    <a:cubicBezTo>
                      <a:pt x="108394" y="57150"/>
                      <a:pt x="57150" y="108394"/>
                      <a:pt x="57150" y="171450"/>
                    </a:cubicBezTo>
                    <a:cubicBezTo>
                      <a:pt x="57150" y="234506"/>
                      <a:pt x="108394" y="285750"/>
                      <a:pt x="171450" y="285750"/>
                    </a:cubicBezTo>
                    <a:cubicBezTo>
                      <a:pt x="234506" y="285750"/>
                      <a:pt x="285750" y="234506"/>
                      <a:pt x="285750" y="171450"/>
                    </a:cubicBezTo>
                    <a:cubicBezTo>
                      <a:pt x="285750" y="108394"/>
                      <a:pt x="234506" y="57150"/>
                      <a:pt x="171450" y="5715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2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41" name="Freihandform: Form 151">
                <a:extLst>
                  <a:ext uri="{FF2B5EF4-FFF2-40B4-BE49-F238E27FC236}">
                    <a16:creationId xmlns:a16="http://schemas.microsoft.com/office/drawing/2014/main" id="{853FEC67-9340-4177-9E57-FE3949C2B258}"/>
                  </a:ext>
                </a:extLst>
              </p:cNvPr>
              <p:cNvSpPr/>
              <p:nvPr/>
            </p:nvSpPr>
            <p:spPr>
              <a:xfrm>
                <a:off x="788927" y="2307780"/>
                <a:ext cx="12611" cy="351005"/>
              </a:xfrm>
              <a:custGeom>
                <a:avLst/>
                <a:gdLst>
                  <a:gd name="connsiteX0" fmla="*/ 28575 w 57150"/>
                  <a:gd name="connsiteY0" fmla="*/ 1590675 h 1590675"/>
                  <a:gd name="connsiteX1" fmla="*/ 0 w 57150"/>
                  <a:gd name="connsiteY1" fmla="*/ 1562100 h 1590675"/>
                  <a:gd name="connsiteX2" fmla="*/ 0 w 57150"/>
                  <a:gd name="connsiteY2" fmla="*/ 28575 h 1590675"/>
                  <a:gd name="connsiteX3" fmla="*/ 28575 w 57150"/>
                  <a:gd name="connsiteY3" fmla="*/ 0 h 1590675"/>
                  <a:gd name="connsiteX4" fmla="*/ 57150 w 57150"/>
                  <a:gd name="connsiteY4" fmla="*/ 28575 h 1590675"/>
                  <a:gd name="connsiteX5" fmla="*/ 57150 w 57150"/>
                  <a:gd name="connsiteY5" fmla="*/ 1562100 h 1590675"/>
                  <a:gd name="connsiteX6" fmla="*/ 28575 w 57150"/>
                  <a:gd name="connsiteY6" fmla="*/ 1590675 h 15906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57150" h="1590675">
                    <a:moveTo>
                      <a:pt x="28575" y="1590675"/>
                    </a:moveTo>
                    <a:cubicBezTo>
                      <a:pt x="12763" y="1590675"/>
                      <a:pt x="0" y="1577912"/>
                      <a:pt x="0" y="1562100"/>
                    </a:cubicBezTo>
                    <a:lnTo>
                      <a:pt x="0" y="28575"/>
                    </a:lnTo>
                    <a:cubicBezTo>
                      <a:pt x="0" y="12763"/>
                      <a:pt x="12763" y="0"/>
                      <a:pt x="28575" y="0"/>
                    </a:cubicBezTo>
                    <a:cubicBezTo>
                      <a:pt x="44387" y="0"/>
                      <a:pt x="57150" y="12763"/>
                      <a:pt x="57150" y="28575"/>
                    </a:cubicBezTo>
                    <a:lnTo>
                      <a:pt x="57150" y="1562100"/>
                    </a:lnTo>
                    <a:cubicBezTo>
                      <a:pt x="57150" y="1577912"/>
                      <a:pt x="44387" y="1590675"/>
                      <a:pt x="28575" y="1590675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2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42" name="Freihandform: Form 154">
                <a:extLst>
                  <a:ext uri="{FF2B5EF4-FFF2-40B4-BE49-F238E27FC236}">
                    <a16:creationId xmlns:a16="http://schemas.microsoft.com/office/drawing/2014/main" id="{C6A0D7B6-DEEE-A1EB-3B32-4BCBAFE60D94}"/>
                  </a:ext>
                </a:extLst>
              </p:cNvPr>
              <p:cNvSpPr/>
              <p:nvPr/>
            </p:nvSpPr>
            <p:spPr>
              <a:xfrm>
                <a:off x="757168" y="2241489"/>
                <a:ext cx="75666" cy="75666"/>
              </a:xfrm>
              <a:custGeom>
                <a:avLst/>
                <a:gdLst>
                  <a:gd name="connsiteX0" fmla="*/ 171450 w 342900"/>
                  <a:gd name="connsiteY0" fmla="*/ 342900 h 342900"/>
                  <a:gd name="connsiteX1" fmla="*/ 0 w 342900"/>
                  <a:gd name="connsiteY1" fmla="*/ 171450 h 342900"/>
                  <a:gd name="connsiteX2" fmla="*/ 171450 w 342900"/>
                  <a:gd name="connsiteY2" fmla="*/ 0 h 342900"/>
                  <a:gd name="connsiteX3" fmla="*/ 342900 w 342900"/>
                  <a:gd name="connsiteY3" fmla="*/ 171450 h 342900"/>
                  <a:gd name="connsiteX4" fmla="*/ 171450 w 342900"/>
                  <a:gd name="connsiteY4" fmla="*/ 342900 h 342900"/>
                  <a:gd name="connsiteX5" fmla="*/ 171450 w 342900"/>
                  <a:gd name="connsiteY5" fmla="*/ 57150 h 342900"/>
                  <a:gd name="connsiteX6" fmla="*/ 57150 w 342900"/>
                  <a:gd name="connsiteY6" fmla="*/ 171450 h 342900"/>
                  <a:gd name="connsiteX7" fmla="*/ 171450 w 342900"/>
                  <a:gd name="connsiteY7" fmla="*/ 285750 h 342900"/>
                  <a:gd name="connsiteX8" fmla="*/ 285750 w 342900"/>
                  <a:gd name="connsiteY8" fmla="*/ 171450 h 342900"/>
                  <a:gd name="connsiteX9" fmla="*/ 171450 w 342900"/>
                  <a:gd name="connsiteY9" fmla="*/ 57150 h 3429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342900" h="342900">
                    <a:moveTo>
                      <a:pt x="171450" y="342900"/>
                    </a:moveTo>
                    <a:cubicBezTo>
                      <a:pt x="76867" y="342900"/>
                      <a:pt x="0" y="266033"/>
                      <a:pt x="0" y="171450"/>
                    </a:cubicBezTo>
                    <a:cubicBezTo>
                      <a:pt x="0" y="76867"/>
                      <a:pt x="76867" y="0"/>
                      <a:pt x="171450" y="0"/>
                    </a:cubicBezTo>
                    <a:cubicBezTo>
                      <a:pt x="266033" y="0"/>
                      <a:pt x="342900" y="76867"/>
                      <a:pt x="342900" y="171450"/>
                    </a:cubicBezTo>
                    <a:cubicBezTo>
                      <a:pt x="342900" y="266033"/>
                      <a:pt x="266033" y="342900"/>
                      <a:pt x="171450" y="342900"/>
                    </a:cubicBezTo>
                    <a:close/>
                    <a:moveTo>
                      <a:pt x="171450" y="57150"/>
                    </a:moveTo>
                    <a:cubicBezTo>
                      <a:pt x="108395" y="57150"/>
                      <a:pt x="57150" y="108394"/>
                      <a:pt x="57150" y="171450"/>
                    </a:cubicBezTo>
                    <a:cubicBezTo>
                      <a:pt x="57150" y="234506"/>
                      <a:pt x="108395" y="285750"/>
                      <a:pt x="171450" y="285750"/>
                    </a:cubicBezTo>
                    <a:cubicBezTo>
                      <a:pt x="234505" y="285750"/>
                      <a:pt x="285750" y="234506"/>
                      <a:pt x="285750" y="171450"/>
                    </a:cubicBezTo>
                    <a:cubicBezTo>
                      <a:pt x="285750" y="108394"/>
                      <a:pt x="234505" y="57150"/>
                      <a:pt x="171450" y="5715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2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43" name="Freihandform: Form 157">
                <a:extLst>
                  <a:ext uri="{FF2B5EF4-FFF2-40B4-BE49-F238E27FC236}">
                    <a16:creationId xmlns:a16="http://schemas.microsoft.com/office/drawing/2014/main" id="{BA73BA54-1AA9-5319-AD23-5A19603D6FDC}"/>
                  </a:ext>
                </a:extLst>
              </p:cNvPr>
              <p:cNvSpPr/>
              <p:nvPr/>
            </p:nvSpPr>
            <p:spPr>
              <a:xfrm>
                <a:off x="788927" y="2160652"/>
                <a:ext cx="12611" cy="88277"/>
              </a:xfrm>
              <a:custGeom>
                <a:avLst/>
                <a:gdLst>
                  <a:gd name="connsiteX0" fmla="*/ 28575 w 57150"/>
                  <a:gd name="connsiteY0" fmla="*/ 400050 h 400050"/>
                  <a:gd name="connsiteX1" fmla="*/ 0 w 57150"/>
                  <a:gd name="connsiteY1" fmla="*/ 371475 h 400050"/>
                  <a:gd name="connsiteX2" fmla="*/ 0 w 57150"/>
                  <a:gd name="connsiteY2" fmla="*/ 28575 h 400050"/>
                  <a:gd name="connsiteX3" fmla="*/ 28575 w 57150"/>
                  <a:gd name="connsiteY3" fmla="*/ 0 h 400050"/>
                  <a:gd name="connsiteX4" fmla="*/ 57150 w 57150"/>
                  <a:gd name="connsiteY4" fmla="*/ 28575 h 400050"/>
                  <a:gd name="connsiteX5" fmla="*/ 57150 w 57150"/>
                  <a:gd name="connsiteY5" fmla="*/ 371475 h 400050"/>
                  <a:gd name="connsiteX6" fmla="*/ 28575 w 57150"/>
                  <a:gd name="connsiteY6" fmla="*/ 400050 h 400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57150" h="400050">
                    <a:moveTo>
                      <a:pt x="28575" y="400050"/>
                    </a:moveTo>
                    <a:cubicBezTo>
                      <a:pt x="12763" y="400050"/>
                      <a:pt x="0" y="387286"/>
                      <a:pt x="0" y="371475"/>
                    </a:cubicBezTo>
                    <a:lnTo>
                      <a:pt x="0" y="28575"/>
                    </a:lnTo>
                    <a:cubicBezTo>
                      <a:pt x="0" y="12764"/>
                      <a:pt x="12763" y="0"/>
                      <a:pt x="28575" y="0"/>
                    </a:cubicBezTo>
                    <a:cubicBezTo>
                      <a:pt x="44387" y="0"/>
                      <a:pt x="57150" y="12764"/>
                      <a:pt x="57150" y="28575"/>
                    </a:cubicBezTo>
                    <a:lnTo>
                      <a:pt x="57150" y="371475"/>
                    </a:lnTo>
                    <a:cubicBezTo>
                      <a:pt x="57150" y="387286"/>
                      <a:pt x="44387" y="400050"/>
                      <a:pt x="28575" y="40005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2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grpSp>
            <p:nvGrpSpPr>
              <p:cNvPr id="144" name="Grafik 5">
                <a:extLst>
                  <a:ext uri="{FF2B5EF4-FFF2-40B4-BE49-F238E27FC236}">
                    <a16:creationId xmlns:a16="http://schemas.microsoft.com/office/drawing/2014/main" id="{260163DA-C264-3ED1-25E5-A8934711E081}"/>
                  </a:ext>
                </a:extLst>
              </p:cNvPr>
              <p:cNvGrpSpPr/>
              <p:nvPr/>
            </p:nvGrpSpPr>
            <p:grpSpPr>
              <a:xfrm>
                <a:off x="567835" y="2181684"/>
                <a:ext cx="233710" cy="279530"/>
                <a:chOff x="3536721" y="1686363"/>
                <a:chExt cx="1059122" cy="1266766"/>
              </a:xfrm>
              <a:grpFill/>
            </p:grpSpPr>
            <p:sp>
              <p:nvSpPr>
                <p:cNvPr id="150" name="Freihandform: Form 180">
                  <a:extLst>
                    <a:ext uri="{FF2B5EF4-FFF2-40B4-BE49-F238E27FC236}">
                      <a16:creationId xmlns:a16="http://schemas.microsoft.com/office/drawing/2014/main" id="{0412DF00-083C-DD8F-E7EE-B6716186393E}"/>
                    </a:ext>
                  </a:extLst>
                </p:cNvPr>
                <p:cNvSpPr/>
                <p:nvPr/>
              </p:nvSpPr>
              <p:spPr>
                <a:xfrm>
                  <a:off x="4091049" y="2514948"/>
                  <a:ext cx="504794" cy="438182"/>
                </a:xfrm>
                <a:custGeom>
                  <a:avLst/>
                  <a:gdLst>
                    <a:gd name="connsiteX0" fmla="*/ 476187 w 504794"/>
                    <a:gd name="connsiteY0" fmla="*/ 438182 h 438182"/>
                    <a:gd name="connsiteX1" fmla="*/ 457709 w 504794"/>
                    <a:gd name="connsiteY1" fmla="*/ 431324 h 438182"/>
                    <a:gd name="connsiteX2" fmla="*/ 10034 w 504794"/>
                    <a:gd name="connsiteY2" fmla="*/ 50324 h 438182"/>
                    <a:gd name="connsiteX3" fmla="*/ 6795 w 504794"/>
                    <a:gd name="connsiteY3" fmla="*/ 10034 h 438182"/>
                    <a:gd name="connsiteX4" fmla="*/ 47086 w 504794"/>
                    <a:gd name="connsiteY4" fmla="*/ 6795 h 438182"/>
                    <a:gd name="connsiteX5" fmla="*/ 494761 w 504794"/>
                    <a:gd name="connsiteY5" fmla="*/ 387795 h 438182"/>
                    <a:gd name="connsiteX6" fmla="*/ 497999 w 504794"/>
                    <a:gd name="connsiteY6" fmla="*/ 428086 h 438182"/>
                    <a:gd name="connsiteX7" fmla="*/ 476187 w 504794"/>
                    <a:gd name="connsiteY7" fmla="*/ 438182 h 43818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504794" h="438182">
                      <a:moveTo>
                        <a:pt x="476187" y="438182"/>
                      </a:moveTo>
                      <a:cubicBezTo>
                        <a:pt x="469615" y="438182"/>
                        <a:pt x="463043" y="435992"/>
                        <a:pt x="457709" y="431324"/>
                      </a:cubicBezTo>
                      <a:lnTo>
                        <a:pt x="10034" y="50324"/>
                      </a:lnTo>
                      <a:cubicBezTo>
                        <a:pt x="-1968" y="40133"/>
                        <a:pt x="-3397" y="22035"/>
                        <a:pt x="6795" y="10034"/>
                      </a:cubicBezTo>
                      <a:cubicBezTo>
                        <a:pt x="16987" y="-1968"/>
                        <a:pt x="35084" y="-3397"/>
                        <a:pt x="47086" y="6795"/>
                      </a:cubicBezTo>
                      <a:lnTo>
                        <a:pt x="494761" y="387795"/>
                      </a:lnTo>
                      <a:cubicBezTo>
                        <a:pt x="506762" y="397987"/>
                        <a:pt x="508191" y="416084"/>
                        <a:pt x="497999" y="428086"/>
                      </a:cubicBezTo>
                      <a:cubicBezTo>
                        <a:pt x="492284" y="434753"/>
                        <a:pt x="484283" y="438182"/>
                        <a:pt x="476187" y="43818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2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51" name="Freihandform: Form 207">
                  <a:extLst>
                    <a:ext uri="{FF2B5EF4-FFF2-40B4-BE49-F238E27FC236}">
                      <a16:creationId xmlns:a16="http://schemas.microsoft.com/office/drawing/2014/main" id="{A7FBB08C-E4AE-3D5D-D393-B21EA6749B24}"/>
                    </a:ext>
                  </a:extLst>
                </p:cNvPr>
                <p:cNvSpPr/>
                <p:nvPr/>
              </p:nvSpPr>
              <p:spPr>
                <a:xfrm>
                  <a:off x="4014845" y="1686363"/>
                  <a:ext cx="438129" cy="390466"/>
                </a:xfrm>
                <a:custGeom>
                  <a:avLst/>
                  <a:gdLst>
                    <a:gd name="connsiteX0" fmla="*/ 409517 w 438129"/>
                    <a:gd name="connsiteY0" fmla="*/ 390467 h 390466"/>
                    <a:gd name="connsiteX1" fmla="*/ 390753 w 438129"/>
                    <a:gd name="connsiteY1" fmla="*/ 383418 h 390466"/>
                    <a:gd name="connsiteX2" fmla="*/ 9753 w 438129"/>
                    <a:gd name="connsiteY2" fmla="*/ 50043 h 390466"/>
                    <a:gd name="connsiteX3" fmla="*/ 7086 w 438129"/>
                    <a:gd name="connsiteY3" fmla="*/ 9753 h 390466"/>
                    <a:gd name="connsiteX4" fmla="*/ 47376 w 438129"/>
                    <a:gd name="connsiteY4" fmla="*/ 7086 h 390466"/>
                    <a:gd name="connsiteX5" fmla="*/ 428376 w 438129"/>
                    <a:gd name="connsiteY5" fmla="*/ 340461 h 390466"/>
                    <a:gd name="connsiteX6" fmla="*/ 431043 w 438129"/>
                    <a:gd name="connsiteY6" fmla="*/ 380751 h 390466"/>
                    <a:gd name="connsiteX7" fmla="*/ 409517 w 438129"/>
                    <a:gd name="connsiteY7" fmla="*/ 390467 h 39046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38129" h="390466">
                      <a:moveTo>
                        <a:pt x="409517" y="390467"/>
                      </a:moveTo>
                      <a:cubicBezTo>
                        <a:pt x="402849" y="390467"/>
                        <a:pt x="396087" y="388181"/>
                        <a:pt x="390753" y="383418"/>
                      </a:cubicBezTo>
                      <a:lnTo>
                        <a:pt x="9753" y="50043"/>
                      </a:lnTo>
                      <a:cubicBezTo>
                        <a:pt x="-2154" y="39661"/>
                        <a:pt x="-3297" y="21564"/>
                        <a:pt x="7086" y="9753"/>
                      </a:cubicBezTo>
                      <a:cubicBezTo>
                        <a:pt x="17468" y="-2154"/>
                        <a:pt x="35565" y="-3297"/>
                        <a:pt x="47376" y="7086"/>
                      </a:cubicBezTo>
                      <a:lnTo>
                        <a:pt x="428376" y="340461"/>
                      </a:lnTo>
                      <a:cubicBezTo>
                        <a:pt x="440283" y="350843"/>
                        <a:pt x="441426" y="368940"/>
                        <a:pt x="431043" y="380751"/>
                      </a:cubicBezTo>
                      <a:cubicBezTo>
                        <a:pt x="425328" y="387133"/>
                        <a:pt x="417423" y="390467"/>
                        <a:pt x="409517" y="390467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2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52" name="Freihandform: Form 229">
                  <a:extLst>
                    <a:ext uri="{FF2B5EF4-FFF2-40B4-BE49-F238E27FC236}">
                      <a16:creationId xmlns:a16="http://schemas.microsoft.com/office/drawing/2014/main" id="{54D1B242-A25D-2801-C889-A9FB6331AE11}"/>
                    </a:ext>
                  </a:extLst>
                </p:cNvPr>
                <p:cNvSpPr/>
                <p:nvPr/>
              </p:nvSpPr>
              <p:spPr>
                <a:xfrm>
                  <a:off x="3567128" y="2067226"/>
                  <a:ext cx="362013" cy="314404"/>
                </a:xfrm>
                <a:custGeom>
                  <a:avLst/>
                  <a:gdLst>
                    <a:gd name="connsiteX0" fmla="*/ 333359 w 362013"/>
                    <a:gd name="connsiteY0" fmla="*/ 314404 h 314404"/>
                    <a:gd name="connsiteX1" fmla="*/ 314976 w 362013"/>
                    <a:gd name="connsiteY1" fmla="*/ 307641 h 314404"/>
                    <a:gd name="connsiteX2" fmla="*/ 10176 w 362013"/>
                    <a:gd name="connsiteY2" fmla="*/ 50466 h 314404"/>
                    <a:gd name="connsiteX3" fmla="*/ 6747 w 362013"/>
                    <a:gd name="connsiteY3" fmla="*/ 10176 h 314404"/>
                    <a:gd name="connsiteX4" fmla="*/ 47037 w 362013"/>
                    <a:gd name="connsiteY4" fmla="*/ 6747 h 314404"/>
                    <a:gd name="connsiteX5" fmla="*/ 351837 w 362013"/>
                    <a:gd name="connsiteY5" fmla="*/ 263922 h 314404"/>
                    <a:gd name="connsiteX6" fmla="*/ 355266 w 362013"/>
                    <a:gd name="connsiteY6" fmla="*/ 304212 h 314404"/>
                    <a:gd name="connsiteX7" fmla="*/ 333359 w 362013"/>
                    <a:gd name="connsiteY7" fmla="*/ 314404 h 31440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62013" h="314404">
                      <a:moveTo>
                        <a:pt x="333359" y="314404"/>
                      </a:moveTo>
                      <a:cubicBezTo>
                        <a:pt x="326882" y="314404"/>
                        <a:pt x="320310" y="312213"/>
                        <a:pt x="314976" y="307641"/>
                      </a:cubicBezTo>
                      <a:lnTo>
                        <a:pt x="10176" y="50466"/>
                      </a:lnTo>
                      <a:cubicBezTo>
                        <a:pt x="-1921" y="40275"/>
                        <a:pt x="-3445" y="22272"/>
                        <a:pt x="6747" y="10176"/>
                      </a:cubicBezTo>
                      <a:cubicBezTo>
                        <a:pt x="16938" y="-1921"/>
                        <a:pt x="34941" y="-3445"/>
                        <a:pt x="47037" y="6747"/>
                      </a:cubicBezTo>
                      <a:lnTo>
                        <a:pt x="351837" y="263922"/>
                      </a:lnTo>
                      <a:cubicBezTo>
                        <a:pt x="363934" y="274113"/>
                        <a:pt x="365458" y="292116"/>
                        <a:pt x="355266" y="304212"/>
                      </a:cubicBezTo>
                      <a:cubicBezTo>
                        <a:pt x="349551" y="310975"/>
                        <a:pt x="341455" y="314404"/>
                        <a:pt x="333359" y="31440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2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53" name="Freihandform: Form 235">
                  <a:extLst>
                    <a:ext uri="{FF2B5EF4-FFF2-40B4-BE49-F238E27FC236}">
                      <a16:creationId xmlns:a16="http://schemas.microsoft.com/office/drawing/2014/main" id="{01AB61B0-E206-2785-006A-75CF99789B47}"/>
                    </a:ext>
                  </a:extLst>
                </p:cNvPr>
                <p:cNvSpPr/>
                <p:nvPr/>
              </p:nvSpPr>
              <p:spPr>
                <a:xfrm>
                  <a:off x="3536721" y="2486400"/>
                  <a:ext cx="382820" cy="235748"/>
                </a:xfrm>
                <a:custGeom>
                  <a:avLst/>
                  <a:gdLst>
                    <a:gd name="connsiteX0" fmla="*/ 28580 w 382820"/>
                    <a:gd name="connsiteY0" fmla="*/ 235749 h 235748"/>
                    <a:gd name="connsiteX1" fmla="*/ 3530 w 382820"/>
                    <a:gd name="connsiteY1" fmla="*/ 220890 h 235748"/>
                    <a:gd name="connsiteX2" fmla="*/ 14864 w 382820"/>
                    <a:gd name="connsiteY2" fmla="*/ 182123 h 235748"/>
                    <a:gd name="connsiteX3" fmla="*/ 340524 w 382820"/>
                    <a:gd name="connsiteY3" fmla="*/ 3530 h 235748"/>
                    <a:gd name="connsiteX4" fmla="*/ 379291 w 382820"/>
                    <a:gd name="connsiteY4" fmla="*/ 14864 h 235748"/>
                    <a:gd name="connsiteX5" fmla="*/ 367956 w 382820"/>
                    <a:gd name="connsiteY5" fmla="*/ 53631 h 235748"/>
                    <a:gd name="connsiteX6" fmla="*/ 42296 w 382820"/>
                    <a:gd name="connsiteY6" fmla="*/ 232225 h 235748"/>
                    <a:gd name="connsiteX7" fmla="*/ 28580 w 382820"/>
                    <a:gd name="connsiteY7" fmla="*/ 235749 h 2357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82820" h="235748">
                      <a:moveTo>
                        <a:pt x="28580" y="235749"/>
                      </a:moveTo>
                      <a:cubicBezTo>
                        <a:pt x="18484" y="235749"/>
                        <a:pt x="8673" y="230415"/>
                        <a:pt x="3530" y="220890"/>
                      </a:cubicBezTo>
                      <a:cubicBezTo>
                        <a:pt x="-4090" y="207079"/>
                        <a:pt x="1053" y="189648"/>
                        <a:pt x="14864" y="182123"/>
                      </a:cubicBezTo>
                      <a:lnTo>
                        <a:pt x="340524" y="3530"/>
                      </a:lnTo>
                      <a:cubicBezTo>
                        <a:pt x="354335" y="-4090"/>
                        <a:pt x="371766" y="1053"/>
                        <a:pt x="379291" y="14864"/>
                      </a:cubicBezTo>
                      <a:cubicBezTo>
                        <a:pt x="386911" y="28676"/>
                        <a:pt x="381767" y="46106"/>
                        <a:pt x="367956" y="53631"/>
                      </a:cubicBezTo>
                      <a:lnTo>
                        <a:pt x="42296" y="232225"/>
                      </a:lnTo>
                      <a:cubicBezTo>
                        <a:pt x="37915" y="234606"/>
                        <a:pt x="33248" y="235749"/>
                        <a:pt x="28580" y="235749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2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</a:endParaRPr>
                </a:p>
              </p:txBody>
            </p:sp>
          </p:grpSp>
          <p:grpSp>
            <p:nvGrpSpPr>
              <p:cNvPr id="145" name="Grafik 5">
                <a:extLst>
                  <a:ext uri="{FF2B5EF4-FFF2-40B4-BE49-F238E27FC236}">
                    <a16:creationId xmlns:a16="http://schemas.microsoft.com/office/drawing/2014/main" id="{819C19B2-AD3D-E22E-9172-7E003EB8BC80}"/>
                  </a:ext>
                </a:extLst>
              </p:cNvPr>
              <p:cNvGrpSpPr/>
              <p:nvPr/>
            </p:nvGrpSpPr>
            <p:grpSpPr>
              <a:xfrm>
                <a:off x="786818" y="2181691"/>
                <a:ext cx="234731" cy="279523"/>
                <a:chOff x="4529104" y="1686395"/>
                <a:chExt cx="1063747" cy="1266734"/>
              </a:xfrm>
              <a:grpFill/>
            </p:grpSpPr>
            <p:sp>
              <p:nvSpPr>
                <p:cNvPr id="146" name="Freihandform: Form 161">
                  <a:extLst>
                    <a:ext uri="{FF2B5EF4-FFF2-40B4-BE49-F238E27FC236}">
                      <a16:creationId xmlns:a16="http://schemas.microsoft.com/office/drawing/2014/main" id="{B5DB09B6-7DCE-D550-C964-F7FC55977C8D}"/>
                    </a:ext>
                  </a:extLst>
                </p:cNvPr>
                <p:cNvSpPr/>
                <p:nvPr/>
              </p:nvSpPr>
              <p:spPr>
                <a:xfrm>
                  <a:off x="4529104" y="2514948"/>
                  <a:ext cx="504794" cy="438182"/>
                </a:xfrm>
                <a:custGeom>
                  <a:avLst/>
                  <a:gdLst>
                    <a:gd name="connsiteX0" fmla="*/ 28607 w 504794"/>
                    <a:gd name="connsiteY0" fmla="*/ 438182 h 438182"/>
                    <a:gd name="connsiteX1" fmla="*/ 6795 w 504794"/>
                    <a:gd name="connsiteY1" fmla="*/ 428086 h 438182"/>
                    <a:gd name="connsiteX2" fmla="*/ 10034 w 504794"/>
                    <a:gd name="connsiteY2" fmla="*/ 387795 h 438182"/>
                    <a:gd name="connsiteX3" fmla="*/ 457709 w 504794"/>
                    <a:gd name="connsiteY3" fmla="*/ 6795 h 438182"/>
                    <a:gd name="connsiteX4" fmla="*/ 497999 w 504794"/>
                    <a:gd name="connsiteY4" fmla="*/ 10034 h 438182"/>
                    <a:gd name="connsiteX5" fmla="*/ 494761 w 504794"/>
                    <a:gd name="connsiteY5" fmla="*/ 50324 h 438182"/>
                    <a:gd name="connsiteX6" fmla="*/ 47086 w 504794"/>
                    <a:gd name="connsiteY6" fmla="*/ 431324 h 438182"/>
                    <a:gd name="connsiteX7" fmla="*/ 28607 w 504794"/>
                    <a:gd name="connsiteY7" fmla="*/ 438182 h 43818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504794" h="438182">
                      <a:moveTo>
                        <a:pt x="28607" y="438182"/>
                      </a:moveTo>
                      <a:cubicBezTo>
                        <a:pt x="20511" y="438182"/>
                        <a:pt x="12510" y="434753"/>
                        <a:pt x="6795" y="428086"/>
                      </a:cubicBezTo>
                      <a:cubicBezTo>
                        <a:pt x="-3397" y="416084"/>
                        <a:pt x="-1968" y="397987"/>
                        <a:pt x="10034" y="387795"/>
                      </a:cubicBezTo>
                      <a:lnTo>
                        <a:pt x="457709" y="6795"/>
                      </a:lnTo>
                      <a:cubicBezTo>
                        <a:pt x="469710" y="-3397"/>
                        <a:pt x="487712" y="-1968"/>
                        <a:pt x="497999" y="10034"/>
                      </a:cubicBezTo>
                      <a:cubicBezTo>
                        <a:pt x="508191" y="22035"/>
                        <a:pt x="506762" y="40133"/>
                        <a:pt x="494761" y="50324"/>
                      </a:cubicBezTo>
                      <a:lnTo>
                        <a:pt x="47086" y="431324"/>
                      </a:lnTo>
                      <a:cubicBezTo>
                        <a:pt x="41752" y="435896"/>
                        <a:pt x="35180" y="438182"/>
                        <a:pt x="28607" y="43818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2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47" name="Freihandform: Form 162">
                  <a:extLst>
                    <a:ext uri="{FF2B5EF4-FFF2-40B4-BE49-F238E27FC236}">
                      <a16:creationId xmlns:a16="http://schemas.microsoft.com/office/drawing/2014/main" id="{707D3DCA-7A16-B623-9546-FA67B74BC212}"/>
                    </a:ext>
                  </a:extLst>
                </p:cNvPr>
                <p:cNvSpPr/>
                <p:nvPr/>
              </p:nvSpPr>
              <p:spPr>
                <a:xfrm>
                  <a:off x="4672007" y="1686395"/>
                  <a:ext cx="438064" cy="390434"/>
                </a:xfrm>
                <a:custGeom>
                  <a:avLst/>
                  <a:gdLst>
                    <a:gd name="connsiteX0" fmla="*/ 28580 w 438064"/>
                    <a:gd name="connsiteY0" fmla="*/ 390435 h 390434"/>
                    <a:gd name="connsiteX1" fmla="*/ 7053 w 438064"/>
                    <a:gd name="connsiteY1" fmla="*/ 380719 h 390434"/>
                    <a:gd name="connsiteX2" fmla="*/ 9720 w 438064"/>
                    <a:gd name="connsiteY2" fmla="*/ 340428 h 390434"/>
                    <a:gd name="connsiteX3" fmla="*/ 390720 w 438064"/>
                    <a:gd name="connsiteY3" fmla="*/ 7053 h 390434"/>
                    <a:gd name="connsiteX4" fmla="*/ 431011 w 438064"/>
                    <a:gd name="connsiteY4" fmla="*/ 9720 h 390434"/>
                    <a:gd name="connsiteX5" fmla="*/ 428344 w 438064"/>
                    <a:gd name="connsiteY5" fmla="*/ 50011 h 390434"/>
                    <a:gd name="connsiteX6" fmla="*/ 47344 w 438064"/>
                    <a:gd name="connsiteY6" fmla="*/ 383386 h 390434"/>
                    <a:gd name="connsiteX7" fmla="*/ 28580 w 438064"/>
                    <a:gd name="connsiteY7" fmla="*/ 390435 h 39043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38064" h="390434">
                      <a:moveTo>
                        <a:pt x="28580" y="390435"/>
                      </a:moveTo>
                      <a:cubicBezTo>
                        <a:pt x="20674" y="390435"/>
                        <a:pt x="12673" y="387101"/>
                        <a:pt x="7053" y="380719"/>
                      </a:cubicBezTo>
                      <a:cubicBezTo>
                        <a:pt x="-3329" y="368813"/>
                        <a:pt x="-2091" y="350811"/>
                        <a:pt x="9720" y="340428"/>
                      </a:cubicBezTo>
                      <a:lnTo>
                        <a:pt x="390720" y="7053"/>
                      </a:lnTo>
                      <a:cubicBezTo>
                        <a:pt x="402627" y="-3329"/>
                        <a:pt x="420629" y="-2091"/>
                        <a:pt x="431011" y="9720"/>
                      </a:cubicBezTo>
                      <a:cubicBezTo>
                        <a:pt x="441393" y="21627"/>
                        <a:pt x="440155" y="39629"/>
                        <a:pt x="428344" y="50011"/>
                      </a:cubicBezTo>
                      <a:lnTo>
                        <a:pt x="47344" y="383386"/>
                      </a:lnTo>
                      <a:cubicBezTo>
                        <a:pt x="42010" y="388053"/>
                        <a:pt x="35247" y="390435"/>
                        <a:pt x="28580" y="390435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2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48" name="Freihandform: Form 163">
                  <a:extLst>
                    <a:ext uri="{FF2B5EF4-FFF2-40B4-BE49-F238E27FC236}">
                      <a16:creationId xmlns:a16="http://schemas.microsoft.com/office/drawing/2014/main" id="{3C3A95C8-9BDD-7C07-F639-2F4B4C5EA908}"/>
                    </a:ext>
                  </a:extLst>
                </p:cNvPr>
                <p:cNvSpPr/>
                <p:nvPr/>
              </p:nvSpPr>
              <p:spPr>
                <a:xfrm>
                  <a:off x="5212286" y="2051129"/>
                  <a:ext cx="364775" cy="316690"/>
                </a:xfrm>
                <a:custGeom>
                  <a:avLst/>
                  <a:gdLst>
                    <a:gd name="connsiteX0" fmla="*/ 28559 w 364775"/>
                    <a:gd name="connsiteY0" fmla="*/ 316690 h 316690"/>
                    <a:gd name="connsiteX1" fmla="*/ 6747 w 364775"/>
                    <a:gd name="connsiteY1" fmla="*/ 306498 h 316690"/>
                    <a:gd name="connsiteX2" fmla="*/ 10176 w 364775"/>
                    <a:gd name="connsiteY2" fmla="*/ 266208 h 316690"/>
                    <a:gd name="connsiteX3" fmla="*/ 317738 w 364775"/>
                    <a:gd name="connsiteY3" fmla="*/ 6747 h 316690"/>
                    <a:gd name="connsiteX4" fmla="*/ 358029 w 364775"/>
                    <a:gd name="connsiteY4" fmla="*/ 10176 h 316690"/>
                    <a:gd name="connsiteX5" fmla="*/ 354600 w 364775"/>
                    <a:gd name="connsiteY5" fmla="*/ 50466 h 316690"/>
                    <a:gd name="connsiteX6" fmla="*/ 47037 w 364775"/>
                    <a:gd name="connsiteY6" fmla="*/ 309927 h 316690"/>
                    <a:gd name="connsiteX7" fmla="*/ 28559 w 364775"/>
                    <a:gd name="connsiteY7" fmla="*/ 316690 h 3166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64775" h="316690">
                      <a:moveTo>
                        <a:pt x="28559" y="316690"/>
                      </a:moveTo>
                      <a:cubicBezTo>
                        <a:pt x="20463" y="316690"/>
                        <a:pt x="12366" y="313261"/>
                        <a:pt x="6747" y="306498"/>
                      </a:cubicBezTo>
                      <a:cubicBezTo>
                        <a:pt x="-3445" y="294402"/>
                        <a:pt x="-1921" y="276399"/>
                        <a:pt x="10176" y="266208"/>
                      </a:cubicBezTo>
                      <a:lnTo>
                        <a:pt x="317738" y="6747"/>
                      </a:lnTo>
                      <a:cubicBezTo>
                        <a:pt x="329835" y="-3445"/>
                        <a:pt x="347837" y="-1921"/>
                        <a:pt x="358029" y="10176"/>
                      </a:cubicBezTo>
                      <a:cubicBezTo>
                        <a:pt x="368220" y="22272"/>
                        <a:pt x="366696" y="40275"/>
                        <a:pt x="354600" y="50466"/>
                      </a:cubicBezTo>
                      <a:lnTo>
                        <a:pt x="47037" y="309927"/>
                      </a:lnTo>
                      <a:cubicBezTo>
                        <a:pt x="41608" y="314499"/>
                        <a:pt x="35036" y="316690"/>
                        <a:pt x="28559" y="31669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2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49" name="Freihandform: Form 165">
                  <a:extLst>
                    <a:ext uri="{FF2B5EF4-FFF2-40B4-BE49-F238E27FC236}">
                      <a16:creationId xmlns:a16="http://schemas.microsoft.com/office/drawing/2014/main" id="{DDF8245E-192B-03BB-E6F5-99DCD5EC487F}"/>
                    </a:ext>
                  </a:extLst>
                </p:cNvPr>
                <p:cNvSpPr/>
                <p:nvPr/>
              </p:nvSpPr>
              <p:spPr>
                <a:xfrm>
                  <a:off x="5222308" y="2495681"/>
                  <a:ext cx="370543" cy="229039"/>
                </a:xfrm>
                <a:custGeom>
                  <a:avLst/>
                  <a:gdLst>
                    <a:gd name="connsiteX0" fmla="*/ 342006 w 370543"/>
                    <a:gd name="connsiteY0" fmla="*/ 229039 h 229039"/>
                    <a:gd name="connsiteX1" fmla="*/ 328290 w 370543"/>
                    <a:gd name="connsiteY1" fmla="*/ 225515 h 229039"/>
                    <a:gd name="connsiteX2" fmla="*/ 14822 w 370543"/>
                    <a:gd name="connsiteY2" fmla="*/ 53589 h 229039"/>
                    <a:gd name="connsiteX3" fmla="*/ 3487 w 370543"/>
                    <a:gd name="connsiteY3" fmla="*/ 14822 h 229039"/>
                    <a:gd name="connsiteX4" fmla="*/ 42254 w 370543"/>
                    <a:gd name="connsiteY4" fmla="*/ 3487 h 229039"/>
                    <a:gd name="connsiteX5" fmla="*/ 355722 w 370543"/>
                    <a:gd name="connsiteY5" fmla="*/ 175414 h 229039"/>
                    <a:gd name="connsiteX6" fmla="*/ 367057 w 370543"/>
                    <a:gd name="connsiteY6" fmla="*/ 214180 h 229039"/>
                    <a:gd name="connsiteX7" fmla="*/ 342006 w 370543"/>
                    <a:gd name="connsiteY7" fmla="*/ 229039 h 22903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70543" h="229039">
                      <a:moveTo>
                        <a:pt x="342006" y="229039"/>
                      </a:moveTo>
                      <a:cubicBezTo>
                        <a:pt x="337339" y="229039"/>
                        <a:pt x="332671" y="227896"/>
                        <a:pt x="328290" y="225515"/>
                      </a:cubicBezTo>
                      <a:lnTo>
                        <a:pt x="14822" y="53589"/>
                      </a:lnTo>
                      <a:cubicBezTo>
                        <a:pt x="1011" y="45969"/>
                        <a:pt x="-4037" y="28633"/>
                        <a:pt x="3487" y="14822"/>
                      </a:cubicBezTo>
                      <a:cubicBezTo>
                        <a:pt x="11107" y="1011"/>
                        <a:pt x="28443" y="-4037"/>
                        <a:pt x="42254" y="3487"/>
                      </a:cubicBezTo>
                      <a:lnTo>
                        <a:pt x="355722" y="175414"/>
                      </a:lnTo>
                      <a:cubicBezTo>
                        <a:pt x="369533" y="183034"/>
                        <a:pt x="374581" y="200369"/>
                        <a:pt x="367057" y="214180"/>
                      </a:cubicBezTo>
                      <a:cubicBezTo>
                        <a:pt x="361818" y="223610"/>
                        <a:pt x="352102" y="229039"/>
                        <a:pt x="342006" y="229039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2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</a:endParaRPr>
                </a:p>
              </p:txBody>
            </p:sp>
          </p:grpSp>
        </p:grpSp>
        <p:grpSp>
          <p:nvGrpSpPr>
            <p:cNvPr id="130" name="Gruppieren 136">
              <a:extLst>
                <a:ext uri="{FF2B5EF4-FFF2-40B4-BE49-F238E27FC236}">
                  <a16:creationId xmlns:a16="http://schemas.microsoft.com/office/drawing/2014/main" id="{F1A142CF-0F87-59D5-A9A7-E483DD5E5BBD}"/>
                </a:ext>
              </a:extLst>
            </p:cNvPr>
            <p:cNvGrpSpPr/>
            <p:nvPr/>
          </p:nvGrpSpPr>
          <p:grpSpPr>
            <a:xfrm>
              <a:off x="373616" y="2266990"/>
              <a:ext cx="359226" cy="231361"/>
              <a:chOff x="511486" y="2094361"/>
              <a:chExt cx="569595" cy="366853"/>
            </a:xfrm>
            <a:solidFill>
              <a:srgbClr val="004DBF"/>
            </a:solidFill>
          </p:grpSpPr>
          <p:sp>
            <p:nvSpPr>
              <p:cNvPr id="131" name="Freihandform: Form 137">
                <a:extLst>
                  <a:ext uri="{FF2B5EF4-FFF2-40B4-BE49-F238E27FC236}">
                    <a16:creationId xmlns:a16="http://schemas.microsoft.com/office/drawing/2014/main" id="{F98332A7-91D7-5AE6-F821-B8754B831D44}"/>
                  </a:ext>
                </a:extLst>
              </p:cNvPr>
              <p:cNvSpPr/>
              <p:nvPr/>
            </p:nvSpPr>
            <p:spPr>
              <a:xfrm>
                <a:off x="757168" y="2094361"/>
                <a:ext cx="75666" cy="75666"/>
              </a:xfrm>
              <a:custGeom>
                <a:avLst/>
                <a:gdLst>
                  <a:gd name="connsiteX0" fmla="*/ 171450 w 342900"/>
                  <a:gd name="connsiteY0" fmla="*/ 342900 h 342900"/>
                  <a:gd name="connsiteX1" fmla="*/ 0 w 342900"/>
                  <a:gd name="connsiteY1" fmla="*/ 171450 h 342900"/>
                  <a:gd name="connsiteX2" fmla="*/ 171450 w 342900"/>
                  <a:gd name="connsiteY2" fmla="*/ 0 h 342900"/>
                  <a:gd name="connsiteX3" fmla="*/ 342900 w 342900"/>
                  <a:gd name="connsiteY3" fmla="*/ 171450 h 342900"/>
                  <a:gd name="connsiteX4" fmla="*/ 171450 w 342900"/>
                  <a:gd name="connsiteY4" fmla="*/ 342900 h 342900"/>
                  <a:gd name="connsiteX5" fmla="*/ 171450 w 342900"/>
                  <a:gd name="connsiteY5" fmla="*/ 57150 h 342900"/>
                  <a:gd name="connsiteX6" fmla="*/ 57150 w 342900"/>
                  <a:gd name="connsiteY6" fmla="*/ 171450 h 342900"/>
                  <a:gd name="connsiteX7" fmla="*/ 171450 w 342900"/>
                  <a:gd name="connsiteY7" fmla="*/ 285750 h 342900"/>
                  <a:gd name="connsiteX8" fmla="*/ 285750 w 342900"/>
                  <a:gd name="connsiteY8" fmla="*/ 171450 h 342900"/>
                  <a:gd name="connsiteX9" fmla="*/ 171450 w 342900"/>
                  <a:gd name="connsiteY9" fmla="*/ 57150 h 3429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342900" h="342900">
                    <a:moveTo>
                      <a:pt x="171450" y="342900"/>
                    </a:moveTo>
                    <a:cubicBezTo>
                      <a:pt x="76867" y="342900"/>
                      <a:pt x="0" y="266033"/>
                      <a:pt x="0" y="171450"/>
                    </a:cubicBezTo>
                    <a:cubicBezTo>
                      <a:pt x="0" y="76867"/>
                      <a:pt x="76867" y="0"/>
                      <a:pt x="171450" y="0"/>
                    </a:cubicBezTo>
                    <a:cubicBezTo>
                      <a:pt x="266033" y="0"/>
                      <a:pt x="342900" y="76867"/>
                      <a:pt x="342900" y="171450"/>
                    </a:cubicBezTo>
                    <a:cubicBezTo>
                      <a:pt x="342900" y="266033"/>
                      <a:pt x="266033" y="342900"/>
                      <a:pt x="171450" y="342900"/>
                    </a:cubicBezTo>
                    <a:close/>
                    <a:moveTo>
                      <a:pt x="171450" y="57150"/>
                    </a:moveTo>
                    <a:cubicBezTo>
                      <a:pt x="108395" y="57150"/>
                      <a:pt x="57150" y="108395"/>
                      <a:pt x="57150" y="171450"/>
                    </a:cubicBezTo>
                    <a:cubicBezTo>
                      <a:pt x="57150" y="234506"/>
                      <a:pt x="108395" y="285750"/>
                      <a:pt x="171450" y="285750"/>
                    </a:cubicBezTo>
                    <a:cubicBezTo>
                      <a:pt x="234505" y="285750"/>
                      <a:pt x="285750" y="234506"/>
                      <a:pt x="285750" y="171450"/>
                    </a:cubicBezTo>
                    <a:cubicBezTo>
                      <a:pt x="285750" y="108395"/>
                      <a:pt x="234505" y="57150"/>
                      <a:pt x="171450" y="5715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2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2" name="Freihandform: Form 138">
                <a:extLst>
                  <a:ext uri="{FF2B5EF4-FFF2-40B4-BE49-F238E27FC236}">
                    <a16:creationId xmlns:a16="http://schemas.microsoft.com/office/drawing/2014/main" id="{C8E13202-E194-9D2E-2EA3-BD1DED1A345E}"/>
                  </a:ext>
                </a:extLst>
              </p:cNvPr>
              <p:cNvSpPr/>
              <p:nvPr/>
            </p:nvSpPr>
            <p:spPr>
              <a:xfrm>
                <a:off x="898222" y="2124921"/>
                <a:ext cx="75666" cy="75666"/>
              </a:xfrm>
              <a:custGeom>
                <a:avLst/>
                <a:gdLst>
                  <a:gd name="connsiteX0" fmla="*/ 171450 w 342900"/>
                  <a:gd name="connsiteY0" fmla="*/ 342900 h 342900"/>
                  <a:gd name="connsiteX1" fmla="*/ 0 w 342900"/>
                  <a:gd name="connsiteY1" fmla="*/ 171450 h 342900"/>
                  <a:gd name="connsiteX2" fmla="*/ 171450 w 342900"/>
                  <a:gd name="connsiteY2" fmla="*/ 0 h 342900"/>
                  <a:gd name="connsiteX3" fmla="*/ 342900 w 342900"/>
                  <a:gd name="connsiteY3" fmla="*/ 171450 h 342900"/>
                  <a:gd name="connsiteX4" fmla="*/ 171450 w 342900"/>
                  <a:gd name="connsiteY4" fmla="*/ 342900 h 342900"/>
                  <a:gd name="connsiteX5" fmla="*/ 171450 w 342900"/>
                  <a:gd name="connsiteY5" fmla="*/ 57150 h 342900"/>
                  <a:gd name="connsiteX6" fmla="*/ 57150 w 342900"/>
                  <a:gd name="connsiteY6" fmla="*/ 171450 h 342900"/>
                  <a:gd name="connsiteX7" fmla="*/ 171450 w 342900"/>
                  <a:gd name="connsiteY7" fmla="*/ 285750 h 342900"/>
                  <a:gd name="connsiteX8" fmla="*/ 285750 w 342900"/>
                  <a:gd name="connsiteY8" fmla="*/ 171450 h 342900"/>
                  <a:gd name="connsiteX9" fmla="*/ 171450 w 342900"/>
                  <a:gd name="connsiteY9" fmla="*/ 57150 h 3429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342900" h="342900">
                    <a:moveTo>
                      <a:pt x="171450" y="342900"/>
                    </a:moveTo>
                    <a:cubicBezTo>
                      <a:pt x="76867" y="342900"/>
                      <a:pt x="0" y="266033"/>
                      <a:pt x="0" y="171450"/>
                    </a:cubicBezTo>
                    <a:cubicBezTo>
                      <a:pt x="0" y="76867"/>
                      <a:pt x="76867" y="0"/>
                      <a:pt x="171450" y="0"/>
                    </a:cubicBezTo>
                    <a:cubicBezTo>
                      <a:pt x="266033" y="0"/>
                      <a:pt x="342900" y="76867"/>
                      <a:pt x="342900" y="171450"/>
                    </a:cubicBezTo>
                    <a:cubicBezTo>
                      <a:pt x="342900" y="266033"/>
                      <a:pt x="266033" y="342900"/>
                      <a:pt x="171450" y="342900"/>
                    </a:cubicBezTo>
                    <a:close/>
                    <a:moveTo>
                      <a:pt x="171450" y="57150"/>
                    </a:moveTo>
                    <a:cubicBezTo>
                      <a:pt x="108395" y="57150"/>
                      <a:pt x="57150" y="108395"/>
                      <a:pt x="57150" y="171450"/>
                    </a:cubicBezTo>
                    <a:cubicBezTo>
                      <a:pt x="57150" y="234506"/>
                      <a:pt x="108395" y="285750"/>
                      <a:pt x="171450" y="285750"/>
                    </a:cubicBezTo>
                    <a:cubicBezTo>
                      <a:pt x="234505" y="285750"/>
                      <a:pt x="285750" y="234506"/>
                      <a:pt x="285750" y="171450"/>
                    </a:cubicBezTo>
                    <a:cubicBezTo>
                      <a:pt x="285750" y="108395"/>
                      <a:pt x="234505" y="57150"/>
                      <a:pt x="171450" y="5715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2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3" name="Freihandform: Form 139">
                <a:extLst>
                  <a:ext uri="{FF2B5EF4-FFF2-40B4-BE49-F238E27FC236}">
                    <a16:creationId xmlns:a16="http://schemas.microsoft.com/office/drawing/2014/main" id="{4E43E47C-D01F-2ECB-28D2-A586DE975E6E}"/>
                  </a:ext>
                </a:extLst>
              </p:cNvPr>
              <p:cNvSpPr/>
              <p:nvPr/>
            </p:nvSpPr>
            <p:spPr>
              <a:xfrm>
                <a:off x="1003313" y="2213198"/>
                <a:ext cx="75666" cy="75666"/>
              </a:xfrm>
              <a:custGeom>
                <a:avLst/>
                <a:gdLst>
                  <a:gd name="connsiteX0" fmla="*/ 171450 w 342900"/>
                  <a:gd name="connsiteY0" fmla="*/ 342900 h 342900"/>
                  <a:gd name="connsiteX1" fmla="*/ 0 w 342900"/>
                  <a:gd name="connsiteY1" fmla="*/ 171450 h 342900"/>
                  <a:gd name="connsiteX2" fmla="*/ 171450 w 342900"/>
                  <a:gd name="connsiteY2" fmla="*/ 0 h 342900"/>
                  <a:gd name="connsiteX3" fmla="*/ 342900 w 342900"/>
                  <a:gd name="connsiteY3" fmla="*/ 171450 h 342900"/>
                  <a:gd name="connsiteX4" fmla="*/ 171450 w 342900"/>
                  <a:gd name="connsiteY4" fmla="*/ 342900 h 342900"/>
                  <a:gd name="connsiteX5" fmla="*/ 171450 w 342900"/>
                  <a:gd name="connsiteY5" fmla="*/ 57150 h 342900"/>
                  <a:gd name="connsiteX6" fmla="*/ 57150 w 342900"/>
                  <a:gd name="connsiteY6" fmla="*/ 171450 h 342900"/>
                  <a:gd name="connsiteX7" fmla="*/ 171450 w 342900"/>
                  <a:gd name="connsiteY7" fmla="*/ 285750 h 342900"/>
                  <a:gd name="connsiteX8" fmla="*/ 285750 w 342900"/>
                  <a:gd name="connsiteY8" fmla="*/ 171450 h 342900"/>
                  <a:gd name="connsiteX9" fmla="*/ 171450 w 342900"/>
                  <a:gd name="connsiteY9" fmla="*/ 57150 h 3429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342900" h="342900">
                    <a:moveTo>
                      <a:pt x="171450" y="342900"/>
                    </a:moveTo>
                    <a:cubicBezTo>
                      <a:pt x="76867" y="342900"/>
                      <a:pt x="0" y="266033"/>
                      <a:pt x="0" y="171450"/>
                    </a:cubicBezTo>
                    <a:cubicBezTo>
                      <a:pt x="0" y="76867"/>
                      <a:pt x="76867" y="0"/>
                      <a:pt x="171450" y="0"/>
                    </a:cubicBezTo>
                    <a:cubicBezTo>
                      <a:pt x="266033" y="0"/>
                      <a:pt x="342900" y="76867"/>
                      <a:pt x="342900" y="171450"/>
                    </a:cubicBezTo>
                    <a:cubicBezTo>
                      <a:pt x="342900" y="266033"/>
                      <a:pt x="266033" y="342900"/>
                      <a:pt x="171450" y="342900"/>
                    </a:cubicBezTo>
                    <a:close/>
                    <a:moveTo>
                      <a:pt x="171450" y="57150"/>
                    </a:moveTo>
                    <a:cubicBezTo>
                      <a:pt x="108395" y="57150"/>
                      <a:pt x="57150" y="108394"/>
                      <a:pt x="57150" y="171450"/>
                    </a:cubicBezTo>
                    <a:cubicBezTo>
                      <a:pt x="57150" y="234506"/>
                      <a:pt x="108395" y="285750"/>
                      <a:pt x="171450" y="285750"/>
                    </a:cubicBezTo>
                    <a:cubicBezTo>
                      <a:pt x="234505" y="285750"/>
                      <a:pt x="285750" y="234506"/>
                      <a:pt x="285750" y="171450"/>
                    </a:cubicBezTo>
                    <a:cubicBezTo>
                      <a:pt x="285750" y="108394"/>
                      <a:pt x="234505" y="57150"/>
                      <a:pt x="171450" y="5715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2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4" name="Freihandform: Form 140">
                <a:extLst>
                  <a:ext uri="{FF2B5EF4-FFF2-40B4-BE49-F238E27FC236}">
                    <a16:creationId xmlns:a16="http://schemas.microsoft.com/office/drawing/2014/main" id="{974513AC-3F48-F299-977C-A57B106FA8E0}"/>
                  </a:ext>
                </a:extLst>
              </p:cNvPr>
              <p:cNvSpPr/>
              <p:nvPr/>
            </p:nvSpPr>
            <p:spPr>
              <a:xfrm>
                <a:off x="1005415" y="2385547"/>
                <a:ext cx="75666" cy="75666"/>
              </a:xfrm>
              <a:custGeom>
                <a:avLst/>
                <a:gdLst>
                  <a:gd name="connsiteX0" fmla="*/ 171450 w 342900"/>
                  <a:gd name="connsiteY0" fmla="*/ 342900 h 342900"/>
                  <a:gd name="connsiteX1" fmla="*/ 0 w 342900"/>
                  <a:gd name="connsiteY1" fmla="*/ 171450 h 342900"/>
                  <a:gd name="connsiteX2" fmla="*/ 171450 w 342900"/>
                  <a:gd name="connsiteY2" fmla="*/ 0 h 342900"/>
                  <a:gd name="connsiteX3" fmla="*/ 342900 w 342900"/>
                  <a:gd name="connsiteY3" fmla="*/ 171450 h 342900"/>
                  <a:gd name="connsiteX4" fmla="*/ 171450 w 342900"/>
                  <a:gd name="connsiteY4" fmla="*/ 342900 h 342900"/>
                  <a:gd name="connsiteX5" fmla="*/ 171450 w 342900"/>
                  <a:gd name="connsiteY5" fmla="*/ 57150 h 342900"/>
                  <a:gd name="connsiteX6" fmla="*/ 57150 w 342900"/>
                  <a:gd name="connsiteY6" fmla="*/ 171450 h 342900"/>
                  <a:gd name="connsiteX7" fmla="*/ 171450 w 342900"/>
                  <a:gd name="connsiteY7" fmla="*/ 285750 h 342900"/>
                  <a:gd name="connsiteX8" fmla="*/ 285750 w 342900"/>
                  <a:gd name="connsiteY8" fmla="*/ 171450 h 342900"/>
                  <a:gd name="connsiteX9" fmla="*/ 171450 w 342900"/>
                  <a:gd name="connsiteY9" fmla="*/ 57150 h 3429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342900" h="342900">
                    <a:moveTo>
                      <a:pt x="171450" y="342900"/>
                    </a:moveTo>
                    <a:cubicBezTo>
                      <a:pt x="76867" y="342900"/>
                      <a:pt x="0" y="266033"/>
                      <a:pt x="0" y="171450"/>
                    </a:cubicBezTo>
                    <a:cubicBezTo>
                      <a:pt x="0" y="76867"/>
                      <a:pt x="76867" y="0"/>
                      <a:pt x="171450" y="0"/>
                    </a:cubicBezTo>
                    <a:cubicBezTo>
                      <a:pt x="266033" y="0"/>
                      <a:pt x="342900" y="76867"/>
                      <a:pt x="342900" y="171450"/>
                    </a:cubicBezTo>
                    <a:cubicBezTo>
                      <a:pt x="342900" y="266033"/>
                      <a:pt x="266033" y="342900"/>
                      <a:pt x="171450" y="342900"/>
                    </a:cubicBezTo>
                    <a:close/>
                    <a:moveTo>
                      <a:pt x="171450" y="57150"/>
                    </a:moveTo>
                    <a:cubicBezTo>
                      <a:pt x="108395" y="57150"/>
                      <a:pt x="57150" y="108395"/>
                      <a:pt x="57150" y="171450"/>
                    </a:cubicBezTo>
                    <a:cubicBezTo>
                      <a:pt x="57150" y="234506"/>
                      <a:pt x="108395" y="285750"/>
                      <a:pt x="171450" y="285750"/>
                    </a:cubicBezTo>
                    <a:cubicBezTo>
                      <a:pt x="234505" y="285750"/>
                      <a:pt x="285750" y="234506"/>
                      <a:pt x="285750" y="171450"/>
                    </a:cubicBezTo>
                    <a:cubicBezTo>
                      <a:pt x="285750" y="108395"/>
                      <a:pt x="234505" y="57150"/>
                      <a:pt x="171450" y="5715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2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5" name="Freihandform: Form 141">
                <a:extLst>
                  <a:ext uri="{FF2B5EF4-FFF2-40B4-BE49-F238E27FC236}">
                    <a16:creationId xmlns:a16="http://schemas.microsoft.com/office/drawing/2014/main" id="{63DF4905-B0A1-AC60-79D0-A93EB4CEEA20}"/>
                  </a:ext>
                </a:extLst>
              </p:cNvPr>
              <p:cNvSpPr/>
              <p:nvPr/>
            </p:nvSpPr>
            <p:spPr>
              <a:xfrm>
                <a:off x="618679" y="2124921"/>
                <a:ext cx="75666" cy="75666"/>
              </a:xfrm>
              <a:custGeom>
                <a:avLst/>
                <a:gdLst>
                  <a:gd name="connsiteX0" fmla="*/ 171450 w 342900"/>
                  <a:gd name="connsiteY0" fmla="*/ 342900 h 342900"/>
                  <a:gd name="connsiteX1" fmla="*/ 0 w 342900"/>
                  <a:gd name="connsiteY1" fmla="*/ 171450 h 342900"/>
                  <a:gd name="connsiteX2" fmla="*/ 171450 w 342900"/>
                  <a:gd name="connsiteY2" fmla="*/ 0 h 342900"/>
                  <a:gd name="connsiteX3" fmla="*/ 342900 w 342900"/>
                  <a:gd name="connsiteY3" fmla="*/ 171450 h 342900"/>
                  <a:gd name="connsiteX4" fmla="*/ 171450 w 342900"/>
                  <a:gd name="connsiteY4" fmla="*/ 342900 h 342900"/>
                  <a:gd name="connsiteX5" fmla="*/ 171450 w 342900"/>
                  <a:gd name="connsiteY5" fmla="*/ 57150 h 342900"/>
                  <a:gd name="connsiteX6" fmla="*/ 57150 w 342900"/>
                  <a:gd name="connsiteY6" fmla="*/ 171450 h 342900"/>
                  <a:gd name="connsiteX7" fmla="*/ 171450 w 342900"/>
                  <a:gd name="connsiteY7" fmla="*/ 285750 h 342900"/>
                  <a:gd name="connsiteX8" fmla="*/ 285750 w 342900"/>
                  <a:gd name="connsiteY8" fmla="*/ 171450 h 342900"/>
                  <a:gd name="connsiteX9" fmla="*/ 171450 w 342900"/>
                  <a:gd name="connsiteY9" fmla="*/ 57150 h 3429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342900" h="342900">
                    <a:moveTo>
                      <a:pt x="171450" y="342900"/>
                    </a:moveTo>
                    <a:cubicBezTo>
                      <a:pt x="76867" y="342900"/>
                      <a:pt x="0" y="266033"/>
                      <a:pt x="0" y="171450"/>
                    </a:cubicBezTo>
                    <a:cubicBezTo>
                      <a:pt x="0" y="76867"/>
                      <a:pt x="76867" y="0"/>
                      <a:pt x="171450" y="0"/>
                    </a:cubicBezTo>
                    <a:cubicBezTo>
                      <a:pt x="266033" y="0"/>
                      <a:pt x="342900" y="76867"/>
                      <a:pt x="342900" y="171450"/>
                    </a:cubicBezTo>
                    <a:cubicBezTo>
                      <a:pt x="342900" y="266033"/>
                      <a:pt x="266033" y="342900"/>
                      <a:pt x="171450" y="342900"/>
                    </a:cubicBezTo>
                    <a:close/>
                    <a:moveTo>
                      <a:pt x="171450" y="57150"/>
                    </a:moveTo>
                    <a:cubicBezTo>
                      <a:pt x="108395" y="57150"/>
                      <a:pt x="57150" y="108395"/>
                      <a:pt x="57150" y="171450"/>
                    </a:cubicBezTo>
                    <a:cubicBezTo>
                      <a:pt x="57150" y="234506"/>
                      <a:pt x="108395" y="285750"/>
                      <a:pt x="171450" y="285750"/>
                    </a:cubicBezTo>
                    <a:cubicBezTo>
                      <a:pt x="234506" y="285750"/>
                      <a:pt x="285750" y="234506"/>
                      <a:pt x="285750" y="171450"/>
                    </a:cubicBezTo>
                    <a:cubicBezTo>
                      <a:pt x="285750" y="108395"/>
                      <a:pt x="234506" y="57150"/>
                      <a:pt x="171450" y="5715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2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6" name="Freihandform: Form 142">
                <a:extLst>
                  <a:ext uri="{FF2B5EF4-FFF2-40B4-BE49-F238E27FC236}">
                    <a16:creationId xmlns:a16="http://schemas.microsoft.com/office/drawing/2014/main" id="{A740097E-E073-15D2-07C4-DBC427F35414}"/>
                  </a:ext>
                </a:extLst>
              </p:cNvPr>
              <p:cNvSpPr/>
              <p:nvPr/>
            </p:nvSpPr>
            <p:spPr>
              <a:xfrm>
                <a:off x="513588" y="2213198"/>
                <a:ext cx="75666" cy="75666"/>
              </a:xfrm>
              <a:custGeom>
                <a:avLst/>
                <a:gdLst>
                  <a:gd name="connsiteX0" fmla="*/ 171450 w 342900"/>
                  <a:gd name="connsiteY0" fmla="*/ 342900 h 342900"/>
                  <a:gd name="connsiteX1" fmla="*/ 0 w 342900"/>
                  <a:gd name="connsiteY1" fmla="*/ 171450 h 342900"/>
                  <a:gd name="connsiteX2" fmla="*/ 171450 w 342900"/>
                  <a:gd name="connsiteY2" fmla="*/ 0 h 342900"/>
                  <a:gd name="connsiteX3" fmla="*/ 342900 w 342900"/>
                  <a:gd name="connsiteY3" fmla="*/ 171450 h 342900"/>
                  <a:gd name="connsiteX4" fmla="*/ 171450 w 342900"/>
                  <a:gd name="connsiteY4" fmla="*/ 342900 h 342900"/>
                  <a:gd name="connsiteX5" fmla="*/ 171450 w 342900"/>
                  <a:gd name="connsiteY5" fmla="*/ 57150 h 342900"/>
                  <a:gd name="connsiteX6" fmla="*/ 57150 w 342900"/>
                  <a:gd name="connsiteY6" fmla="*/ 171450 h 342900"/>
                  <a:gd name="connsiteX7" fmla="*/ 171450 w 342900"/>
                  <a:gd name="connsiteY7" fmla="*/ 285750 h 342900"/>
                  <a:gd name="connsiteX8" fmla="*/ 285750 w 342900"/>
                  <a:gd name="connsiteY8" fmla="*/ 171450 h 342900"/>
                  <a:gd name="connsiteX9" fmla="*/ 171450 w 342900"/>
                  <a:gd name="connsiteY9" fmla="*/ 57150 h 3429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342900" h="342900">
                    <a:moveTo>
                      <a:pt x="171450" y="342900"/>
                    </a:moveTo>
                    <a:cubicBezTo>
                      <a:pt x="76867" y="342900"/>
                      <a:pt x="0" y="266033"/>
                      <a:pt x="0" y="171450"/>
                    </a:cubicBezTo>
                    <a:cubicBezTo>
                      <a:pt x="0" y="76867"/>
                      <a:pt x="76867" y="0"/>
                      <a:pt x="171450" y="0"/>
                    </a:cubicBezTo>
                    <a:cubicBezTo>
                      <a:pt x="266033" y="0"/>
                      <a:pt x="342900" y="76867"/>
                      <a:pt x="342900" y="171450"/>
                    </a:cubicBezTo>
                    <a:cubicBezTo>
                      <a:pt x="342900" y="266033"/>
                      <a:pt x="266033" y="342900"/>
                      <a:pt x="171450" y="342900"/>
                    </a:cubicBezTo>
                    <a:close/>
                    <a:moveTo>
                      <a:pt x="171450" y="57150"/>
                    </a:moveTo>
                    <a:cubicBezTo>
                      <a:pt x="108395" y="57150"/>
                      <a:pt x="57150" y="108394"/>
                      <a:pt x="57150" y="171450"/>
                    </a:cubicBezTo>
                    <a:cubicBezTo>
                      <a:pt x="57150" y="234506"/>
                      <a:pt x="108395" y="285750"/>
                      <a:pt x="171450" y="285750"/>
                    </a:cubicBezTo>
                    <a:cubicBezTo>
                      <a:pt x="234506" y="285750"/>
                      <a:pt x="285750" y="234506"/>
                      <a:pt x="285750" y="171450"/>
                    </a:cubicBezTo>
                    <a:cubicBezTo>
                      <a:pt x="285750" y="108394"/>
                      <a:pt x="234506" y="57150"/>
                      <a:pt x="171450" y="5715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2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7" name="Freihandform: Form 146">
                <a:extLst>
                  <a:ext uri="{FF2B5EF4-FFF2-40B4-BE49-F238E27FC236}">
                    <a16:creationId xmlns:a16="http://schemas.microsoft.com/office/drawing/2014/main" id="{9E5E87A3-B529-8444-8032-96CBC4FB2E17}"/>
                  </a:ext>
                </a:extLst>
              </p:cNvPr>
              <p:cNvSpPr/>
              <p:nvPr/>
            </p:nvSpPr>
            <p:spPr>
              <a:xfrm>
                <a:off x="511486" y="2385548"/>
                <a:ext cx="75666" cy="75666"/>
              </a:xfrm>
              <a:custGeom>
                <a:avLst/>
                <a:gdLst>
                  <a:gd name="connsiteX0" fmla="*/ 171450 w 342900"/>
                  <a:gd name="connsiteY0" fmla="*/ 342900 h 342900"/>
                  <a:gd name="connsiteX1" fmla="*/ 0 w 342900"/>
                  <a:gd name="connsiteY1" fmla="*/ 171450 h 342900"/>
                  <a:gd name="connsiteX2" fmla="*/ 171450 w 342900"/>
                  <a:gd name="connsiteY2" fmla="*/ 0 h 342900"/>
                  <a:gd name="connsiteX3" fmla="*/ 342900 w 342900"/>
                  <a:gd name="connsiteY3" fmla="*/ 171450 h 342900"/>
                  <a:gd name="connsiteX4" fmla="*/ 171450 w 342900"/>
                  <a:gd name="connsiteY4" fmla="*/ 342900 h 342900"/>
                  <a:gd name="connsiteX5" fmla="*/ 171450 w 342900"/>
                  <a:gd name="connsiteY5" fmla="*/ 57150 h 342900"/>
                  <a:gd name="connsiteX6" fmla="*/ 57150 w 342900"/>
                  <a:gd name="connsiteY6" fmla="*/ 171450 h 342900"/>
                  <a:gd name="connsiteX7" fmla="*/ 171450 w 342900"/>
                  <a:gd name="connsiteY7" fmla="*/ 285750 h 342900"/>
                  <a:gd name="connsiteX8" fmla="*/ 285750 w 342900"/>
                  <a:gd name="connsiteY8" fmla="*/ 171450 h 342900"/>
                  <a:gd name="connsiteX9" fmla="*/ 171450 w 342900"/>
                  <a:gd name="connsiteY9" fmla="*/ 57150 h 3429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342900" h="342900">
                    <a:moveTo>
                      <a:pt x="171450" y="342900"/>
                    </a:moveTo>
                    <a:cubicBezTo>
                      <a:pt x="76867" y="342900"/>
                      <a:pt x="0" y="266033"/>
                      <a:pt x="0" y="171450"/>
                    </a:cubicBezTo>
                    <a:cubicBezTo>
                      <a:pt x="0" y="76867"/>
                      <a:pt x="76867" y="0"/>
                      <a:pt x="171450" y="0"/>
                    </a:cubicBezTo>
                    <a:cubicBezTo>
                      <a:pt x="266033" y="0"/>
                      <a:pt x="342900" y="76867"/>
                      <a:pt x="342900" y="171450"/>
                    </a:cubicBezTo>
                    <a:cubicBezTo>
                      <a:pt x="342900" y="266033"/>
                      <a:pt x="266033" y="342900"/>
                      <a:pt x="171450" y="342900"/>
                    </a:cubicBezTo>
                    <a:close/>
                    <a:moveTo>
                      <a:pt x="171450" y="57150"/>
                    </a:moveTo>
                    <a:cubicBezTo>
                      <a:pt x="108395" y="57150"/>
                      <a:pt x="57150" y="108395"/>
                      <a:pt x="57150" y="171450"/>
                    </a:cubicBezTo>
                    <a:cubicBezTo>
                      <a:pt x="57150" y="234506"/>
                      <a:pt x="108395" y="285750"/>
                      <a:pt x="171450" y="285750"/>
                    </a:cubicBezTo>
                    <a:cubicBezTo>
                      <a:pt x="234506" y="285750"/>
                      <a:pt x="285750" y="234506"/>
                      <a:pt x="285750" y="171450"/>
                    </a:cubicBezTo>
                    <a:cubicBezTo>
                      <a:pt x="285750" y="108395"/>
                      <a:pt x="234506" y="57150"/>
                      <a:pt x="171450" y="5715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2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</p:grpSp>
      </p:grpSp>
      <p:sp>
        <p:nvSpPr>
          <p:cNvPr id="154" name="Textfeld 133">
            <a:extLst>
              <a:ext uri="{FF2B5EF4-FFF2-40B4-BE49-F238E27FC236}">
                <a16:creationId xmlns:a16="http://schemas.microsoft.com/office/drawing/2014/main" id="{1F30C89E-239C-CA82-7292-FF53BD2C263F}"/>
              </a:ext>
            </a:extLst>
          </p:cNvPr>
          <p:cNvSpPr txBox="1"/>
          <p:nvPr/>
        </p:nvSpPr>
        <p:spPr>
          <a:xfrm>
            <a:off x="332015" y="3487815"/>
            <a:ext cx="442429" cy="184666"/>
          </a:xfrm>
          <a:prstGeom prst="rect">
            <a:avLst/>
          </a:prstGeom>
          <a:noFill/>
          <a:effectLst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0" cap="none" spc="0" normalizeH="0" baseline="0" noProof="0" dirty="0">
                <a:ln>
                  <a:noFill/>
                </a:ln>
                <a:solidFill>
                  <a:srgbClr val="004DBF"/>
                </a:solidFill>
                <a:effectLst/>
                <a:uLnTx/>
                <a:uFillTx/>
              </a:rPr>
              <a:t>Shape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C026FEC3-60F6-B79D-A24E-689CCC9EF6A7}"/>
              </a:ext>
            </a:extLst>
          </p:cNvPr>
          <p:cNvGrpSpPr/>
          <p:nvPr/>
        </p:nvGrpSpPr>
        <p:grpSpPr>
          <a:xfrm>
            <a:off x="369733" y="3088805"/>
            <a:ext cx="366993" cy="356400"/>
            <a:chOff x="369733" y="3088805"/>
            <a:chExt cx="366993" cy="356400"/>
          </a:xfrm>
        </p:grpSpPr>
        <p:grpSp>
          <p:nvGrpSpPr>
            <p:cNvPr id="156" name="Gruppieren 238">
              <a:extLst>
                <a:ext uri="{FF2B5EF4-FFF2-40B4-BE49-F238E27FC236}">
                  <a16:creationId xmlns:a16="http://schemas.microsoft.com/office/drawing/2014/main" id="{2DF8CC87-89AF-DB37-0CD6-0ED5C6B3FBF0}"/>
                </a:ext>
              </a:extLst>
            </p:cNvPr>
            <p:cNvGrpSpPr/>
            <p:nvPr/>
          </p:nvGrpSpPr>
          <p:grpSpPr>
            <a:xfrm>
              <a:off x="491113" y="3088805"/>
              <a:ext cx="125028" cy="356400"/>
              <a:chOff x="701400" y="3239269"/>
              <a:chExt cx="222742" cy="634934"/>
            </a:xfrm>
            <a:solidFill>
              <a:srgbClr val="004DBF"/>
            </a:solidFill>
          </p:grpSpPr>
          <p:sp>
            <p:nvSpPr>
              <p:cNvPr id="170" name="Freihandform: Form 252">
                <a:extLst>
                  <a:ext uri="{FF2B5EF4-FFF2-40B4-BE49-F238E27FC236}">
                    <a16:creationId xmlns:a16="http://schemas.microsoft.com/office/drawing/2014/main" id="{371D548F-C5B6-A433-768A-FBD6B330FFCD}"/>
                  </a:ext>
                </a:extLst>
              </p:cNvPr>
              <p:cNvSpPr/>
              <p:nvPr/>
            </p:nvSpPr>
            <p:spPr>
              <a:xfrm>
                <a:off x="701400" y="3239269"/>
                <a:ext cx="222742" cy="185547"/>
              </a:xfrm>
              <a:custGeom>
                <a:avLst/>
                <a:gdLst>
                  <a:gd name="connsiteX0" fmla="*/ 870434 w 898858"/>
                  <a:gd name="connsiteY0" fmla="*/ 748760 h 748760"/>
                  <a:gd name="connsiteX1" fmla="*/ 28615 w 898858"/>
                  <a:gd name="connsiteY1" fmla="*/ 748760 h 748760"/>
                  <a:gd name="connsiteX2" fmla="*/ 3659 w 898858"/>
                  <a:gd name="connsiteY2" fmla="*/ 734187 h 748760"/>
                  <a:gd name="connsiteX3" fmla="*/ 4136 w 898858"/>
                  <a:gd name="connsiteY3" fmla="*/ 705326 h 748760"/>
                  <a:gd name="connsiteX4" fmla="*/ 425045 w 898858"/>
                  <a:gd name="connsiteY4" fmla="*/ 13716 h 748760"/>
                  <a:gd name="connsiteX5" fmla="*/ 449429 w 898858"/>
                  <a:gd name="connsiteY5" fmla="*/ 0 h 748760"/>
                  <a:gd name="connsiteX6" fmla="*/ 473813 w 898858"/>
                  <a:gd name="connsiteY6" fmla="*/ 13716 h 748760"/>
                  <a:gd name="connsiteX7" fmla="*/ 894723 w 898858"/>
                  <a:gd name="connsiteY7" fmla="*/ 705326 h 748760"/>
                  <a:gd name="connsiteX8" fmla="*/ 895199 w 898858"/>
                  <a:gd name="connsiteY8" fmla="*/ 734187 h 748760"/>
                  <a:gd name="connsiteX9" fmla="*/ 870434 w 898858"/>
                  <a:gd name="connsiteY9" fmla="*/ 748760 h 748760"/>
                  <a:gd name="connsiteX10" fmla="*/ 79478 w 898858"/>
                  <a:gd name="connsiteY10" fmla="*/ 691610 h 748760"/>
                  <a:gd name="connsiteX11" fmla="*/ 819571 w 898858"/>
                  <a:gd name="connsiteY11" fmla="*/ 691610 h 748760"/>
                  <a:gd name="connsiteX12" fmla="*/ 449524 w 898858"/>
                  <a:gd name="connsiteY12" fmla="*/ 83534 h 748760"/>
                  <a:gd name="connsiteX13" fmla="*/ 79478 w 898858"/>
                  <a:gd name="connsiteY13" fmla="*/ 691610 h 7487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898858" h="748760">
                    <a:moveTo>
                      <a:pt x="870434" y="748760"/>
                    </a:moveTo>
                    <a:lnTo>
                      <a:pt x="28615" y="748760"/>
                    </a:lnTo>
                    <a:cubicBezTo>
                      <a:pt x="18328" y="748760"/>
                      <a:pt x="8803" y="743236"/>
                      <a:pt x="3659" y="734187"/>
                    </a:cubicBezTo>
                    <a:cubicBezTo>
                      <a:pt x="-1389" y="725234"/>
                      <a:pt x="-1199" y="714185"/>
                      <a:pt x="4136" y="705326"/>
                    </a:cubicBezTo>
                    <a:lnTo>
                      <a:pt x="425045" y="13716"/>
                    </a:lnTo>
                    <a:cubicBezTo>
                      <a:pt x="430189" y="5239"/>
                      <a:pt x="439523" y="0"/>
                      <a:pt x="449429" y="0"/>
                    </a:cubicBezTo>
                    <a:cubicBezTo>
                      <a:pt x="459335" y="0"/>
                      <a:pt x="468670" y="5239"/>
                      <a:pt x="473813" y="13716"/>
                    </a:cubicBezTo>
                    <a:lnTo>
                      <a:pt x="894723" y="705326"/>
                    </a:lnTo>
                    <a:cubicBezTo>
                      <a:pt x="900057" y="714185"/>
                      <a:pt x="900248" y="725138"/>
                      <a:pt x="895199" y="734187"/>
                    </a:cubicBezTo>
                    <a:cubicBezTo>
                      <a:pt x="890246" y="743140"/>
                      <a:pt x="880721" y="748760"/>
                      <a:pt x="870434" y="748760"/>
                    </a:cubicBezTo>
                    <a:close/>
                    <a:moveTo>
                      <a:pt x="79478" y="691610"/>
                    </a:moveTo>
                    <a:lnTo>
                      <a:pt x="819571" y="691610"/>
                    </a:lnTo>
                    <a:lnTo>
                      <a:pt x="449524" y="83534"/>
                    </a:lnTo>
                    <a:lnTo>
                      <a:pt x="79478" y="691610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2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71" name="Rechteck: abgerundete Ecken 253">
                <a:extLst>
                  <a:ext uri="{FF2B5EF4-FFF2-40B4-BE49-F238E27FC236}">
                    <a16:creationId xmlns:a16="http://schemas.microsoft.com/office/drawing/2014/main" id="{9C2DC271-29CF-AD94-B7DD-3F3792B76E51}"/>
                  </a:ext>
                </a:extLst>
              </p:cNvPr>
              <p:cNvSpPr/>
              <p:nvPr/>
            </p:nvSpPr>
            <p:spPr>
              <a:xfrm>
                <a:off x="805857" y="3560129"/>
                <a:ext cx="13828" cy="95066"/>
              </a:xfrm>
              <a:prstGeom prst="roundRect">
                <a:avLst>
                  <a:gd name="adj" fmla="val 50000"/>
                </a:avLst>
              </a:pr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2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72" name="Rechteck: abgerundete Ecken 254">
                <a:extLst>
                  <a:ext uri="{FF2B5EF4-FFF2-40B4-BE49-F238E27FC236}">
                    <a16:creationId xmlns:a16="http://schemas.microsoft.com/office/drawing/2014/main" id="{DDFC934B-A9DE-A976-1CDF-987C5EEEF392}"/>
                  </a:ext>
                </a:extLst>
              </p:cNvPr>
              <p:cNvSpPr/>
              <p:nvPr/>
            </p:nvSpPr>
            <p:spPr>
              <a:xfrm>
                <a:off x="805857" y="3414658"/>
                <a:ext cx="13828" cy="120994"/>
              </a:xfrm>
              <a:prstGeom prst="roundRect">
                <a:avLst>
                  <a:gd name="adj" fmla="val 50000"/>
                </a:avLst>
              </a:pr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2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73" name="Rechteck: abgerundete Ecken 255">
                <a:extLst>
                  <a:ext uri="{FF2B5EF4-FFF2-40B4-BE49-F238E27FC236}">
                    <a16:creationId xmlns:a16="http://schemas.microsoft.com/office/drawing/2014/main" id="{C546C5AF-21D1-FBE8-9F8C-2E58BDA7CA14}"/>
                  </a:ext>
                </a:extLst>
              </p:cNvPr>
              <p:cNvSpPr/>
              <p:nvPr/>
            </p:nvSpPr>
            <p:spPr>
              <a:xfrm>
                <a:off x="805857" y="3679672"/>
                <a:ext cx="13828" cy="69139"/>
              </a:xfrm>
              <a:prstGeom prst="roundRect">
                <a:avLst>
                  <a:gd name="adj" fmla="val 50000"/>
                </a:avLst>
              </a:pr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2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74" name="Rechteck: abgerundete Ecken 256">
                <a:extLst>
                  <a:ext uri="{FF2B5EF4-FFF2-40B4-BE49-F238E27FC236}">
                    <a16:creationId xmlns:a16="http://schemas.microsoft.com/office/drawing/2014/main" id="{8173E30C-06F5-4F59-4950-D424B1ED3AF1}"/>
                  </a:ext>
                </a:extLst>
              </p:cNvPr>
              <p:cNvSpPr/>
              <p:nvPr/>
            </p:nvSpPr>
            <p:spPr>
              <a:xfrm>
                <a:off x="805857" y="3822348"/>
                <a:ext cx="13828" cy="51854"/>
              </a:xfrm>
              <a:prstGeom prst="roundRect">
                <a:avLst>
                  <a:gd name="adj" fmla="val 50000"/>
                </a:avLst>
              </a:pr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2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75" name="Rechteck: abgerundete Ecken 257">
                <a:extLst>
                  <a:ext uri="{FF2B5EF4-FFF2-40B4-BE49-F238E27FC236}">
                    <a16:creationId xmlns:a16="http://schemas.microsoft.com/office/drawing/2014/main" id="{918DB229-771A-EF97-EC9D-190EFAFEBFF3}"/>
                  </a:ext>
                </a:extLst>
              </p:cNvPr>
              <p:cNvSpPr/>
              <p:nvPr/>
            </p:nvSpPr>
            <p:spPr>
              <a:xfrm rot="5400000">
                <a:off x="806292" y="3820413"/>
                <a:ext cx="13828" cy="93752"/>
              </a:xfrm>
              <a:prstGeom prst="roundRect">
                <a:avLst>
                  <a:gd name="adj" fmla="val 50000"/>
                </a:avLst>
              </a:pr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2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76" name="Rechteck: abgerundete Ecken 258">
                <a:extLst>
                  <a:ext uri="{FF2B5EF4-FFF2-40B4-BE49-F238E27FC236}">
                    <a16:creationId xmlns:a16="http://schemas.microsoft.com/office/drawing/2014/main" id="{A49477C6-0F25-8068-84E5-C0BAC7A24779}"/>
                  </a:ext>
                </a:extLst>
              </p:cNvPr>
              <p:cNvSpPr/>
              <p:nvPr/>
            </p:nvSpPr>
            <p:spPr>
              <a:xfrm rot="10800000">
                <a:off x="805857" y="3773288"/>
                <a:ext cx="13828" cy="24582"/>
              </a:xfrm>
              <a:prstGeom prst="roundRect">
                <a:avLst>
                  <a:gd name="adj" fmla="val 50000"/>
                </a:avLst>
              </a:prstGeom>
              <a:grpFill/>
              <a:ln w="9525" cap="flat">
                <a:noFill/>
                <a:prstDash val="solid"/>
                <a:miter/>
              </a:ln>
            </p:spPr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2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</p:grpSp>
        <p:grpSp>
          <p:nvGrpSpPr>
            <p:cNvPr id="157" name="Gruppieren 239">
              <a:extLst>
                <a:ext uri="{FF2B5EF4-FFF2-40B4-BE49-F238E27FC236}">
                  <a16:creationId xmlns:a16="http://schemas.microsoft.com/office/drawing/2014/main" id="{A86D7FE2-F1A4-C0A2-ADFC-CE3BC9CD4448}"/>
                </a:ext>
              </a:extLst>
            </p:cNvPr>
            <p:cNvGrpSpPr/>
            <p:nvPr/>
          </p:nvGrpSpPr>
          <p:grpSpPr>
            <a:xfrm>
              <a:off x="369733" y="3213346"/>
              <a:ext cx="366993" cy="231859"/>
              <a:chOff x="485159" y="3461142"/>
              <a:chExt cx="653809" cy="413061"/>
            </a:xfrm>
            <a:solidFill>
              <a:schemeClr val="tx2"/>
            </a:solidFill>
          </p:grpSpPr>
          <p:sp>
            <p:nvSpPr>
              <p:cNvPr id="158" name="Freihandform: Form 240">
                <a:extLst>
                  <a:ext uri="{FF2B5EF4-FFF2-40B4-BE49-F238E27FC236}">
                    <a16:creationId xmlns:a16="http://schemas.microsoft.com/office/drawing/2014/main" id="{A6033858-4FC0-9EB2-6531-8C76D3AB9270}"/>
                  </a:ext>
                </a:extLst>
              </p:cNvPr>
              <p:cNvSpPr/>
              <p:nvPr/>
            </p:nvSpPr>
            <p:spPr>
              <a:xfrm>
                <a:off x="596105" y="3461142"/>
                <a:ext cx="177012" cy="188828"/>
              </a:xfrm>
              <a:custGeom>
                <a:avLst/>
                <a:gdLst>
                  <a:gd name="connsiteX0" fmla="*/ 685745 w 714319"/>
                  <a:gd name="connsiteY0" fmla="*/ 762000 h 762000"/>
                  <a:gd name="connsiteX1" fmla="*/ 28519 w 714319"/>
                  <a:gd name="connsiteY1" fmla="*/ 762000 h 762000"/>
                  <a:gd name="connsiteX2" fmla="*/ 3659 w 714319"/>
                  <a:gd name="connsiteY2" fmla="*/ 747427 h 762000"/>
                  <a:gd name="connsiteX3" fmla="*/ 4135 w 714319"/>
                  <a:gd name="connsiteY3" fmla="*/ 718566 h 762000"/>
                  <a:gd name="connsiteX4" fmla="*/ 432761 w 714319"/>
                  <a:gd name="connsiteY4" fmla="*/ 13716 h 762000"/>
                  <a:gd name="connsiteX5" fmla="*/ 457144 w 714319"/>
                  <a:gd name="connsiteY5" fmla="*/ 0 h 762000"/>
                  <a:gd name="connsiteX6" fmla="*/ 647645 w 714319"/>
                  <a:gd name="connsiteY6" fmla="*/ 0 h 762000"/>
                  <a:gd name="connsiteX7" fmla="*/ 676220 w 714319"/>
                  <a:gd name="connsiteY7" fmla="*/ 28575 h 762000"/>
                  <a:gd name="connsiteX8" fmla="*/ 647645 w 714319"/>
                  <a:gd name="connsiteY8" fmla="*/ 57150 h 762000"/>
                  <a:gd name="connsiteX9" fmla="*/ 473242 w 714319"/>
                  <a:gd name="connsiteY9" fmla="*/ 57150 h 762000"/>
                  <a:gd name="connsiteX10" fmla="*/ 79383 w 714319"/>
                  <a:gd name="connsiteY10" fmla="*/ 704850 h 762000"/>
                  <a:gd name="connsiteX11" fmla="*/ 685745 w 714319"/>
                  <a:gd name="connsiteY11" fmla="*/ 704850 h 762000"/>
                  <a:gd name="connsiteX12" fmla="*/ 714320 w 714319"/>
                  <a:gd name="connsiteY12" fmla="*/ 733425 h 762000"/>
                  <a:gd name="connsiteX13" fmla="*/ 685745 w 714319"/>
                  <a:gd name="connsiteY13" fmla="*/ 762000 h 762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714319" h="762000">
                    <a:moveTo>
                      <a:pt x="685745" y="762000"/>
                    </a:moveTo>
                    <a:lnTo>
                      <a:pt x="28519" y="762000"/>
                    </a:lnTo>
                    <a:cubicBezTo>
                      <a:pt x="18232" y="762000"/>
                      <a:pt x="8707" y="756476"/>
                      <a:pt x="3659" y="747427"/>
                    </a:cubicBezTo>
                    <a:cubicBezTo>
                      <a:pt x="-1389" y="738378"/>
                      <a:pt x="-1199" y="727424"/>
                      <a:pt x="4135" y="718566"/>
                    </a:cubicBezTo>
                    <a:lnTo>
                      <a:pt x="432761" y="13716"/>
                    </a:lnTo>
                    <a:cubicBezTo>
                      <a:pt x="437904" y="5239"/>
                      <a:pt x="447143" y="0"/>
                      <a:pt x="457144" y="0"/>
                    </a:cubicBezTo>
                    <a:lnTo>
                      <a:pt x="647645" y="0"/>
                    </a:lnTo>
                    <a:cubicBezTo>
                      <a:pt x="663456" y="0"/>
                      <a:pt x="676220" y="12763"/>
                      <a:pt x="676220" y="28575"/>
                    </a:cubicBezTo>
                    <a:cubicBezTo>
                      <a:pt x="676220" y="44387"/>
                      <a:pt x="663456" y="57150"/>
                      <a:pt x="647645" y="57150"/>
                    </a:cubicBezTo>
                    <a:lnTo>
                      <a:pt x="473242" y="57150"/>
                    </a:lnTo>
                    <a:lnTo>
                      <a:pt x="79383" y="704850"/>
                    </a:lnTo>
                    <a:lnTo>
                      <a:pt x="685745" y="704850"/>
                    </a:lnTo>
                    <a:cubicBezTo>
                      <a:pt x="701556" y="704850"/>
                      <a:pt x="714320" y="717613"/>
                      <a:pt x="714320" y="733425"/>
                    </a:cubicBezTo>
                    <a:cubicBezTo>
                      <a:pt x="714320" y="749237"/>
                      <a:pt x="701556" y="762000"/>
                      <a:pt x="685745" y="76200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2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59" name="Freihandform: Form 241">
                <a:extLst>
                  <a:ext uri="{FF2B5EF4-FFF2-40B4-BE49-F238E27FC236}">
                    <a16:creationId xmlns:a16="http://schemas.microsoft.com/office/drawing/2014/main" id="{7E382EF7-0F6C-A5F6-2341-24D337C78C55}"/>
                  </a:ext>
                </a:extLst>
              </p:cNvPr>
              <p:cNvSpPr/>
              <p:nvPr/>
            </p:nvSpPr>
            <p:spPr>
              <a:xfrm>
                <a:off x="851009" y="3461142"/>
                <a:ext cx="177012" cy="188828"/>
              </a:xfrm>
              <a:custGeom>
                <a:avLst/>
                <a:gdLst>
                  <a:gd name="connsiteX0" fmla="*/ 685800 w 714319"/>
                  <a:gd name="connsiteY0" fmla="*/ 762000 h 762000"/>
                  <a:gd name="connsiteX1" fmla="*/ 28575 w 714319"/>
                  <a:gd name="connsiteY1" fmla="*/ 762000 h 762000"/>
                  <a:gd name="connsiteX2" fmla="*/ 0 w 714319"/>
                  <a:gd name="connsiteY2" fmla="*/ 733425 h 762000"/>
                  <a:gd name="connsiteX3" fmla="*/ 28575 w 714319"/>
                  <a:gd name="connsiteY3" fmla="*/ 704850 h 762000"/>
                  <a:gd name="connsiteX4" fmla="*/ 634937 w 714319"/>
                  <a:gd name="connsiteY4" fmla="*/ 704850 h 762000"/>
                  <a:gd name="connsiteX5" fmla="*/ 241078 w 714319"/>
                  <a:gd name="connsiteY5" fmla="*/ 57150 h 762000"/>
                  <a:gd name="connsiteX6" fmla="*/ 66675 w 714319"/>
                  <a:gd name="connsiteY6" fmla="*/ 57150 h 762000"/>
                  <a:gd name="connsiteX7" fmla="*/ 38100 w 714319"/>
                  <a:gd name="connsiteY7" fmla="*/ 28575 h 762000"/>
                  <a:gd name="connsiteX8" fmla="*/ 66675 w 714319"/>
                  <a:gd name="connsiteY8" fmla="*/ 0 h 762000"/>
                  <a:gd name="connsiteX9" fmla="*/ 257175 w 714319"/>
                  <a:gd name="connsiteY9" fmla="*/ 0 h 762000"/>
                  <a:gd name="connsiteX10" fmla="*/ 281559 w 714319"/>
                  <a:gd name="connsiteY10" fmla="*/ 13716 h 762000"/>
                  <a:gd name="connsiteX11" fmla="*/ 710184 w 714319"/>
                  <a:gd name="connsiteY11" fmla="*/ 718566 h 762000"/>
                  <a:gd name="connsiteX12" fmla="*/ 710660 w 714319"/>
                  <a:gd name="connsiteY12" fmla="*/ 747427 h 762000"/>
                  <a:gd name="connsiteX13" fmla="*/ 685800 w 714319"/>
                  <a:gd name="connsiteY13" fmla="*/ 762000 h 762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714319" h="762000">
                    <a:moveTo>
                      <a:pt x="685800" y="762000"/>
                    </a:moveTo>
                    <a:lnTo>
                      <a:pt x="28575" y="762000"/>
                    </a:lnTo>
                    <a:cubicBezTo>
                      <a:pt x="12763" y="762000"/>
                      <a:pt x="0" y="749237"/>
                      <a:pt x="0" y="733425"/>
                    </a:cubicBezTo>
                    <a:cubicBezTo>
                      <a:pt x="0" y="717613"/>
                      <a:pt x="12763" y="704850"/>
                      <a:pt x="28575" y="704850"/>
                    </a:cubicBezTo>
                    <a:lnTo>
                      <a:pt x="634937" y="704850"/>
                    </a:lnTo>
                    <a:lnTo>
                      <a:pt x="241078" y="57150"/>
                    </a:lnTo>
                    <a:lnTo>
                      <a:pt x="66675" y="57150"/>
                    </a:lnTo>
                    <a:cubicBezTo>
                      <a:pt x="50863" y="57150"/>
                      <a:pt x="38100" y="44387"/>
                      <a:pt x="38100" y="28575"/>
                    </a:cubicBezTo>
                    <a:cubicBezTo>
                      <a:pt x="38100" y="12763"/>
                      <a:pt x="50863" y="0"/>
                      <a:pt x="66675" y="0"/>
                    </a:cubicBezTo>
                    <a:lnTo>
                      <a:pt x="257175" y="0"/>
                    </a:lnTo>
                    <a:cubicBezTo>
                      <a:pt x="267176" y="0"/>
                      <a:pt x="276416" y="5239"/>
                      <a:pt x="281559" y="13716"/>
                    </a:cubicBezTo>
                    <a:lnTo>
                      <a:pt x="710184" y="718566"/>
                    </a:lnTo>
                    <a:cubicBezTo>
                      <a:pt x="715518" y="727424"/>
                      <a:pt x="715709" y="738378"/>
                      <a:pt x="710660" y="747427"/>
                    </a:cubicBezTo>
                    <a:cubicBezTo>
                      <a:pt x="705612" y="756476"/>
                      <a:pt x="696087" y="762000"/>
                      <a:pt x="685800" y="76200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2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60" name="Freihandform: Form 242">
                <a:extLst>
                  <a:ext uri="{FF2B5EF4-FFF2-40B4-BE49-F238E27FC236}">
                    <a16:creationId xmlns:a16="http://schemas.microsoft.com/office/drawing/2014/main" id="{A0E5A901-A696-88E4-4F77-B31FF45B7C31}"/>
                  </a:ext>
                </a:extLst>
              </p:cNvPr>
              <p:cNvSpPr/>
              <p:nvPr/>
            </p:nvSpPr>
            <p:spPr>
              <a:xfrm>
                <a:off x="485159" y="3680654"/>
                <a:ext cx="287959" cy="193549"/>
              </a:xfrm>
              <a:custGeom>
                <a:avLst/>
                <a:gdLst>
                  <a:gd name="connsiteX0" fmla="*/ 491586 w 1199493"/>
                  <a:gd name="connsiteY0" fmla="*/ 0 h 806228"/>
                  <a:gd name="connsiteX1" fmla="*/ 1169997 w 1199493"/>
                  <a:gd name="connsiteY1" fmla="*/ 0 h 806228"/>
                  <a:gd name="connsiteX2" fmla="*/ 1199493 w 1199493"/>
                  <a:gd name="connsiteY2" fmla="*/ 29496 h 806228"/>
                  <a:gd name="connsiteX3" fmla="*/ 1169997 w 1199493"/>
                  <a:gd name="connsiteY3" fmla="*/ 58992 h 806228"/>
                  <a:gd name="connsiteX4" fmla="*/ 508006 w 1199493"/>
                  <a:gd name="connsiteY4" fmla="*/ 58992 h 806228"/>
                  <a:gd name="connsiteX5" fmla="*/ 82377 w 1199493"/>
                  <a:gd name="connsiteY5" fmla="*/ 747236 h 806228"/>
                  <a:gd name="connsiteX6" fmla="*/ 107666 w 1199493"/>
                  <a:gd name="connsiteY6" fmla="*/ 747236 h 806228"/>
                  <a:gd name="connsiteX7" fmla="*/ 107666 w 1199493"/>
                  <a:gd name="connsiteY7" fmla="*/ 806228 h 806228"/>
                  <a:gd name="connsiteX8" fmla="*/ 29480 w 1199493"/>
                  <a:gd name="connsiteY8" fmla="*/ 806228 h 806228"/>
                  <a:gd name="connsiteX9" fmla="*/ 3720 w 1199493"/>
                  <a:gd name="connsiteY9" fmla="*/ 791086 h 806228"/>
                  <a:gd name="connsiteX10" fmla="*/ 4409 w 1199493"/>
                  <a:gd name="connsiteY10" fmla="*/ 761198 h 806228"/>
                  <a:gd name="connsiteX11" fmla="*/ 466515 w 1199493"/>
                  <a:gd name="connsiteY11" fmla="*/ 13961 h 806228"/>
                  <a:gd name="connsiteX12" fmla="*/ 491586 w 1199493"/>
                  <a:gd name="connsiteY12" fmla="*/ 0 h 8062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199493" h="806228">
                    <a:moveTo>
                      <a:pt x="491586" y="0"/>
                    </a:moveTo>
                    <a:lnTo>
                      <a:pt x="1169997" y="0"/>
                    </a:lnTo>
                    <a:cubicBezTo>
                      <a:pt x="1186319" y="0"/>
                      <a:pt x="1199493" y="13175"/>
                      <a:pt x="1199493" y="29496"/>
                    </a:cubicBezTo>
                    <a:cubicBezTo>
                      <a:pt x="1199493" y="45818"/>
                      <a:pt x="1186319" y="58992"/>
                      <a:pt x="1169997" y="58992"/>
                    </a:cubicBezTo>
                    <a:lnTo>
                      <a:pt x="508006" y="58992"/>
                    </a:lnTo>
                    <a:lnTo>
                      <a:pt x="82377" y="747236"/>
                    </a:lnTo>
                    <a:lnTo>
                      <a:pt x="107666" y="747236"/>
                    </a:lnTo>
                    <a:lnTo>
                      <a:pt x="107666" y="806228"/>
                    </a:lnTo>
                    <a:lnTo>
                      <a:pt x="29480" y="806228"/>
                    </a:lnTo>
                    <a:cubicBezTo>
                      <a:pt x="18763" y="806228"/>
                      <a:pt x="8931" y="800427"/>
                      <a:pt x="3720" y="791086"/>
                    </a:cubicBezTo>
                    <a:cubicBezTo>
                      <a:pt x="-1491" y="781747"/>
                      <a:pt x="-1197" y="770341"/>
                      <a:pt x="4409" y="761198"/>
                    </a:cubicBezTo>
                    <a:lnTo>
                      <a:pt x="466515" y="13961"/>
                    </a:lnTo>
                    <a:cubicBezTo>
                      <a:pt x="471922" y="5309"/>
                      <a:pt x="481361" y="0"/>
                      <a:pt x="491586" y="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2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61" name="Freihandform: Form 243">
                <a:extLst>
                  <a:ext uri="{FF2B5EF4-FFF2-40B4-BE49-F238E27FC236}">
                    <a16:creationId xmlns:a16="http://schemas.microsoft.com/office/drawing/2014/main" id="{D03E4F04-8FCE-83A9-3970-5CC8207C451D}"/>
                  </a:ext>
                </a:extLst>
              </p:cNvPr>
              <p:cNvSpPr/>
              <p:nvPr/>
            </p:nvSpPr>
            <p:spPr>
              <a:xfrm>
                <a:off x="851009" y="3680654"/>
                <a:ext cx="287959" cy="193549"/>
              </a:xfrm>
              <a:custGeom>
                <a:avLst/>
                <a:gdLst>
                  <a:gd name="connsiteX0" fmla="*/ 29496 w 1199493"/>
                  <a:gd name="connsiteY0" fmla="*/ 0 h 806228"/>
                  <a:gd name="connsiteX1" fmla="*/ 707907 w 1199493"/>
                  <a:gd name="connsiteY1" fmla="*/ 0 h 806228"/>
                  <a:gd name="connsiteX2" fmla="*/ 732979 w 1199493"/>
                  <a:gd name="connsiteY2" fmla="*/ 13961 h 806228"/>
                  <a:gd name="connsiteX3" fmla="*/ 1195086 w 1199493"/>
                  <a:gd name="connsiteY3" fmla="*/ 761198 h 806228"/>
                  <a:gd name="connsiteX4" fmla="*/ 1195774 w 1199493"/>
                  <a:gd name="connsiteY4" fmla="*/ 791086 h 806228"/>
                  <a:gd name="connsiteX5" fmla="*/ 1170014 w 1199493"/>
                  <a:gd name="connsiteY5" fmla="*/ 806228 h 806228"/>
                  <a:gd name="connsiteX6" fmla="*/ 1086408 w 1199493"/>
                  <a:gd name="connsiteY6" fmla="*/ 806228 h 806228"/>
                  <a:gd name="connsiteX7" fmla="*/ 1086408 w 1199493"/>
                  <a:gd name="connsiteY7" fmla="*/ 747236 h 806228"/>
                  <a:gd name="connsiteX8" fmla="*/ 1117118 w 1199493"/>
                  <a:gd name="connsiteY8" fmla="*/ 747236 h 806228"/>
                  <a:gd name="connsiteX9" fmla="*/ 691488 w 1199493"/>
                  <a:gd name="connsiteY9" fmla="*/ 58992 h 806228"/>
                  <a:gd name="connsiteX10" fmla="*/ 29496 w 1199493"/>
                  <a:gd name="connsiteY10" fmla="*/ 58992 h 806228"/>
                  <a:gd name="connsiteX11" fmla="*/ 0 w 1199493"/>
                  <a:gd name="connsiteY11" fmla="*/ 29496 h 806228"/>
                  <a:gd name="connsiteX12" fmla="*/ 29496 w 1199493"/>
                  <a:gd name="connsiteY12" fmla="*/ 0 h 8062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199493" h="806228">
                    <a:moveTo>
                      <a:pt x="29496" y="0"/>
                    </a:moveTo>
                    <a:lnTo>
                      <a:pt x="707907" y="0"/>
                    </a:lnTo>
                    <a:cubicBezTo>
                      <a:pt x="718133" y="0"/>
                      <a:pt x="727572" y="5309"/>
                      <a:pt x="732979" y="13961"/>
                    </a:cubicBezTo>
                    <a:lnTo>
                      <a:pt x="1195086" y="761198"/>
                    </a:lnTo>
                    <a:cubicBezTo>
                      <a:pt x="1200690" y="770341"/>
                      <a:pt x="1200985" y="781747"/>
                      <a:pt x="1195774" y="791086"/>
                    </a:cubicBezTo>
                    <a:cubicBezTo>
                      <a:pt x="1190562" y="800427"/>
                      <a:pt x="1180730" y="806228"/>
                      <a:pt x="1170014" y="806228"/>
                    </a:cubicBezTo>
                    <a:lnTo>
                      <a:pt x="1086408" y="806228"/>
                    </a:lnTo>
                    <a:lnTo>
                      <a:pt x="1086408" y="747236"/>
                    </a:lnTo>
                    <a:lnTo>
                      <a:pt x="1117118" y="747236"/>
                    </a:lnTo>
                    <a:lnTo>
                      <a:pt x="691488" y="58992"/>
                    </a:lnTo>
                    <a:lnTo>
                      <a:pt x="29496" y="58992"/>
                    </a:lnTo>
                    <a:cubicBezTo>
                      <a:pt x="13175" y="58992"/>
                      <a:pt x="0" y="45818"/>
                      <a:pt x="0" y="29496"/>
                    </a:cubicBezTo>
                    <a:cubicBezTo>
                      <a:pt x="0" y="13175"/>
                      <a:pt x="13175" y="0"/>
                      <a:pt x="29496" y="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2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grpSp>
            <p:nvGrpSpPr>
              <p:cNvPr id="162" name="Gruppieren 244">
                <a:extLst>
                  <a:ext uri="{FF2B5EF4-FFF2-40B4-BE49-F238E27FC236}">
                    <a16:creationId xmlns:a16="http://schemas.microsoft.com/office/drawing/2014/main" id="{32CC1A9D-F2D9-1CED-B286-715983F124D7}"/>
                  </a:ext>
                </a:extLst>
              </p:cNvPr>
              <p:cNvGrpSpPr/>
              <p:nvPr/>
            </p:nvGrpSpPr>
            <p:grpSpPr>
              <a:xfrm>
                <a:off x="500540" y="3860375"/>
                <a:ext cx="238474" cy="13828"/>
                <a:chOff x="500540" y="3860375"/>
                <a:chExt cx="238474" cy="13828"/>
              </a:xfrm>
              <a:grpFill/>
            </p:grpSpPr>
            <p:sp>
              <p:nvSpPr>
                <p:cNvPr id="167" name="Rechteck: abgerundete Ecken 249">
                  <a:extLst>
                    <a:ext uri="{FF2B5EF4-FFF2-40B4-BE49-F238E27FC236}">
                      <a16:creationId xmlns:a16="http://schemas.microsoft.com/office/drawing/2014/main" id="{5CCC2DCF-63B2-F531-AFBE-99FFD0A162FB}"/>
                    </a:ext>
                  </a:extLst>
                </p:cNvPr>
                <p:cNvSpPr/>
                <p:nvPr/>
              </p:nvSpPr>
              <p:spPr>
                <a:xfrm rot="5400000">
                  <a:off x="715639" y="3850828"/>
                  <a:ext cx="13828" cy="32922"/>
                </a:xfrm>
                <a:prstGeom prst="roundRect">
                  <a:avLst>
                    <a:gd name="adj" fmla="val 50000"/>
                  </a:avLst>
                </a:pr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wrap="square" rtlCol="0" anchor="ctr"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2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68" name="Rechteck: abgerundete Ecken 250">
                  <a:extLst>
                    <a:ext uri="{FF2B5EF4-FFF2-40B4-BE49-F238E27FC236}">
                      <a16:creationId xmlns:a16="http://schemas.microsoft.com/office/drawing/2014/main" id="{975A7FF8-26D8-2783-4A6E-7CC5F9044D5A}"/>
                    </a:ext>
                  </a:extLst>
                </p:cNvPr>
                <p:cNvSpPr/>
                <p:nvPr/>
              </p:nvSpPr>
              <p:spPr>
                <a:xfrm rot="5400000">
                  <a:off x="643278" y="3838706"/>
                  <a:ext cx="13828" cy="57166"/>
                </a:xfrm>
                <a:prstGeom prst="roundRect">
                  <a:avLst>
                    <a:gd name="adj" fmla="val 50000"/>
                  </a:avLst>
                </a:pr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wrap="square" rtlCol="0" anchor="ctr"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2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69" name="Rechteck: abgerundete Ecken 251">
                  <a:extLst>
                    <a:ext uri="{FF2B5EF4-FFF2-40B4-BE49-F238E27FC236}">
                      <a16:creationId xmlns:a16="http://schemas.microsoft.com/office/drawing/2014/main" id="{CEA355D8-2DA2-EA50-36FB-538B65D17E78}"/>
                    </a:ext>
                  </a:extLst>
                </p:cNvPr>
                <p:cNvSpPr/>
                <p:nvPr/>
              </p:nvSpPr>
              <p:spPr>
                <a:xfrm rot="5400000">
                  <a:off x="540502" y="3820413"/>
                  <a:ext cx="13828" cy="93752"/>
                </a:xfrm>
                <a:prstGeom prst="roundRect">
                  <a:avLst>
                    <a:gd name="adj" fmla="val 50000"/>
                  </a:avLst>
                </a:pr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wrap="square" rtlCol="0" anchor="ctr"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2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</a:endParaRPr>
                </a:p>
              </p:txBody>
            </p:sp>
          </p:grpSp>
          <p:grpSp>
            <p:nvGrpSpPr>
              <p:cNvPr id="163" name="Gruppieren 245">
                <a:extLst>
                  <a:ext uri="{FF2B5EF4-FFF2-40B4-BE49-F238E27FC236}">
                    <a16:creationId xmlns:a16="http://schemas.microsoft.com/office/drawing/2014/main" id="{213CF305-CE6D-EA99-A25D-7534443904D1}"/>
                  </a:ext>
                </a:extLst>
              </p:cNvPr>
              <p:cNvGrpSpPr/>
              <p:nvPr/>
            </p:nvGrpSpPr>
            <p:grpSpPr>
              <a:xfrm flipH="1">
                <a:off x="885734" y="3860375"/>
                <a:ext cx="238474" cy="13828"/>
                <a:chOff x="500540" y="3860375"/>
                <a:chExt cx="238474" cy="13828"/>
              </a:xfrm>
              <a:grpFill/>
            </p:grpSpPr>
            <p:sp>
              <p:nvSpPr>
                <p:cNvPr id="164" name="Rechteck: abgerundete Ecken 246">
                  <a:extLst>
                    <a:ext uri="{FF2B5EF4-FFF2-40B4-BE49-F238E27FC236}">
                      <a16:creationId xmlns:a16="http://schemas.microsoft.com/office/drawing/2014/main" id="{112A2761-2B4B-0644-76CD-08B2FE9B1E27}"/>
                    </a:ext>
                  </a:extLst>
                </p:cNvPr>
                <p:cNvSpPr/>
                <p:nvPr/>
              </p:nvSpPr>
              <p:spPr>
                <a:xfrm rot="5400000">
                  <a:off x="715639" y="3850828"/>
                  <a:ext cx="13828" cy="32922"/>
                </a:xfrm>
                <a:prstGeom prst="roundRect">
                  <a:avLst>
                    <a:gd name="adj" fmla="val 50000"/>
                  </a:avLst>
                </a:pr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wrap="square" rtlCol="0" anchor="ctr"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2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65" name="Rechteck: abgerundete Ecken 247">
                  <a:extLst>
                    <a:ext uri="{FF2B5EF4-FFF2-40B4-BE49-F238E27FC236}">
                      <a16:creationId xmlns:a16="http://schemas.microsoft.com/office/drawing/2014/main" id="{DC172E38-DD71-A57E-D6CA-C9E184E8FEE6}"/>
                    </a:ext>
                  </a:extLst>
                </p:cNvPr>
                <p:cNvSpPr/>
                <p:nvPr/>
              </p:nvSpPr>
              <p:spPr>
                <a:xfrm rot="5400000">
                  <a:off x="643278" y="3838706"/>
                  <a:ext cx="13828" cy="57166"/>
                </a:xfrm>
                <a:prstGeom prst="roundRect">
                  <a:avLst>
                    <a:gd name="adj" fmla="val 50000"/>
                  </a:avLst>
                </a:pr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wrap="square" rtlCol="0" anchor="ctr"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2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66" name="Rechteck: abgerundete Ecken 248">
                  <a:extLst>
                    <a:ext uri="{FF2B5EF4-FFF2-40B4-BE49-F238E27FC236}">
                      <a16:creationId xmlns:a16="http://schemas.microsoft.com/office/drawing/2014/main" id="{EE9A01C9-2298-E771-FA15-E36FDB356498}"/>
                    </a:ext>
                  </a:extLst>
                </p:cNvPr>
                <p:cNvSpPr/>
                <p:nvPr/>
              </p:nvSpPr>
              <p:spPr>
                <a:xfrm rot="5400000">
                  <a:off x="540502" y="3820413"/>
                  <a:ext cx="13828" cy="93752"/>
                </a:xfrm>
                <a:prstGeom prst="roundRect">
                  <a:avLst>
                    <a:gd name="adj" fmla="val 50000"/>
                  </a:avLst>
                </a:pr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wrap="square" rtlCol="0" anchor="ctr"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2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</a:endParaRPr>
                </a:p>
              </p:txBody>
            </p:sp>
          </p:grpSp>
        </p:grpSp>
      </p:grpSp>
      <p:sp>
        <p:nvSpPr>
          <p:cNvPr id="177" name="Textfeld 12">
            <a:extLst>
              <a:ext uri="{FF2B5EF4-FFF2-40B4-BE49-F238E27FC236}">
                <a16:creationId xmlns:a16="http://schemas.microsoft.com/office/drawing/2014/main" id="{F6DD6591-3B53-C668-57AF-1F06CE2DD418}"/>
              </a:ext>
            </a:extLst>
          </p:cNvPr>
          <p:cNvSpPr txBox="1"/>
          <p:nvPr/>
        </p:nvSpPr>
        <p:spPr>
          <a:xfrm>
            <a:off x="1190425" y="2266990"/>
            <a:ext cx="1386000" cy="430887"/>
          </a:xfrm>
          <a:prstGeom prst="rect">
            <a:avLst/>
          </a:prstGeom>
          <a:noFill/>
          <a:effectLst/>
        </p:spPr>
        <p:txBody>
          <a:bodyPr wrap="square" lIns="0" tIns="0" rIns="0" bIns="0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0" cap="none" spc="0" normalizeH="0" baseline="0" noProof="0" dirty="0">
                <a:ln>
                  <a:noFill/>
                </a:ln>
                <a:solidFill>
                  <a:srgbClr val="004DBF"/>
                </a:solidFill>
                <a:effectLst/>
                <a:uLnTx/>
                <a:uFillTx/>
              </a:rPr>
              <a:t>Grow</a:t>
            </a:r>
            <a:r>
              <a:rPr kumimoji="0" lang="en-GB" sz="900" b="0" i="0" u="none" strike="noStrike" kern="0" cap="none" spc="0" normalizeH="0" baseline="0" noProof="0" dirty="0">
                <a:ln>
                  <a:noFill/>
                </a:ln>
                <a:solidFill>
                  <a:srgbClr val="435363"/>
                </a:solidFill>
                <a:effectLst/>
                <a:uLnTx/>
                <a:uFillTx/>
              </a:rPr>
              <a:t> </a:t>
            </a:r>
            <a:r>
              <a:rPr kumimoji="0" lang="en-GB" sz="900" b="0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rPr>
              <a:t>in hardening markets and </a:t>
            </a:r>
            <a:br>
              <a:rPr kumimoji="0" lang="en-GB" sz="900" b="0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rPr>
            </a:br>
            <a:r>
              <a:rPr kumimoji="0" lang="en-GB" sz="900" b="0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rPr>
              <a:t>strengthen footprint.</a:t>
            </a:r>
          </a:p>
        </p:txBody>
      </p:sp>
      <p:sp>
        <p:nvSpPr>
          <p:cNvPr id="178" name="Textfeld 12">
            <a:extLst>
              <a:ext uri="{FF2B5EF4-FFF2-40B4-BE49-F238E27FC236}">
                <a16:creationId xmlns:a16="http://schemas.microsoft.com/office/drawing/2014/main" id="{2D8DF5BE-C774-4351-882B-27C0A29EA815}"/>
              </a:ext>
            </a:extLst>
          </p:cNvPr>
          <p:cNvSpPr txBox="1"/>
          <p:nvPr/>
        </p:nvSpPr>
        <p:spPr>
          <a:xfrm>
            <a:off x="1190426" y="3053702"/>
            <a:ext cx="1386000" cy="292388"/>
          </a:xfrm>
          <a:prstGeom prst="rect">
            <a:avLst/>
          </a:prstGeom>
          <a:noFill/>
          <a:effectLst/>
        </p:spPr>
        <p:txBody>
          <a:bodyPr wrap="square" lIns="0" tIns="0" rIns="0" bIns="0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0" cap="none" spc="0" normalizeH="0" baseline="0" noProof="0" dirty="0">
                <a:ln>
                  <a:noFill/>
                </a:ln>
                <a:solidFill>
                  <a:srgbClr val="004DBF"/>
                </a:solidFill>
                <a:effectLst/>
                <a:uLnTx/>
                <a:uFillTx/>
              </a:rPr>
              <a:t>Expand</a:t>
            </a:r>
            <a:r>
              <a:rPr kumimoji="0" lang="en-GB" sz="900" b="0" i="0" u="none" strike="noStrike" kern="0" cap="none" spc="0" normalizeH="0" baseline="0" noProof="0" dirty="0">
                <a:ln>
                  <a:noFill/>
                </a:ln>
                <a:solidFill>
                  <a:srgbClr val="4D4E53"/>
                </a:solidFill>
                <a:effectLst/>
                <a:uLnTx/>
                <a:uFillTx/>
              </a:rPr>
              <a:t> </a:t>
            </a:r>
            <a:r>
              <a:rPr kumimoji="0" lang="en-GB" sz="900" b="0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rPr>
              <a:t>in new </a:t>
            </a:r>
            <a:br>
              <a:rPr kumimoji="0" lang="en-GB" sz="900" b="0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rPr>
            </a:br>
            <a:r>
              <a:rPr kumimoji="0" lang="en-GB" sz="900" b="0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rPr>
              <a:t>business opportunities.</a:t>
            </a:r>
          </a:p>
        </p:txBody>
      </p:sp>
      <p:sp>
        <p:nvSpPr>
          <p:cNvPr id="179" name="Textfeld 12">
            <a:extLst>
              <a:ext uri="{FF2B5EF4-FFF2-40B4-BE49-F238E27FC236}">
                <a16:creationId xmlns:a16="http://schemas.microsoft.com/office/drawing/2014/main" id="{55325F56-8CF6-29D4-04C7-2AC76AE25AA1}"/>
              </a:ext>
            </a:extLst>
          </p:cNvPr>
          <p:cNvSpPr txBox="1"/>
          <p:nvPr/>
        </p:nvSpPr>
        <p:spPr>
          <a:xfrm>
            <a:off x="4267730" y="1289912"/>
            <a:ext cx="1404000" cy="469359"/>
          </a:xfrm>
          <a:prstGeom prst="rect">
            <a:avLst/>
          </a:prstGeom>
          <a:noFill/>
          <a:effectLst/>
        </p:spPr>
        <p:txBody>
          <a:bodyPr wrap="square" lIns="0" tIns="0" rIns="0" bIns="0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0" cap="none" spc="0" normalizeH="0" baseline="0" noProof="0" dirty="0">
                <a:ln>
                  <a:noFill/>
                </a:ln>
                <a:solidFill>
                  <a:srgbClr val="004DBF"/>
                </a:solidFill>
                <a:effectLst/>
                <a:uLnTx/>
                <a:uFillTx/>
              </a:rPr>
              <a:t>L&amp;H Reinsurance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rPr>
              <a:t>Leading global reinsurer</a:t>
            </a:r>
            <a:br>
              <a:rPr kumimoji="0" lang="en-GB" sz="900" b="0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rPr>
            </a:br>
            <a:r>
              <a:rPr kumimoji="0" lang="en-GB" sz="900" b="0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rPr>
              <a:t>in Life and Health.</a:t>
            </a:r>
          </a:p>
        </p:txBody>
      </p:sp>
      <p:sp>
        <p:nvSpPr>
          <p:cNvPr id="180" name="Textfeld 12">
            <a:extLst>
              <a:ext uri="{FF2B5EF4-FFF2-40B4-BE49-F238E27FC236}">
                <a16:creationId xmlns:a16="http://schemas.microsoft.com/office/drawing/2014/main" id="{47E1607D-410A-51E6-E7CE-6DACD61CF42F}"/>
              </a:ext>
            </a:extLst>
          </p:cNvPr>
          <p:cNvSpPr txBox="1"/>
          <p:nvPr/>
        </p:nvSpPr>
        <p:spPr>
          <a:xfrm>
            <a:off x="4267730" y="2266990"/>
            <a:ext cx="1404000" cy="430887"/>
          </a:xfrm>
          <a:prstGeom prst="rect">
            <a:avLst/>
          </a:prstGeom>
          <a:noFill/>
          <a:effectLst/>
        </p:spPr>
        <p:txBody>
          <a:bodyPr wrap="square" lIns="0" tIns="0" rIns="0" bIns="0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0" cap="none" spc="0" normalizeH="0" baseline="0" noProof="0" dirty="0">
                <a:ln>
                  <a:noFill/>
                </a:ln>
                <a:solidFill>
                  <a:srgbClr val="004DBF"/>
                </a:solidFill>
                <a:effectLst/>
                <a:uLnTx/>
                <a:uFillTx/>
              </a:rPr>
              <a:t>Build</a:t>
            </a:r>
            <a:r>
              <a:rPr kumimoji="0" lang="en-GB" sz="1000" b="0" i="0" u="none" strike="noStrike" kern="0" cap="none" spc="0" normalizeH="0" baseline="0" noProof="0" dirty="0">
                <a:ln>
                  <a:noFill/>
                </a:ln>
                <a:solidFill>
                  <a:srgbClr val="0066FF"/>
                </a:solidFill>
                <a:effectLst/>
                <a:uLnTx/>
                <a:uFillTx/>
              </a:rPr>
              <a:t> </a:t>
            </a:r>
            <a:r>
              <a:rPr kumimoji="0" lang="en-GB" sz="900" b="0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rPr>
              <a:t>on growth from underlying markets </a:t>
            </a:r>
            <a:br>
              <a:rPr kumimoji="0" lang="en-GB" sz="900" b="0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rPr>
            </a:br>
            <a:r>
              <a:rPr kumimoji="0" lang="en-GB" sz="900" b="0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rPr>
              <a:t>and strong foundation.</a:t>
            </a:r>
          </a:p>
        </p:txBody>
      </p:sp>
      <p:sp>
        <p:nvSpPr>
          <p:cNvPr id="181" name="Textfeld 12">
            <a:extLst>
              <a:ext uri="{FF2B5EF4-FFF2-40B4-BE49-F238E27FC236}">
                <a16:creationId xmlns:a16="http://schemas.microsoft.com/office/drawing/2014/main" id="{458E4AEB-0FA7-B7DA-5EC3-1BABD0AA55D2}"/>
              </a:ext>
            </a:extLst>
          </p:cNvPr>
          <p:cNvSpPr txBox="1"/>
          <p:nvPr/>
        </p:nvSpPr>
        <p:spPr>
          <a:xfrm>
            <a:off x="4267730" y="3053702"/>
            <a:ext cx="1404000" cy="292388"/>
          </a:xfrm>
          <a:prstGeom prst="rect">
            <a:avLst/>
          </a:prstGeom>
          <a:noFill/>
          <a:effectLst/>
        </p:spPr>
        <p:txBody>
          <a:bodyPr wrap="square" lIns="0" tIns="0" rIns="0" bIns="0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0" cap="none" spc="0" normalizeH="0" baseline="0" noProof="0" dirty="0">
                <a:ln>
                  <a:noFill/>
                </a:ln>
                <a:solidFill>
                  <a:srgbClr val="004DBF"/>
                </a:solidFill>
                <a:effectLst/>
                <a:uLnTx/>
                <a:uFillTx/>
              </a:rPr>
              <a:t>Drive</a:t>
            </a:r>
            <a:r>
              <a:rPr kumimoji="0" lang="en-GB" sz="1000" b="0" i="0" u="none" strike="noStrike" kern="0" cap="none" spc="0" normalizeH="0" baseline="0" noProof="0" dirty="0">
                <a:ln>
                  <a:noFill/>
                </a:ln>
                <a:solidFill>
                  <a:srgbClr val="0066FF"/>
                </a:solidFill>
                <a:effectLst/>
                <a:uLnTx/>
                <a:uFillTx/>
              </a:rPr>
              <a:t> </a:t>
            </a:r>
            <a:r>
              <a:rPr kumimoji="0" lang="en-GB" sz="900" b="0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rPr>
              <a:t>new business opportunities. </a:t>
            </a:r>
          </a:p>
        </p:txBody>
      </p:sp>
      <p:sp>
        <p:nvSpPr>
          <p:cNvPr id="182" name="Textfeld 12">
            <a:extLst>
              <a:ext uri="{FF2B5EF4-FFF2-40B4-BE49-F238E27FC236}">
                <a16:creationId xmlns:a16="http://schemas.microsoft.com/office/drawing/2014/main" id="{423DD4F7-CB41-B50D-43F4-1B7432216A43}"/>
              </a:ext>
            </a:extLst>
          </p:cNvPr>
          <p:cNvSpPr txBox="1"/>
          <p:nvPr/>
        </p:nvSpPr>
        <p:spPr>
          <a:xfrm>
            <a:off x="2720078" y="1289912"/>
            <a:ext cx="1404000" cy="607859"/>
          </a:xfrm>
          <a:prstGeom prst="rect">
            <a:avLst/>
          </a:prstGeom>
          <a:noFill/>
          <a:effectLst/>
        </p:spPr>
        <p:txBody>
          <a:bodyPr wrap="square" lIns="0" tIns="0" rIns="0" bIns="0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0" cap="none" spc="0" normalizeH="0" baseline="0" noProof="0" dirty="0">
                <a:ln>
                  <a:noFill/>
                </a:ln>
                <a:solidFill>
                  <a:srgbClr val="004DBF"/>
                </a:solidFill>
                <a:effectLst/>
                <a:uLnTx/>
                <a:uFillTx/>
              </a:rPr>
              <a:t>Risk Solutions 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rPr>
              <a:t>Leading specialty insurer in selective businesses based on UW expertise.</a:t>
            </a:r>
          </a:p>
        </p:txBody>
      </p:sp>
      <p:sp>
        <p:nvSpPr>
          <p:cNvPr id="183" name="Textfeld 12">
            <a:extLst>
              <a:ext uri="{FF2B5EF4-FFF2-40B4-BE49-F238E27FC236}">
                <a16:creationId xmlns:a16="http://schemas.microsoft.com/office/drawing/2014/main" id="{1A58D181-A719-17C8-98EB-2DFF76493440}"/>
              </a:ext>
            </a:extLst>
          </p:cNvPr>
          <p:cNvSpPr txBox="1"/>
          <p:nvPr/>
        </p:nvSpPr>
        <p:spPr>
          <a:xfrm>
            <a:off x="2720078" y="3053702"/>
            <a:ext cx="1404000" cy="292388"/>
          </a:xfrm>
          <a:prstGeom prst="rect">
            <a:avLst/>
          </a:prstGeom>
          <a:noFill/>
          <a:effectLst/>
        </p:spPr>
        <p:txBody>
          <a:bodyPr wrap="square" lIns="0" tIns="0" rIns="0" bIns="0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0" cap="none" spc="0" normalizeH="0" baseline="0" noProof="0" dirty="0">
                <a:ln>
                  <a:noFill/>
                </a:ln>
                <a:solidFill>
                  <a:srgbClr val="004DBF"/>
                </a:solidFill>
                <a:effectLst/>
                <a:uLnTx/>
                <a:uFillTx/>
              </a:rPr>
              <a:t>Develop</a:t>
            </a:r>
            <a:r>
              <a:rPr kumimoji="0" lang="en-GB" sz="900" b="0" i="0" u="none" strike="noStrike" kern="0" cap="none" spc="0" normalizeH="0" baseline="0" noProof="0" dirty="0">
                <a:ln>
                  <a:noFill/>
                </a:ln>
                <a:solidFill>
                  <a:srgbClr val="435363"/>
                </a:solidFill>
                <a:effectLst/>
                <a:uLnTx/>
                <a:uFillTx/>
              </a:rPr>
              <a:t> </a:t>
            </a:r>
            <a:r>
              <a:rPr kumimoji="0" lang="en-GB" sz="900" b="0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rPr>
              <a:t>new products</a:t>
            </a:r>
            <a:br>
              <a:rPr kumimoji="0" lang="en-GB" sz="900" b="0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rPr>
            </a:br>
            <a:r>
              <a:rPr kumimoji="0" lang="en-GB" sz="900" b="0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rPr>
              <a:t>and improve operations.</a:t>
            </a:r>
          </a:p>
        </p:txBody>
      </p:sp>
      <p:sp>
        <p:nvSpPr>
          <p:cNvPr id="184" name="Textfeld 12">
            <a:extLst>
              <a:ext uri="{FF2B5EF4-FFF2-40B4-BE49-F238E27FC236}">
                <a16:creationId xmlns:a16="http://schemas.microsoft.com/office/drawing/2014/main" id="{DD1BD1CA-2C04-8A36-7C7F-3B66B56F3055}"/>
              </a:ext>
            </a:extLst>
          </p:cNvPr>
          <p:cNvSpPr txBox="1"/>
          <p:nvPr/>
        </p:nvSpPr>
        <p:spPr>
          <a:xfrm>
            <a:off x="2720078" y="2266990"/>
            <a:ext cx="1404000" cy="430887"/>
          </a:xfrm>
          <a:prstGeom prst="rect">
            <a:avLst/>
          </a:prstGeom>
          <a:noFill/>
          <a:effectLst/>
        </p:spPr>
        <p:txBody>
          <a:bodyPr wrap="square" lIns="0" tIns="0" rIns="0" bIns="0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0" cap="none" spc="0" normalizeH="0" baseline="0" noProof="0" dirty="0">
                <a:ln>
                  <a:noFill/>
                </a:ln>
                <a:solidFill>
                  <a:srgbClr val="004DBF"/>
                </a:solidFill>
                <a:effectLst/>
                <a:uLnTx/>
                <a:uFillTx/>
              </a:rPr>
              <a:t>Increase</a:t>
            </a:r>
            <a:r>
              <a:rPr kumimoji="0" lang="en-GB" sz="1000" b="0" i="0" u="none" strike="noStrike" kern="0" cap="none" spc="0" normalizeH="0" baseline="0" noProof="0" dirty="0">
                <a:ln>
                  <a:noFill/>
                </a:ln>
                <a:solidFill>
                  <a:srgbClr val="0066FF"/>
                </a:solidFill>
                <a:effectLst/>
                <a:uLnTx/>
                <a:uFillTx/>
              </a:rPr>
              <a:t> </a:t>
            </a:r>
            <a:r>
              <a:rPr kumimoji="0" lang="en-GB" sz="900" b="0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rPr>
              <a:t>share of Risk Solutions by leveraging </a:t>
            </a:r>
            <a:br>
              <a:rPr kumimoji="0" lang="en-GB" sz="900" b="0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rPr>
            </a:br>
            <a:r>
              <a:rPr kumimoji="0" lang="en-GB" sz="900" b="0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rPr>
              <a:t>on strong core.</a:t>
            </a:r>
          </a:p>
        </p:txBody>
      </p:sp>
      <p:cxnSp>
        <p:nvCxnSpPr>
          <p:cNvPr id="185" name="Gerader Verbinder 12">
            <a:extLst>
              <a:ext uri="{FF2B5EF4-FFF2-40B4-BE49-F238E27FC236}">
                <a16:creationId xmlns:a16="http://schemas.microsoft.com/office/drawing/2014/main" id="{B5362E40-FDDE-5142-9DAB-E61843B88391}"/>
              </a:ext>
            </a:extLst>
          </p:cNvPr>
          <p:cNvCxnSpPr>
            <a:cxnSpLocks/>
          </p:cNvCxnSpPr>
          <p:nvPr/>
        </p:nvCxnSpPr>
        <p:spPr>
          <a:xfrm>
            <a:off x="2648252" y="2266990"/>
            <a:ext cx="0" cy="622557"/>
          </a:xfrm>
          <a:prstGeom prst="line">
            <a:avLst/>
          </a:prstGeom>
          <a:noFill/>
          <a:ln w="6350" cap="flat" cmpd="sng" algn="ctr">
            <a:solidFill>
              <a:srgbClr val="B2C9EC"/>
            </a:solidFill>
            <a:prstDash val="solid"/>
            <a:miter lim="800000"/>
          </a:ln>
          <a:effectLst/>
        </p:spPr>
      </p:cxnSp>
      <p:cxnSp>
        <p:nvCxnSpPr>
          <p:cNvPr id="186" name="Gerader Verbinder 274">
            <a:extLst>
              <a:ext uri="{FF2B5EF4-FFF2-40B4-BE49-F238E27FC236}">
                <a16:creationId xmlns:a16="http://schemas.microsoft.com/office/drawing/2014/main" id="{53841742-F795-D56B-2007-66D39DF0D890}"/>
              </a:ext>
            </a:extLst>
          </p:cNvPr>
          <p:cNvCxnSpPr>
            <a:cxnSpLocks/>
          </p:cNvCxnSpPr>
          <p:nvPr/>
        </p:nvCxnSpPr>
        <p:spPr>
          <a:xfrm>
            <a:off x="4195904" y="2266990"/>
            <a:ext cx="0" cy="622800"/>
          </a:xfrm>
          <a:prstGeom prst="line">
            <a:avLst/>
          </a:prstGeom>
          <a:noFill/>
          <a:ln w="6350" cap="flat" cmpd="sng" algn="ctr">
            <a:solidFill>
              <a:srgbClr val="B2C9EC"/>
            </a:solidFill>
            <a:prstDash val="solid"/>
            <a:miter lim="800000"/>
          </a:ln>
          <a:effectLst/>
        </p:spPr>
      </p:cxnSp>
      <p:cxnSp>
        <p:nvCxnSpPr>
          <p:cNvPr id="187" name="Gerader Verbinder 22">
            <a:extLst>
              <a:ext uri="{FF2B5EF4-FFF2-40B4-BE49-F238E27FC236}">
                <a16:creationId xmlns:a16="http://schemas.microsoft.com/office/drawing/2014/main" id="{E9F42F43-427F-A1D8-D1B2-B05349B25C50}"/>
              </a:ext>
            </a:extLst>
          </p:cNvPr>
          <p:cNvCxnSpPr>
            <a:cxnSpLocks/>
          </p:cNvCxnSpPr>
          <p:nvPr/>
        </p:nvCxnSpPr>
        <p:spPr>
          <a:xfrm>
            <a:off x="306388" y="2969867"/>
            <a:ext cx="5380956" cy="0"/>
          </a:xfrm>
          <a:prstGeom prst="line">
            <a:avLst/>
          </a:prstGeom>
          <a:noFill/>
          <a:ln w="6350" cap="flat" cmpd="sng" algn="ctr">
            <a:solidFill>
              <a:srgbClr val="B2C9EC"/>
            </a:solidFill>
            <a:prstDash val="solid"/>
            <a:miter lim="800000"/>
          </a:ln>
          <a:effectLst/>
        </p:spPr>
      </p:cxnSp>
      <p:cxnSp>
        <p:nvCxnSpPr>
          <p:cNvPr id="188" name="Gerader Verbinder 106">
            <a:extLst>
              <a:ext uri="{FF2B5EF4-FFF2-40B4-BE49-F238E27FC236}">
                <a16:creationId xmlns:a16="http://schemas.microsoft.com/office/drawing/2014/main" id="{C375CE2C-4677-5E91-437D-07BA14EF7F2E}"/>
              </a:ext>
            </a:extLst>
          </p:cNvPr>
          <p:cNvCxnSpPr>
            <a:cxnSpLocks/>
          </p:cNvCxnSpPr>
          <p:nvPr/>
        </p:nvCxnSpPr>
        <p:spPr>
          <a:xfrm>
            <a:off x="305999" y="3752368"/>
            <a:ext cx="5381345" cy="0"/>
          </a:xfrm>
          <a:prstGeom prst="line">
            <a:avLst/>
          </a:prstGeom>
          <a:noFill/>
          <a:ln w="6350" cap="flat" cmpd="sng" algn="ctr">
            <a:solidFill>
              <a:srgbClr val="B2C9EC"/>
            </a:solidFill>
            <a:prstDash val="solid"/>
            <a:miter lim="800000"/>
          </a:ln>
          <a:effectLst/>
        </p:spPr>
      </p:cxnSp>
      <p:sp>
        <p:nvSpPr>
          <p:cNvPr id="189" name="Textfeld 12">
            <a:extLst>
              <a:ext uri="{FF2B5EF4-FFF2-40B4-BE49-F238E27FC236}">
                <a16:creationId xmlns:a16="http://schemas.microsoft.com/office/drawing/2014/main" id="{EE0F12A7-3485-6DA4-A843-83D822AF543D}"/>
              </a:ext>
            </a:extLst>
          </p:cNvPr>
          <p:cNvSpPr txBox="1"/>
          <p:nvPr/>
        </p:nvSpPr>
        <p:spPr>
          <a:xfrm>
            <a:off x="1190426" y="3885056"/>
            <a:ext cx="4559711" cy="492443"/>
          </a:xfrm>
          <a:prstGeom prst="rect">
            <a:avLst/>
          </a:prstGeom>
          <a:noFill/>
          <a:effectLst/>
        </p:spPr>
        <p:txBody>
          <a:bodyPr wrap="square" lIns="0" tIns="0" rIns="0" bIns="0" rtlCol="0" anchor="t">
            <a:spAutoFit/>
          </a:bodyPr>
          <a:lstStyle/>
          <a:p>
            <a:pPr marL="108000" marR="0" lvl="0" indent="-10800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4DBF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GB" sz="900" b="0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rPr>
              <a:t>Develop strategic options based on our expertise in global risk-transfer and beyond</a:t>
            </a:r>
          </a:p>
          <a:p>
            <a:pPr marL="108000" marR="0" lvl="0" indent="-10800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4DBF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GB" sz="900" b="0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rPr>
              <a:t>Start monetizing on mature investments</a:t>
            </a:r>
          </a:p>
          <a:p>
            <a:pPr marL="108000" marR="0" lvl="0" indent="-10800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4DBF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GB" sz="900" b="0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rPr>
              <a:t>Continuously explore playing fields for further strategic options</a:t>
            </a:r>
          </a:p>
        </p:txBody>
      </p:sp>
      <p:sp>
        <p:nvSpPr>
          <p:cNvPr id="190" name="Textfeld 12">
            <a:extLst>
              <a:ext uri="{FF2B5EF4-FFF2-40B4-BE49-F238E27FC236}">
                <a16:creationId xmlns:a16="http://schemas.microsoft.com/office/drawing/2014/main" id="{53EA5070-7ED8-0BF3-FAE1-E5B5E4FBEC58}"/>
              </a:ext>
            </a:extLst>
          </p:cNvPr>
          <p:cNvSpPr txBox="1"/>
          <p:nvPr/>
        </p:nvSpPr>
        <p:spPr>
          <a:xfrm>
            <a:off x="309710" y="3885056"/>
            <a:ext cx="755602" cy="461665"/>
          </a:xfrm>
          <a:prstGeom prst="rect">
            <a:avLst/>
          </a:prstGeom>
          <a:noFill/>
          <a:effectLst/>
        </p:spPr>
        <p:txBody>
          <a:bodyPr wrap="square" lIns="0" tIns="0" rIns="0" bIns="0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0" cap="none" spc="0" normalizeH="0" baseline="0" noProof="0" dirty="0">
                <a:ln>
                  <a:noFill/>
                </a:ln>
                <a:solidFill>
                  <a:srgbClr val="004DBF"/>
                </a:solidFill>
                <a:effectLst/>
                <a:uLnTx/>
                <a:uFillTx/>
              </a:rPr>
              <a:t>Innovation</a:t>
            </a:r>
            <a:br>
              <a:rPr kumimoji="0" lang="en-GB" sz="1000" b="0" i="0" u="none" strike="noStrike" kern="0" cap="none" spc="0" normalizeH="0" baseline="0" noProof="0" dirty="0">
                <a:ln>
                  <a:noFill/>
                </a:ln>
                <a:solidFill>
                  <a:srgbClr val="004DBF"/>
                </a:solidFill>
                <a:effectLst/>
                <a:uLnTx/>
                <a:uFillTx/>
              </a:rPr>
            </a:br>
            <a:r>
              <a:rPr kumimoji="0" lang="en-GB" sz="900" b="0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rPr>
              <a:t>Start</a:t>
            </a:r>
            <a:br>
              <a:rPr kumimoji="0" lang="en-GB" sz="900" b="0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rPr>
            </a:br>
            <a:r>
              <a:rPr kumimoji="0" lang="en-GB" sz="900" b="0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rPr>
              <a:t>monetizing</a:t>
            </a:r>
          </a:p>
        </p:txBody>
      </p:sp>
      <p:sp>
        <p:nvSpPr>
          <p:cNvPr id="191" name="Raute 12">
            <a:extLst>
              <a:ext uri="{FF2B5EF4-FFF2-40B4-BE49-F238E27FC236}">
                <a16:creationId xmlns:a16="http://schemas.microsoft.com/office/drawing/2014/main" id="{D399A8A6-488C-D8CE-396D-7BCFDC1D9B8B}"/>
              </a:ext>
            </a:extLst>
          </p:cNvPr>
          <p:cNvSpPr/>
          <p:nvPr/>
        </p:nvSpPr>
        <p:spPr>
          <a:xfrm rot="16200000">
            <a:off x="1818144" y="3559463"/>
            <a:ext cx="130565" cy="365112"/>
          </a:xfrm>
          <a:custGeom>
            <a:avLst/>
            <a:gdLst>
              <a:gd name="connsiteX0" fmla="*/ 0 w 3456001"/>
              <a:gd name="connsiteY0" fmla="*/ 1727995 h 3455989"/>
              <a:gd name="connsiteX1" fmla="*/ 1728001 w 3456001"/>
              <a:gd name="connsiteY1" fmla="*/ 0 h 3455989"/>
              <a:gd name="connsiteX2" fmla="*/ 3456001 w 3456001"/>
              <a:gd name="connsiteY2" fmla="*/ 1727995 h 3455989"/>
              <a:gd name="connsiteX3" fmla="*/ 1728001 w 3456001"/>
              <a:gd name="connsiteY3" fmla="*/ 3455989 h 3455989"/>
              <a:gd name="connsiteX4" fmla="*/ 0 w 3456001"/>
              <a:gd name="connsiteY4" fmla="*/ 1727995 h 3455989"/>
              <a:gd name="connsiteX0" fmla="*/ 0 w 3456001"/>
              <a:gd name="connsiteY0" fmla="*/ 1727995 h 3455989"/>
              <a:gd name="connsiteX1" fmla="*/ 1728001 w 3456001"/>
              <a:gd name="connsiteY1" fmla="*/ 0 h 3455989"/>
              <a:gd name="connsiteX2" fmla="*/ 3456001 w 3456001"/>
              <a:gd name="connsiteY2" fmla="*/ 1727995 h 3455989"/>
              <a:gd name="connsiteX3" fmla="*/ 1728001 w 3456001"/>
              <a:gd name="connsiteY3" fmla="*/ 3455989 h 3455989"/>
              <a:gd name="connsiteX4" fmla="*/ 91440 w 3456001"/>
              <a:gd name="connsiteY4" fmla="*/ 1819435 h 3455989"/>
              <a:gd name="connsiteX0" fmla="*/ 0 w 3456001"/>
              <a:gd name="connsiteY0" fmla="*/ 1727995 h 3455989"/>
              <a:gd name="connsiteX1" fmla="*/ 1728001 w 3456001"/>
              <a:gd name="connsiteY1" fmla="*/ 0 h 3455989"/>
              <a:gd name="connsiteX2" fmla="*/ 3456001 w 3456001"/>
              <a:gd name="connsiteY2" fmla="*/ 1727995 h 3455989"/>
              <a:gd name="connsiteX3" fmla="*/ 1728001 w 3456001"/>
              <a:gd name="connsiteY3" fmla="*/ 3455989 h 3455989"/>
              <a:gd name="connsiteX0" fmla="*/ 0 w 1728000"/>
              <a:gd name="connsiteY0" fmla="*/ 0 h 3455989"/>
              <a:gd name="connsiteX1" fmla="*/ 1728000 w 1728000"/>
              <a:gd name="connsiteY1" fmla="*/ 1727995 h 3455989"/>
              <a:gd name="connsiteX2" fmla="*/ 0 w 1728000"/>
              <a:gd name="connsiteY2" fmla="*/ 3455989 h 34559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728000" h="3455989">
                <a:moveTo>
                  <a:pt x="0" y="0"/>
                </a:moveTo>
                <a:lnTo>
                  <a:pt x="1728000" y="1727995"/>
                </a:lnTo>
                <a:lnTo>
                  <a:pt x="0" y="3455989"/>
                </a:lnTo>
              </a:path>
            </a:pathLst>
          </a:custGeom>
          <a:solidFill>
            <a:srgbClr val="E5EFFF"/>
          </a:solidFill>
          <a:ln w="6350" cap="rnd" cmpd="sng" algn="ctr">
            <a:solidFill>
              <a:srgbClr val="B2C9EC"/>
            </a:solidFill>
            <a:prstDash val="solid"/>
            <a:miter lim="800000"/>
          </a:ln>
          <a:effectLst/>
        </p:spPr>
        <p:txBody>
          <a:bodyPr wrap="square" rtlCol="0" anchor="ctr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1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Arial Unicode MS"/>
              <a:cs typeface="Arial"/>
            </a:endParaRPr>
          </a:p>
        </p:txBody>
      </p:sp>
      <p:sp>
        <p:nvSpPr>
          <p:cNvPr id="192" name="Raute 12">
            <a:extLst>
              <a:ext uri="{FF2B5EF4-FFF2-40B4-BE49-F238E27FC236}">
                <a16:creationId xmlns:a16="http://schemas.microsoft.com/office/drawing/2014/main" id="{B2B963A6-69C6-2AC5-40A5-5E10DC3399A9}"/>
              </a:ext>
            </a:extLst>
          </p:cNvPr>
          <p:cNvSpPr/>
          <p:nvPr/>
        </p:nvSpPr>
        <p:spPr>
          <a:xfrm rot="16200000">
            <a:off x="3356797" y="3559465"/>
            <a:ext cx="130563" cy="365112"/>
          </a:xfrm>
          <a:custGeom>
            <a:avLst/>
            <a:gdLst>
              <a:gd name="connsiteX0" fmla="*/ 0 w 3456001"/>
              <a:gd name="connsiteY0" fmla="*/ 1727995 h 3455989"/>
              <a:gd name="connsiteX1" fmla="*/ 1728001 w 3456001"/>
              <a:gd name="connsiteY1" fmla="*/ 0 h 3455989"/>
              <a:gd name="connsiteX2" fmla="*/ 3456001 w 3456001"/>
              <a:gd name="connsiteY2" fmla="*/ 1727995 h 3455989"/>
              <a:gd name="connsiteX3" fmla="*/ 1728001 w 3456001"/>
              <a:gd name="connsiteY3" fmla="*/ 3455989 h 3455989"/>
              <a:gd name="connsiteX4" fmla="*/ 0 w 3456001"/>
              <a:gd name="connsiteY4" fmla="*/ 1727995 h 3455989"/>
              <a:gd name="connsiteX0" fmla="*/ 0 w 3456001"/>
              <a:gd name="connsiteY0" fmla="*/ 1727995 h 3455989"/>
              <a:gd name="connsiteX1" fmla="*/ 1728001 w 3456001"/>
              <a:gd name="connsiteY1" fmla="*/ 0 h 3455989"/>
              <a:gd name="connsiteX2" fmla="*/ 3456001 w 3456001"/>
              <a:gd name="connsiteY2" fmla="*/ 1727995 h 3455989"/>
              <a:gd name="connsiteX3" fmla="*/ 1728001 w 3456001"/>
              <a:gd name="connsiteY3" fmla="*/ 3455989 h 3455989"/>
              <a:gd name="connsiteX4" fmla="*/ 91440 w 3456001"/>
              <a:gd name="connsiteY4" fmla="*/ 1819435 h 3455989"/>
              <a:gd name="connsiteX0" fmla="*/ 0 w 3456001"/>
              <a:gd name="connsiteY0" fmla="*/ 1727995 h 3455989"/>
              <a:gd name="connsiteX1" fmla="*/ 1728001 w 3456001"/>
              <a:gd name="connsiteY1" fmla="*/ 0 h 3455989"/>
              <a:gd name="connsiteX2" fmla="*/ 3456001 w 3456001"/>
              <a:gd name="connsiteY2" fmla="*/ 1727995 h 3455989"/>
              <a:gd name="connsiteX3" fmla="*/ 1728001 w 3456001"/>
              <a:gd name="connsiteY3" fmla="*/ 3455989 h 3455989"/>
              <a:gd name="connsiteX0" fmla="*/ 0 w 1728000"/>
              <a:gd name="connsiteY0" fmla="*/ 0 h 3455989"/>
              <a:gd name="connsiteX1" fmla="*/ 1728000 w 1728000"/>
              <a:gd name="connsiteY1" fmla="*/ 1727995 h 3455989"/>
              <a:gd name="connsiteX2" fmla="*/ 0 w 1728000"/>
              <a:gd name="connsiteY2" fmla="*/ 3455989 h 34559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728000" h="3455989">
                <a:moveTo>
                  <a:pt x="0" y="0"/>
                </a:moveTo>
                <a:lnTo>
                  <a:pt x="1728000" y="1727995"/>
                </a:lnTo>
                <a:lnTo>
                  <a:pt x="0" y="3455989"/>
                </a:lnTo>
              </a:path>
            </a:pathLst>
          </a:custGeom>
          <a:solidFill>
            <a:srgbClr val="E5EFFF"/>
          </a:solidFill>
          <a:ln w="6350" cap="rnd" cmpd="sng" algn="ctr">
            <a:solidFill>
              <a:srgbClr val="B2C9EC"/>
            </a:solidFill>
            <a:prstDash val="solid"/>
            <a:miter lim="800000"/>
          </a:ln>
          <a:effectLst/>
        </p:spPr>
        <p:txBody>
          <a:bodyPr wrap="square" rtlCol="0" anchor="ctr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1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Arial Unicode MS"/>
              <a:cs typeface="Arial"/>
            </a:endParaRPr>
          </a:p>
        </p:txBody>
      </p:sp>
      <p:sp>
        <p:nvSpPr>
          <p:cNvPr id="193" name="Raute 12">
            <a:extLst>
              <a:ext uri="{FF2B5EF4-FFF2-40B4-BE49-F238E27FC236}">
                <a16:creationId xmlns:a16="http://schemas.microsoft.com/office/drawing/2014/main" id="{7263E220-DF92-E883-691B-4DD61900E86A}"/>
              </a:ext>
            </a:extLst>
          </p:cNvPr>
          <p:cNvSpPr/>
          <p:nvPr/>
        </p:nvSpPr>
        <p:spPr>
          <a:xfrm rot="16200000">
            <a:off x="4904448" y="3559465"/>
            <a:ext cx="130565" cy="365112"/>
          </a:xfrm>
          <a:custGeom>
            <a:avLst/>
            <a:gdLst>
              <a:gd name="connsiteX0" fmla="*/ 0 w 3456001"/>
              <a:gd name="connsiteY0" fmla="*/ 1727995 h 3455989"/>
              <a:gd name="connsiteX1" fmla="*/ 1728001 w 3456001"/>
              <a:gd name="connsiteY1" fmla="*/ 0 h 3455989"/>
              <a:gd name="connsiteX2" fmla="*/ 3456001 w 3456001"/>
              <a:gd name="connsiteY2" fmla="*/ 1727995 h 3455989"/>
              <a:gd name="connsiteX3" fmla="*/ 1728001 w 3456001"/>
              <a:gd name="connsiteY3" fmla="*/ 3455989 h 3455989"/>
              <a:gd name="connsiteX4" fmla="*/ 0 w 3456001"/>
              <a:gd name="connsiteY4" fmla="*/ 1727995 h 3455989"/>
              <a:gd name="connsiteX0" fmla="*/ 0 w 3456001"/>
              <a:gd name="connsiteY0" fmla="*/ 1727995 h 3455989"/>
              <a:gd name="connsiteX1" fmla="*/ 1728001 w 3456001"/>
              <a:gd name="connsiteY1" fmla="*/ 0 h 3455989"/>
              <a:gd name="connsiteX2" fmla="*/ 3456001 w 3456001"/>
              <a:gd name="connsiteY2" fmla="*/ 1727995 h 3455989"/>
              <a:gd name="connsiteX3" fmla="*/ 1728001 w 3456001"/>
              <a:gd name="connsiteY3" fmla="*/ 3455989 h 3455989"/>
              <a:gd name="connsiteX4" fmla="*/ 91440 w 3456001"/>
              <a:gd name="connsiteY4" fmla="*/ 1819435 h 3455989"/>
              <a:gd name="connsiteX0" fmla="*/ 0 w 3456001"/>
              <a:gd name="connsiteY0" fmla="*/ 1727995 h 3455989"/>
              <a:gd name="connsiteX1" fmla="*/ 1728001 w 3456001"/>
              <a:gd name="connsiteY1" fmla="*/ 0 h 3455989"/>
              <a:gd name="connsiteX2" fmla="*/ 3456001 w 3456001"/>
              <a:gd name="connsiteY2" fmla="*/ 1727995 h 3455989"/>
              <a:gd name="connsiteX3" fmla="*/ 1728001 w 3456001"/>
              <a:gd name="connsiteY3" fmla="*/ 3455989 h 3455989"/>
              <a:gd name="connsiteX0" fmla="*/ 0 w 1728000"/>
              <a:gd name="connsiteY0" fmla="*/ 0 h 3455989"/>
              <a:gd name="connsiteX1" fmla="*/ 1728000 w 1728000"/>
              <a:gd name="connsiteY1" fmla="*/ 1727995 h 3455989"/>
              <a:gd name="connsiteX2" fmla="*/ 0 w 1728000"/>
              <a:gd name="connsiteY2" fmla="*/ 3455989 h 34559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728000" h="3455989">
                <a:moveTo>
                  <a:pt x="0" y="0"/>
                </a:moveTo>
                <a:lnTo>
                  <a:pt x="1728000" y="1727995"/>
                </a:lnTo>
                <a:lnTo>
                  <a:pt x="0" y="3455989"/>
                </a:lnTo>
              </a:path>
            </a:pathLst>
          </a:custGeom>
          <a:solidFill>
            <a:srgbClr val="E5EFFF"/>
          </a:solidFill>
          <a:ln w="6350" cap="rnd" cmpd="sng" algn="ctr">
            <a:solidFill>
              <a:srgbClr val="B2C9EC"/>
            </a:solidFill>
            <a:prstDash val="solid"/>
            <a:miter lim="800000"/>
          </a:ln>
          <a:effectLst/>
        </p:spPr>
        <p:txBody>
          <a:bodyPr wrap="square" rtlCol="0" anchor="ctr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1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Arial Unicode MS"/>
              <a:cs typeface="Arial"/>
            </a:endParaRPr>
          </a:p>
        </p:txBody>
      </p:sp>
      <p:cxnSp>
        <p:nvCxnSpPr>
          <p:cNvPr id="194" name="Gerader Verbinder 150">
            <a:extLst>
              <a:ext uri="{FF2B5EF4-FFF2-40B4-BE49-F238E27FC236}">
                <a16:creationId xmlns:a16="http://schemas.microsoft.com/office/drawing/2014/main" id="{95F66E17-52AD-1C53-8A5D-9FB02E9EB9DC}"/>
              </a:ext>
            </a:extLst>
          </p:cNvPr>
          <p:cNvCxnSpPr>
            <a:cxnSpLocks/>
          </p:cNvCxnSpPr>
          <p:nvPr/>
        </p:nvCxnSpPr>
        <p:spPr>
          <a:xfrm>
            <a:off x="2648252" y="1289912"/>
            <a:ext cx="0" cy="836852"/>
          </a:xfrm>
          <a:prstGeom prst="line">
            <a:avLst/>
          </a:prstGeom>
          <a:noFill/>
          <a:ln w="6350" cap="rnd" cmpd="sng" algn="ctr">
            <a:solidFill>
              <a:srgbClr val="4D4E53">
                <a:lumMod val="40000"/>
                <a:lumOff val="60000"/>
              </a:srgbClr>
            </a:solidFill>
            <a:prstDash val="solid"/>
            <a:miter lim="800000"/>
          </a:ln>
          <a:effectLst/>
        </p:spPr>
      </p:cxnSp>
      <p:cxnSp>
        <p:nvCxnSpPr>
          <p:cNvPr id="195" name="Gerader Verbinder 152">
            <a:extLst>
              <a:ext uri="{FF2B5EF4-FFF2-40B4-BE49-F238E27FC236}">
                <a16:creationId xmlns:a16="http://schemas.microsoft.com/office/drawing/2014/main" id="{0CE88769-9C5B-27F3-37B4-CA4540A64244}"/>
              </a:ext>
            </a:extLst>
          </p:cNvPr>
          <p:cNvCxnSpPr>
            <a:cxnSpLocks/>
          </p:cNvCxnSpPr>
          <p:nvPr/>
        </p:nvCxnSpPr>
        <p:spPr>
          <a:xfrm>
            <a:off x="4195904" y="1289912"/>
            <a:ext cx="0" cy="836852"/>
          </a:xfrm>
          <a:prstGeom prst="line">
            <a:avLst/>
          </a:prstGeom>
          <a:noFill/>
          <a:ln w="6350" cap="rnd" cmpd="sng" algn="ctr">
            <a:solidFill>
              <a:srgbClr val="4D4E53">
                <a:lumMod val="40000"/>
                <a:lumOff val="60000"/>
              </a:srgbClr>
            </a:solidFill>
            <a:prstDash val="solid"/>
            <a:miter lim="800000"/>
          </a:ln>
          <a:effectLst/>
        </p:spPr>
      </p:cxnSp>
      <p:sp>
        <p:nvSpPr>
          <p:cNvPr id="196" name="Textfeld 12">
            <a:extLst>
              <a:ext uri="{FF2B5EF4-FFF2-40B4-BE49-F238E27FC236}">
                <a16:creationId xmlns:a16="http://schemas.microsoft.com/office/drawing/2014/main" id="{9602027C-E9EF-F488-55FA-966D979DEDEE}"/>
              </a:ext>
            </a:extLst>
          </p:cNvPr>
          <p:cNvSpPr txBox="1"/>
          <p:nvPr/>
        </p:nvSpPr>
        <p:spPr>
          <a:xfrm>
            <a:off x="6448398" y="2738548"/>
            <a:ext cx="1625445" cy="1631216"/>
          </a:xfrm>
          <a:prstGeom prst="rect">
            <a:avLst/>
          </a:prstGeom>
          <a:noFill/>
          <a:effectLst/>
        </p:spPr>
        <p:txBody>
          <a:bodyPr wrap="none" lIns="0" tIns="0" rIns="0" bIns="0" rtlCol="0" anchor="ctr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rPr>
              <a:t>Shareholders </a:t>
            </a:r>
            <a:b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rPr>
            </a:b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rPr>
              <a:t>Industry leading RoE.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rPr>
              <a:t>Clients</a:t>
            </a:r>
            <a:b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rPr>
            </a:b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rPr>
              <a:t>Long-term partner – superior </a:t>
            </a:r>
            <a:b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rPr>
            </a:b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rPr>
              <a:t>products, experience and capacity. 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rPr>
              <a:t>Employees</a:t>
            </a: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rPr>
              <a:t> </a:t>
            </a:r>
            <a:b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rPr>
            </a:b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rPr>
              <a:t>Attractive employer – skill driven,</a:t>
            </a:r>
            <a:b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rPr>
            </a:b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rPr>
              <a:t>digital culture, risk entrepreneurial.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rPr>
              <a:t>Communities</a:t>
            </a:r>
            <a:b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rPr>
            </a:b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rPr>
              <a:t>Comprehensive climate </a:t>
            </a:r>
            <a:b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rPr>
            </a:b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rPr>
              <a:t>strategy matching </a:t>
            </a:r>
            <a:b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rPr>
            </a:b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rPr>
              <a:t>Paris Agreement.</a:t>
            </a:r>
          </a:p>
        </p:txBody>
      </p:sp>
      <p:cxnSp>
        <p:nvCxnSpPr>
          <p:cNvPr id="197" name="Gerader Verbinder 12">
            <a:extLst>
              <a:ext uri="{FF2B5EF4-FFF2-40B4-BE49-F238E27FC236}">
                <a16:creationId xmlns:a16="http://schemas.microsoft.com/office/drawing/2014/main" id="{19701F7C-3943-9033-5C7F-E1AE9CFF4FD0}"/>
              </a:ext>
            </a:extLst>
          </p:cNvPr>
          <p:cNvCxnSpPr>
            <a:cxnSpLocks/>
          </p:cNvCxnSpPr>
          <p:nvPr/>
        </p:nvCxnSpPr>
        <p:spPr>
          <a:xfrm>
            <a:off x="4195904" y="3049681"/>
            <a:ext cx="0" cy="622800"/>
          </a:xfrm>
          <a:prstGeom prst="line">
            <a:avLst/>
          </a:prstGeom>
          <a:noFill/>
          <a:ln w="6350" cap="flat" cmpd="sng" algn="ctr">
            <a:solidFill>
              <a:srgbClr val="B2C9EC"/>
            </a:solidFill>
            <a:prstDash val="solid"/>
            <a:miter lim="800000"/>
          </a:ln>
          <a:effectLst/>
        </p:spPr>
      </p:cxnSp>
      <p:cxnSp>
        <p:nvCxnSpPr>
          <p:cNvPr id="198" name="Gerader Verbinder 274">
            <a:extLst>
              <a:ext uri="{FF2B5EF4-FFF2-40B4-BE49-F238E27FC236}">
                <a16:creationId xmlns:a16="http://schemas.microsoft.com/office/drawing/2014/main" id="{84CD439C-B8FB-4487-FFE0-3FB4EFE493BE}"/>
              </a:ext>
            </a:extLst>
          </p:cNvPr>
          <p:cNvCxnSpPr>
            <a:cxnSpLocks/>
          </p:cNvCxnSpPr>
          <p:nvPr/>
        </p:nvCxnSpPr>
        <p:spPr>
          <a:xfrm>
            <a:off x="2648252" y="3049681"/>
            <a:ext cx="0" cy="622800"/>
          </a:xfrm>
          <a:prstGeom prst="line">
            <a:avLst/>
          </a:prstGeom>
          <a:noFill/>
          <a:ln w="6350" cap="flat" cmpd="sng" algn="ctr">
            <a:solidFill>
              <a:srgbClr val="B2C9EC"/>
            </a:solidFill>
            <a:prstDash val="solid"/>
            <a:miter lim="800000"/>
          </a:ln>
          <a:effectLst/>
        </p:spPr>
      </p:cxnSp>
    </p:spTree>
    <p:extLst>
      <p:ext uri="{BB962C8B-B14F-4D97-AF65-F5344CB8AC3E}">
        <p14:creationId xmlns:p14="http://schemas.microsoft.com/office/powerpoint/2010/main" val="16205253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1A6A978A-E65B-DC67-6740-5ABB58A2C05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523170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5" imgH="426" progId="TCLayout.ActiveDocument.1">
                  <p:embed/>
                </p:oleObj>
              </mc:Choice>
              <mc:Fallback>
                <p:oleObj name="think-cell Folie" r:id="rId4" imgW="425" imgH="42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1A6A978A-E65B-DC67-6740-5ABB58A2C05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FDFE70A-A851-830B-B70B-96D334E362F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21F119-9325-4787-B042-7735D1B09A4A}" type="datetime4">
              <a:rPr lang="en-GB" noProof="0" smtClean="0"/>
              <a:pPr/>
              <a:t>14 March 2024</a:t>
            </a:fld>
            <a:endParaRPr lang="en-GB" noProof="0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22DF4CD-80EB-9199-B899-9FA2E996762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94909C6-CC71-4962-A18E-AF0515723D95}" type="slidenum">
              <a:rPr lang="en-GB" noProof="0" smtClean="0"/>
              <a:pPr/>
              <a:t>12</a:t>
            </a:fld>
            <a:endParaRPr lang="en-GB" noProof="0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6BBEB53-973A-69D6-041B-57D44C4055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GB" noProof="0" dirty="0"/>
              <a:t>Munich Re Group – Company Presentation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108A6CCA-BB9F-76AC-65A3-74B18AD4E3B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>
                <a:solidFill>
                  <a:srgbClr val="BF1528"/>
                </a:solidFill>
              </a:rPr>
              <a:t>ERGO Group AG</a:t>
            </a:r>
            <a:br>
              <a:rPr lang="en-GB" dirty="0">
                <a:solidFill>
                  <a:srgbClr val="BF1528"/>
                </a:solidFill>
              </a:rPr>
            </a:br>
            <a:r>
              <a:rPr lang="en-GB" sz="1400" dirty="0">
                <a:solidFill>
                  <a:schemeClr val="tx2"/>
                </a:solidFill>
              </a:rPr>
              <a:t>One of the leading insurance providers in Germany on course for growth</a:t>
            </a:r>
            <a:endParaRPr lang="en-GB" sz="1600" dirty="0">
              <a:solidFill>
                <a:schemeClr val="tx2"/>
              </a:solidFill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E27FB47-BCFD-B8DF-3AC9-8D396D87D24B}"/>
              </a:ext>
            </a:extLst>
          </p:cNvPr>
          <p:cNvSpPr/>
          <p:nvPr/>
        </p:nvSpPr>
        <p:spPr>
          <a:xfrm>
            <a:off x="5171193" y="1447728"/>
            <a:ext cx="1788401" cy="1651013"/>
          </a:xfrm>
          <a:prstGeom prst="rect">
            <a:avLst/>
          </a:prstGeom>
          <a:solidFill>
            <a:srgbClr val="BF1528">
              <a:alpha val="10000"/>
            </a:srgbClr>
          </a:solidFill>
          <a:ln w="9525" cap="flat" cmpd="sng" algn="ctr">
            <a:noFill/>
            <a:prstDash val="solid"/>
            <a:miter lim="800000"/>
          </a:ln>
          <a:effectLst/>
        </p:spPr>
        <p:txBody>
          <a:bodyPr lIns="108000" tIns="108000" rIns="108000" bIns="108000" rtlCol="0" anchor="t" anchorCtr="0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1" i="0" u="none" strike="noStrike" kern="0" cap="none" spc="0" normalizeH="0" baseline="0" noProof="0" dirty="0">
                <a:ln>
                  <a:noFill/>
                </a:ln>
                <a:solidFill>
                  <a:srgbClr val="BF1528"/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t>ERGO</a:t>
            </a:r>
            <a:br>
              <a:rPr kumimoji="0" lang="en-GB" sz="1050" b="1" i="0" u="none" strike="noStrike" kern="0" cap="none" spc="0" normalizeH="0" baseline="0" noProof="0" dirty="0">
                <a:ln>
                  <a:noFill/>
                </a:ln>
                <a:solidFill>
                  <a:srgbClr val="BF1528"/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</a:br>
            <a:r>
              <a:rPr kumimoji="0" lang="en-GB" sz="1050" b="1" i="0" u="none" strike="noStrike" kern="0" cap="none" spc="0" normalizeH="0" baseline="0" noProof="0" dirty="0">
                <a:ln>
                  <a:noFill/>
                </a:ln>
                <a:solidFill>
                  <a:srgbClr val="BF1528"/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t>Deutschland AG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t>German Business.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FBCF1F21-BD26-8C4A-5FD5-BF2EA731C3F2}"/>
              </a:ext>
            </a:extLst>
          </p:cNvPr>
          <p:cNvSpPr/>
          <p:nvPr/>
        </p:nvSpPr>
        <p:spPr>
          <a:xfrm>
            <a:off x="5171193" y="3208986"/>
            <a:ext cx="1788401" cy="1651013"/>
          </a:xfrm>
          <a:prstGeom prst="rect">
            <a:avLst/>
          </a:prstGeom>
          <a:solidFill>
            <a:srgbClr val="BF1528">
              <a:alpha val="10000"/>
            </a:srgbClr>
          </a:solidFill>
          <a:ln w="9525" cap="flat" cmpd="sng" algn="ctr">
            <a:noFill/>
            <a:prstDash val="solid"/>
            <a:miter lim="800000"/>
          </a:ln>
          <a:effectLst/>
        </p:spPr>
        <p:txBody>
          <a:bodyPr lIns="108000" tIns="108000" rIns="108000" bIns="108000" rtlCol="0" anchor="t" anchorCtr="0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1" i="0" u="none" strike="noStrike" kern="0" cap="none" spc="0" normalizeH="0" baseline="0" noProof="0" dirty="0">
                <a:ln>
                  <a:noFill/>
                </a:ln>
                <a:solidFill>
                  <a:srgbClr val="BF1528"/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t>ERGO Digital</a:t>
            </a:r>
            <a:br>
              <a:rPr kumimoji="0" lang="en-GB" sz="1050" b="1" i="0" u="none" strike="noStrike" kern="0" cap="none" spc="0" normalizeH="0" baseline="0" noProof="0" dirty="0">
                <a:ln>
                  <a:noFill/>
                </a:ln>
                <a:solidFill>
                  <a:srgbClr val="BF1528"/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</a:br>
            <a:r>
              <a:rPr kumimoji="0" lang="en-GB" sz="1050" b="1" i="0" u="none" strike="noStrike" kern="0" cap="none" spc="0" normalizeH="0" baseline="0" noProof="0" dirty="0">
                <a:ln>
                  <a:noFill/>
                </a:ln>
                <a:solidFill>
                  <a:srgbClr val="BF1528"/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t>Ventures AG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t>Digital and direct activities.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09D94EEF-ACA2-71F4-2194-3ED65F2CFDF9}"/>
              </a:ext>
            </a:extLst>
          </p:cNvPr>
          <p:cNvSpPr/>
          <p:nvPr/>
        </p:nvSpPr>
        <p:spPr>
          <a:xfrm>
            <a:off x="7049595" y="1447728"/>
            <a:ext cx="2095200" cy="1651013"/>
          </a:xfrm>
          <a:prstGeom prst="rect">
            <a:avLst/>
          </a:prstGeom>
          <a:solidFill>
            <a:srgbClr val="BF1528">
              <a:alpha val="10000"/>
            </a:srgbClr>
          </a:solidFill>
          <a:ln w="9525" cap="flat" cmpd="sng" algn="ctr">
            <a:noFill/>
            <a:prstDash val="solid"/>
            <a:miter lim="800000"/>
          </a:ln>
          <a:effectLst/>
        </p:spPr>
        <p:txBody>
          <a:bodyPr lIns="108000" tIns="108000" rIns="306000" bIns="108000" rtlCol="0" anchor="t" anchorCtr="0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1" i="0" u="none" strike="noStrike" kern="0" cap="none" spc="0" normalizeH="0" baseline="0" noProof="0" dirty="0">
                <a:ln>
                  <a:noFill/>
                </a:ln>
                <a:solidFill>
                  <a:srgbClr val="BF1528"/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t>ERGO</a:t>
            </a:r>
            <a:br>
              <a:rPr kumimoji="0" lang="en-GB" sz="1050" b="1" i="0" u="none" strike="noStrike" kern="0" cap="none" spc="0" normalizeH="0" baseline="0" noProof="0" dirty="0">
                <a:ln>
                  <a:noFill/>
                </a:ln>
                <a:solidFill>
                  <a:srgbClr val="BF1528"/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</a:br>
            <a:r>
              <a:rPr kumimoji="0" lang="en-GB" sz="1050" b="1" i="0" u="none" strike="noStrike" kern="0" cap="none" spc="0" normalizeH="0" baseline="0" noProof="0" dirty="0">
                <a:ln>
                  <a:noFill/>
                </a:ln>
                <a:solidFill>
                  <a:srgbClr val="BF1528"/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t>International AG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t>International Business.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CBEBCB7E-2FF6-D2B2-B540-4471944A54A9}"/>
              </a:ext>
            </a:extLst>
          </p:cNvPr>
          <p:cNvSpPr/>
          <p:nvPr/>
        </p:nvSpPr>
        <p:spPr>
          <a:xfrm>
            <a:off x="7048799" y="3208986"/>
            <a:ext cx="2095200" cy="1651013"/>
          </a:xfrm>
          <a:prstGeom prst="rect">
            <a:avLst/>
          </a:prstGeom>
          <a:solidFill>
            <a:srgbClr val="BF1528">
              <a:alpha val="10000"/>
            </a:srgbClr>
          </a:solidFill>
          <a:ln w="9525" cap="flat" cmpd="sng" algn="ctr">
            <a:noFill/>
            <a:prstDash val="solid"/>
            <a:miter lim="800000"/>
          </a:ln>
          <a:effectLst/>
        </p:spPr>
        <p:txBody>
          <a:bodyPr lIns="108000" tIns="108000" rIns="306000" bIns="108000" rtlCol="0" anchor="t" anchorCtr="0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1" i="0" u="none" strike="noStrike" kern="0" cap="none" spc="0" normalizeH="0" baseline="0" noProof="0" dirty="0">
                <a:ln>
                  <a:noFill/>
                </a:ln>
                <a:solidFill>
                  <a:srgbClr val="BF1528"/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t>ERGO Technology &amp;</a:t>
            </a:r>
            <a:br>
              <a:rPr kumimoji="0" lang="en-GB" sz="1050" b="1" i="0" u="none" strike="noStrike" kern="0" cap="none" spc="0" normalizeH="0" baseline="0" noProof="0" dirty="0">
                <a:ln>
                  <a:noFill/>
                </a:ln>
                <a:solidFill>
                  <a:srgbClr val="BF1528"/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</a:br>
            <a:r>
              <a:rPr kumimoji="0" lang="en-GB" sz="1050" b="1" i="0" u="none" strike="noStrike" kern="0" cap="none" spc="0" normalizeH="0" baseline="0" noProof="0" dirty="0">
                <a:ln>
                  <a:noFill/>
                </a:ln>
                <a:solidFill>
                  <a:srgbClr val="BF1528"/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t>Services Management AG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t>Global technology and service provider for the</a:t>
            </a:r>
            <a:br>
              <a:rPr kumimoji="0" lang="en-GB" sz="1000" b="0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</a:br>
            <a:r>
              <a:rPr kumimoji="0" lang="en-GB" sz="1000" b="0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t>entire Group.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5E17B669-E146-31C0-78E1-67F31077906F}"/>
              </a:ext>
            </a:extLst>
          </p:cNvPr>
          <p:cNvSpPr/>
          <p:nvPr/>
        </p:nvSpPr>
        <p:spPr>
          <a:xfrm>
            <a:off x="5171194" y="1115999"/>
            <a:ext cx="1434688" cy="215444"/>
          </a:xfrm>
          <a:prstGeom prst="rect">
            <a:avLst/>
          </a:prstGeom>
          <a:noFill/>
          <a:ln w="9525" cap="flat" cmpd="sng" algn="ctr">
            <a:noFill/>
            <a:prstDash val="solid"/>
            <a:miter lim="800000"/>
          </a:ln>
          <a:effectLst/>
        </p:spPr>
        <p:txBody>
          <a:bodyPr wrap="none" lIns="0" tIns="0" rIns="0" bIns="0" rtlCol="0" anchor="t" anchorCtr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 dirty="0">
                <a:ln>
                  <a:noFill/>
                </a:ln>
                <a:solidFill>
                  <a:srgbClr val="BF1528"/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t>ERGO Group AG </a:t>
            </a:r>
          </a:p>
        </p:txBody>
      </p:sp>
      <p:sp>
        <p:nvSpPr>
          <p:cNvPr id="15" name="Rectangle 30">
            <a:extLst>
              <a:ext uri="{FF2B5EF4-FFF2-40B4-BE49-F238E27FC236}">
                <a16:creationId xmlns:a16="http://schemas.microsoft.com/office/drawing/2014/main" id="{8ABFB288-24DF-C178-5304-7129E7293A70}"/>
              </a:ext>
            </a:extLst>
          </p:cNvPr>
          <p:cNvSpPr/>
          <p:nvPr/>
        </p:nvSpPr>
        <p:spPr>
          <a:xfrm>
            <a:off x="5171192" y="1447728"/>
            <a:ext cx="3972807" cy="3412269"/>
          </a:xfrm>
          <a:custGeom>
            <a:avLst/>
            <a:gdLst>
              <a:gd name="connsiteX0" fmla="*/ 0 w 3360420"/>
              <a:gd name="connsiteY0" fmla="*/ 0 h 3242983"/>
              <a:gd name="connsiteX1" fmla="*/ 3360420 w 3360420"/>
              <a:gd name="connsiteY1" fmla="*/ 0 h 3242983"/>
              <a:gd name="connsiteX2" fmla="*/ 3360420 w 3360420"/>
              <a:gd name="connsiteY2" fmla="*/ 3242983 h 3242983"/>
              <a:gd name="connsiteX3" fmla="*/ 0 w 3360420"/>
              <a:gd name="connsiteY3" fmla="*/ 3242983 h 3242983"/>
              <a:gd name="connsiteX4" fmla="*/ 0 w 3360420"/>
              <a:gd name="connsiteY4" fmla="*/ 0 h 3242983"/>
              <a:gd name="connsiteX0" fmla="*/ 3360420 w 3451860"/>
              <a:gd name="connsiteY0" fmla="*/ 3242983 h 3334423"/>
              <a:gd name="connsiteX1" fmla="*/ 0 w 3451860"/>
              <a:gd name="connsiteY1" fmla="*/ 3242983 h 3334423"/>
              <a:gd name="connsiteX2" fmla="*/ 0 w 3451860"/>
              <a:gd name="connsiteY2" fmla="*/ 0 h 3334423"/>
              <a:gd name="connsiteX3" fmla="*/ 3360420 w 3451860"/>
              <a:gd name="connsiteY3" fmla="*/ 0 h 3334423"/>
              <a:gd name="connsiteX4" fmla="*/ 3451860 w 3451860"/>
              <a:gd name="connsiteY4" fmla="*/ 3334423 h 3334423"/>
              <a:gd name="connsiteX0" fmla="*/ 3360420 w 3360420"/>
              <a:gd name="connsiteY0" fmla="*/ 3242983 h 3242983"/>
              <a:gd name="connsiteX1" fmla="*/ 0 w 3360420"/>
              <a:gd name="connsiteY1" fmla="*/ 3242983 h 3242983"/>
              <a:gd name="connsiteX2" fmla="*/ 0 w 3360420"/>
              <a:gd name="connsiteY2" fmla="*/ 0 h 3242983"/>
              <a:gd name="connsiteX3" fmla="*/ 3360420 w 3360420"/>
              <a:gd name="connsiteY3" fmla="*/ 0 h 3242983"/>
              <a:gd name="connsiteX0" fmla="*/ 0 w 3360420"/>
              <a:gd name="connsiteY0" fmla="*/ 3242983 h 3242983"/>
              <a:gd name="connsiteX1" fmla="*/ 0 w 3360420"/>
              <a:gd name="connsiteY1" fmla="*/ 0 h 3242983"/>
              <a:gd name="connsiteX2" fmla="*/ 3360420 w 3360420"/>
              <a:gd name="connsiteY2" fmla="*/ 0 h 32429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360420" h="3242983">
                <a:moveTo>
                  <a:pt x="0" y="3242983"/>
                </a:moveTo>
                <a:lnTo>
                  <a:pt x="0" y="0"/>
                </a:lnTo>
                <a:lnTo>
                  <a:pt x="3360420" y="0"/>
                </a:lnTo>
              </a:path>
            </a:pathLst>
          </a:custGeom>
          <a:noFill/>
          <a:ln w="12700" cap="flat" cmpd="sng" algn="ctr">
            <a:solidFill>
              <a:srgbClr val="BF1528"/>
            </a:solidFill>
            <a:prstDash val="solid"/>
            <a:miter lim="800000"/>
          </a:ln>
          <a:effectLst/>
        </p:spPr>
        <p:txBody>
          <a:bodyPr rtlCol="0" anchor="ctr" anchorCtr="0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Arial Unicode MS"/>
              <a:cs typeface="Arial"/>
            </a:endParaRPr>
          </a:p>
        </p:txBody>
      </p:sp>
      <p:sp>
        <p:nvSpPr>
          <p:cNvPr id="16" name="Rechteck 18">
            <a:extLst>
              <a:ext uri="{FF2B5EF4-FFF2-40B4-BE49-F238E27FC236}">
                <a16:creationId xmlns:a16="http://schemas.microsoft.com/office/drawing/2014/main" id="{54BE3E9D-DA78-8C21-E4BC-23EBEEB383AB}"/>
              </a:ext>
            </a:extLst>
          </p:cNvPr>
          <p:cNvSpPr/>
          <p:nvPr/>
        </p:nvSpPr>
        <p:spPr>
          <a:xfrm>
            <a:off x="0" y="1447728"/>
            <a:ext cx="1839600" cy="1659110"/>
          </a:xfrm>
          <a:prstGeom prst="rect">
            <a:avLst/>
          </a:prstGeom>
          <a:solidFill>
            <a:srgbClr val="4D4E53">
              <a:lumMod val="20000"/>
              <a:lumOff val="80000"/>
              <a:alpha val="30000"/>
            </a:srgbClr>
          </a:solidFill>
          <a:ln w="9525" cap="flat" cmpd="sng" algn="ctr">
            <a:noFill/>
            <a:prstDash val="solid"/>
            <a:miter lim="800000"/>
          </a:ln>
          <a:effectLst/>
        </p:spPr>
        <p:txBody>
          <a:bodyPr lIns="306000" tIns="72000" rIns="72000" bIns="72000" rtlCol="0" anchor="t" anchorCtr="0"/>
          <a:lstStyle>
            <a:defPPr>
              <a:defRPr lang="x-none"/>
            </a:defPPr>
            <a:lvl1pPr marL="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6858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t>Headquartered in Düsseldorf, Germany; offices in </a:t>
            </a:r>
            <a:r>
              <a:rPr kumimoji="0" lang="en-GB" sz="1000" b="1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t>30 countries </a:t>
            </a: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t>around the world.</a:t>
            </a:r>
          </a:p>
        </p:txBody>
      </p:sp>
      <p:sp>
        <p:nvSpPr>
          <p:cNvPr id="17" name="Rechteck 18">
            <a:extLst>
              <a:ext uri="{FF2B5EF4-FFF2-40B4-BE49-F238E27FC236}">
                <a16:creationId xmlns:a16="http://schemas.microsoft.com/office/drawing/2014/main" id="{E79EACED-BEF1-31AB-87DD-0A6029513616}"/>
              </a:ext>
            </a:extLst>
          </p:cNvPr>
          <p:cNvSpPr/>
          <p:nvPr/>
        </p:nvSpPr>
        <p:spPr>
          <a:xfrm>
            <a:off x="0" y="3200889"/>
            <a:ext cx="1839600" cy="1659110"/>
          </a:xfrm>
          <a:prstGeom prst="rect">
            <a:avLst/>
          </a:prstGeom>
          <a:solidFill>
            <a:srgbClr val="4D4E53">
              <a:lumMod val="20000"/>
              <a:lumOff val="80000"/>
              <a:alpha val="30000"/>
            </a:srgbClr>
          </a:solidFill>
          <a:ln w="9525" cap="flat" cmpd="sng" algn="ctr">
            <a:noFill/>
            <a:prstDash val="solid"/>
            <a:miter lim="800000"/>
          </a:ln>
          <a:effectLst/>
        </p:spPr>
        <p:txBody>
          <a:bodyPr lIns="306000" tIns="72000" rIns="72000" bIns="72000" rtlCol="0" anchor="t" anchorCtr="0"/>
          <a:lstStyle>
            <a:defPPr>
              <a:defRPr lang="x-none"/>
            </a:defPPr>
            <a:lvl1pPr marL="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6858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t>Comprehensive range of </a:t>
            </a:r>
            <a:r>
              <a:rPr kumimoji="0" lang="en-GB" sz="1000" b="1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t>insurance</a:t>
            </a: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t>, </a:t>
            </a:r>
            <a:r>
              <a:rPr kumimoji="0" lang="en-GB" sz="1000" b="1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t>investments</a:t>
            </a: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t> and </a:t>
            </a:r>
            <a:r>
              <a:rPr kumimoji="0" lang="en-GB" sz="1000" b="1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t>services</a:t>
            </a: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t>.</a:t>
            </a:r>
          </a:p>
        </p:txBody>
      </p:sp>
      <p:sp>
        <p:nvSpPr>
          <p:cNvPr id="18" name="Rechteck 18">
            <a:extLst>
              <a:ext uri="{FF2B5EF4-FFF2-40B4-BE49-F238E27FC236}">
                <a16:creationId xmlns:a16="http://schemas.microsoft.com/office/drawing/2014/main" id="{CFA7F8C5-DC24-131B-F6F8-178C97377554}"/>
              </a:ext>
            </a:extLst>
          </p:cNvPr>
          <p:cNvSpPr/>
          <p:nvPr/>
        </p:nvSpPr>
        <p:spPr>
          <a:xfrm>
            <a:off x="3547593" y="1447728"/>
            <a:ext cx="1533600" cy="1659110"/>
          </a:xfrm>
          <a:prstGeom prst="rect">
            <a:avLst/>
          </a:prstGeom>
          <a:solidFill>
            <a:srgbClr val="4D4E53">
              <a:lumMod val="20000"/>
              <a:lumOff val="80000"/>
              <a:alpha val="30000"/>
            </a:srgbClr>
          </a:solidFill>
          <a:ln w="9525" cap="flat" cmpd="sng" algn="ctr">
            <a:noFill/>
            <a:prstDash val="solid"/>
            <a:miter lim="800000"/>
          </a:ln>
          <a:effectLst/>
        </p:spPr>
        <p:txBody>
          <a:bodyPr lIns="72000" tIns="72000" rIns="72000" bIns="72000" rtlCol="0" anchor="t" anchorCtr="0"/>
          <a:lstStyle>
            <a:defPPr>
              <a:defRPr lang="x-none"/>
            </a:defPPr>
            <a:lvl1pPr marL="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6858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1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t>Focusing on the </a:t>
            </a:r>
            <a:br>
              <a:rPr kumimoji="0" lang="en-GB" sz="1000" b="1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</a:br>
            <a:r>
              <a:rPr kumimoji="0" lang="en-GB" sz="1000" b="1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t>core market Europe</a:t>
            </a: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t> with growth in Eastern and Southern Europe and the growth market Asia, primarily India </a:t>
            </a:r>
            <a:b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</a:b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t>and China.</a:t>
            </a:r>
          </a:p>
        </p:txBody>
      </p:sp>
      <p:sp>
        <p:nvSpPr>
          <p:cNvPr id="19" name="Rechteck 18">
            <a:extLst>
              <a:ext uri="{FF2B5EF4-FFF2-40B4-BE49-F238E27FC236}">
                <a16:creationId xmlns:a16="http://schemas.microsoft.com/office/drawing/2014/main" id="{4847BB21-2BCA-D991-9F75-D249322AC5CA}"/>
              </a:ext>
            </a:extLst>
          </p:cNvPr>
          <p:cNvSpPr/>
          <p:nvPr/>
        </p:nvSpPr>
        <p:spPr>
          <a:xfrm>
            <a:off x="1926796" y="1447728"/>
            <a:ext cx="1533600" cy="1659110"/>
          </a:xfrm>
          <a:prstGeom prst="rect">
            <a:avLst/>
          </a:prstGeom>
          <a:solidFill>
            <a:srgbClr val="4D4E53">
              <a:lumMod val="20000"/>
              <a:lumOff val="80000"/>
              <a:alpha val="30000"/>
            </a:srgbClr>
          </a:solidFill>
          <a:ln w="9525" cap="flat" cmpd="sng" algn="ctr">
            <a:noFill/>
            <a:prstDash val="solid"/>
            <a:miter lim="800000"/>
          </a:ln>
          <a:effectLst/>
        </p:spPr>
        <p:txBody>
          <a:bodyPr lIns="72000" tIns="72000" rIns="72000" bIns="72000" rtlCol="0" anchor="t" anchorCtr="0"/>
          <a:lstStyle>
            <a:defPPr>
              <a:defRPr lang="x-none"/>
            </a:defPPr>
            <a:lvl1pPr marL="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6858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1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t>38,000 </a:t>
            </a: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t>employees</a:t>
            </a:r>
            <a:br>
              <a:rPr kumimoji="0" lang="en-GB" sz="1000" b="1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</a:b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t>and sales agents.</a:t>
            </a:r>
          </a:p>
        </p:txBody>
      </p:sp>
      <p:sp>
        <p:nvSpPr>
          <p:cNvPr id="20" name="Rechteck 18">
            <a:extLst>
              <a:ext uri="{FF2B5EF4-FFF2-40B4-BE49-F238E27FC236}">
                <a16:creationId xmlns:a16="http://schemas.microsoft.com/office/drawing/2014/main" id="{44572824-FED1-6017-5D24-5DC23234DB95}"/>
              </a:ext>
            </a:extLst>
          </p:cNvPr>
          <p:cNvSpPr/>
          <p:nvPr/>
        </p:nvSpPr>
        <p:spPr>
          <a:xfrm>
            <a:off x="1926796" y="3200889"/>
            <a:ext cx="1533600" cy="1659110"/>
          </a:xfrm>
          <a:prstGeom prst="rect">
            <a:avLst/>
          </a:prstGeom>
          <a:solidFill>
            <a:srgbClr val="4D4E53">
              <a:lumMod val="20000"/>
              <a:lumOff val="80000"/>
              <a:alpha val="30000"/>
            </a:srgbClr>
          </a:solidFill>
          <a:ln w="9525" cap="flat" cmpd="sng" algn="ctr">
            <a:noFill/>
            <a:prstDash val="solid"/>
            <a:miter lim="800000"/>
          </a:ln>
          <a:effectLst/>
        </p:spPr>
        <p:txBody>
          <a:bodyPr lIns="72000" tIns="72000" rIns="72000" bIns="72000" rtlCol="0" anchor="t" anchorCtr="0"/>
          <a:lstStyle>
            <a:defPPr>
              <a:defRPr lang="x-none"/>
            </a:defPPr>
            <a:lvl1pPr marL="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6858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t>Extensive expertise, diversified sales channels, </a:t>
            </a:r>
            <a:r>
              <a:rPr kumimoji="0" lang="en-GB" sz="1000" b="1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t>experience</a:t>
            </a:r>
            <a:b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</a:b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t>in </a:t>
            </a:r>
            <a:r>
              <a:rPr kumimoji="0" lang="en-GB" sz="1000" b="1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t>local partnerships</a:t>
            </a:r>
            <a:b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</a:b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t>and </a:t>
            </a:r>
            <a:r>
              <a:rPr kumimoji="0" lang="en-GB" sz="1000" b="1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t>specific demands</a:t>
            </a:r>
            <a:br>
              <a:rPr kumimoji="0" lang="en-GB" sz="1000" b="1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</a:b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t>of </a:t>
            </a:r>
            <a:r>
              <a:rPr kumimoji="0" lang="en-GB" sz="1000" b="1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t>individual markets</a:t>
            </a: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7851955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1A6A978A-E65B-DC67-6740-5ABB58A2C05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463809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5" imgH="426" progId="TCLayout.ActiveDocument.1">
                  <p:embed/>
                </p:oleObj>
              </mc:Choice>
              <mc:Fallback>
                <p:oleObj name="think-cell Folie" r:id="rId4" imgW="425" imgH="42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1A6A978A-E65B-DC67-6740-5ABB58A2C05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FDFE70A-A851-830B-B70B-96D334E362F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EC11235-3289-4F1E-AB3A-B16C25B533D3}" type="datetime4">
              <a:rPr lang="en-GB" noProof="0" smtClean="0"/>
              <a:pPr/>
              <a:t>14 March 2024</a:t>
            </a:fld>
            <a:endParaRPr lang="en-GB" noProof="0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22DF4CD-80EB-9199-B899-9FA2E996762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94909C6-CC71-4962-A18E-AF0515723D95}" type="slidenum">
              <a:rPr lang="en-GB" noProof="0" smtClean="0"/>
              <a:pPr/>
              <a:t>13</a:t>
            </a:fld>
            <a:endParaRPr lang="en-GB" noProof="0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6BBEB53-973A-69D6-041B-57D44C4055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GB" noProof="0" dirty="0"/>
              <a:t>Munich Re Group – Company Presentation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108A6CCA-BB9F-76AC-65A3-74B18AD4E3B2}"/>
              </a:ext>
            </a:extLst>
          </p:cNvPr>
          <p:cNvSpPr>
            <a:spLocks noGrp="1"/>
          </p:cNvSpPr>
          <p:nvPr>
            <p:ph type="title"/>
          </p:nvPr>
        </p:nvSpPr>
        <p:spPr>
          <a:ln>
            <a:noFill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vert="horz"/>
          <a:lstStyle/>
          <a:p>
            <a:r>
              <a:rPr lang="en-GB" dirty="0">
                <a:solidFill>
                  <a:srgbClr val="BF1528"/>
                </a:solidFill>
              </a:rPr>
              <a:t>Munich Re Group Ambition 2025 - ERGO</a:t>
            </a:r>
            <a:br>
              <a:rPr lang="en-GB" dirty="0"/>
            </a:br>
            <a:r>
              <a:rPr lang="en-GB" sz="1400" dirty="0">
                <a:solidFill>
                  <a:schemeClr val="tx2"/>
                </a:solidFill>
              </a:rPr>
              <a:t>The new strategic phase applies to all parts of ERGO Group</a:t>
            </a:r>
            <a:endParaRPr lang="en-GB" dirty="0">
              <a:solidFill>
                <a:schemeClr val="tx2"/>
              </a:solidFill>
            </a:endParaRPr>
          </a:p>
        </p:txBody>
      </p:sp>
      <p:sp>
        <p:nvSpPr>
          <p:cNvPr id="16" name="Freihandform: Form 98">
            <a:extLst>
              <a:ext uri="{FF2B5EF4-FFF2-40B4-BE49-F238E27FC236}">
                <a16:creationId xmlns:a16="http://schemas.microsoft.com/office/drawing/2014/main" id="{03470B6C-864B-002D-DDD8-545E9E6E676B}"/>
              </a:ext>
            </a:extLst>
          </p:cNvPr>
          <p:cNvSpPr/>
          <p:nvPr/>
        </p:nvSpPr>
        <p:spPr>
          <a:xfrm>
            <a:off x="0" y="1900160"/>
            <a:ext cx="6325715" cy="2357964"/>
          </a:xfrm>
          <a:custGeom>
            <a:avLst/>
            <a:gdLst>
              <a:gd name="connsiteX0" fmla="*/ 0 w 6325715"/>
              <a:gd name="connsiteY0" fmla="*/ 0 h 2357964"/>
              <a:gd name="connsiteX1" fmla="*/ 67934 w 6325715"/>
              <a:gd name="connsiteY1" fmla="*/ 0 h 2357964"/>
              <a:gd name="connsiteX2" fmla="*/ 215007 w 6325715"/>
              <a:gd name="connsiteY2" fmla="*/ 0 h 2357964"/>
              <a:gd name="connsiteX3" fmla="*/ 305935 w 6325715"/>
              <a:gd name="connsiteY3" fmla="*/ 0 h 2357964"/>
              <a:gd name="connsiteX4" fmla="*/ 373869 w 6325715"/>
              <a:gd name="connsiteY4" fmla="*/ 0 h 2357964"/>
              <a:gd name="connsiteX5" fmla="*/ 520942 w 6325715"/>
              <a:gd name="connsiteY5" fmla="*/ 0 h 2357964"/>
              <a:gd name="connsiteX6" fmla="*/ 744115 w 6325715"/>
              <a:gd name="connsiteY6" fmla="*/ 0 h 2357964"/>
              <a:gd name="connsiteX7" fmla="*/ 760993 w 6325715"/>
              <a:gd name="connsiteY7" fmla="*/ 0 h 2357964"/>
              <a:gd name="connsiteX8" fmla="*/ 891188 w 6325715"/>
              <a:gd name="connsiteY8" fmla="*/ 0 h 2357964"/>
              <a:gd name="connsiteX9" fmla="*/ 908066 w 6325715"/>
              <a:gd name="connsiteY9" fmla="*/ 0 h 2357964"/>
              <a:gd name="connsiteX10" fmla="*/ 1050050 w 6325715"/>
              <a:gd name="connsiteY10" fmla="*/ 0 h 2357964"/>
              <a:gd name="connsiteX11" fmla="*/ 1066928 w 6325715"/>
              <a:gd name="connsiteY11" fmla="*/ 0 h 2357964"/>
              <a:gd name="connsiteX12" fmla="*/ 1197123 w 6325715"/>
              <a:gd name="connsiteY12" fmla="*/ 0 h 2357964"/>
              <a:gd name="connsiteX13" fmla="*/ 1214001 w 6325715"/>
              <a:gd name="connsiteY13" fmla="*/ 0 h 2357964"/>
              <a:gd name="connsiteX14" fmla="*/ 1437174 w 6325715"/>
              <a:gd name="connsiteY14" fmla="*/ 0 h 2357964"/>
              <a:gd name="connsiteX15" fmla="*/ 1584248 w 6325715"/>
              <a:gd name="connsiteY15" fmla="*/ 0 h 2357964"/>
              <a:gd name="connsiteX16" fmla="*/ 1743109 w 6325715"/>
              <a:gd name="connsiteY16" fmla="*/ 0 h 2357964"/>
              <a:gd name="connsiteX17" fmla="*/ 1864175 w 6325715"/>
              <a:gd name="connsiteY17" fmla="*/ 0 h 2357964"/>
              <a:gd name="connsiteX18" fmla="*/ 1890183 w 6325715"/>
              <a:gd name="connsiteY18" fmla="*/ 0 h 2357964"/>
              <a:gd name="connsiteX19" fmla="*/ 2011246 w 6325715"/>
              <a:gd name="connsiteY19" fmla="*/ 0 h 2357964"/>
              <a:gd name="connsiteX20" fmla="*/ 2170110 w 6325715"/>
              <a:gd name="connsiteY20" fmla="*/ 0 h 2357964"/>
              <a:gd name="connsiteX21" fmla="*/ 2317181 w 6325715"/>
              <a:gd name="connsiteY21" fmla="*/ 0 h 2357964"/>
              <a:gd name="connsiteX22" fmla="*/ 2540357 w 6325715"/>
              <a:gd name="connsiteY22" fmla="*/ 0 h 2357964"/>
              <a:gd name="connsiteX23" fmla="*/ 2557234 w 6325715"/>
              <a:gd name="connsiteY23" fmla="*/ 0 h 2357964"/>
              <a:gd name="connsiteX24" fmla="*/ 2687427 w 6325715"/>
              <a:gd name="connsiteY24" fmla="*/ 0 h 2357964"/>
              <a:gd name="connsiteX25" fmla="*/ 2704306 w 6325715"/>
              <a:gd name="connsiteY25" fmla="*/ 0 h 2357964"/>
              <a:gd name="connsiteX26" fmla="*/ 2846292 w 6325715"/>
              <a:gd name="connsiteY26" fmla="*/ 0 h 2357964"/>
              <a:gd name="connsiteX27" fmla="*/ 2863169 w 6325715"/>
              <a:gd name="connsiteY27" fmla="*/ 0 h 2357964"/>
              <a:gd name="connsiteX28" fmla="*/ 2993362 w 6325715"/>
              <a:gd name="connsiteY28" fmla="*/ 0 h 2357964"/>
              <a:gd name="connsiteX29" fmla="*/ 3010241 w 6325715"/>
              <a:gd name="connsiteY29" fmla="*/ 0 h 2357964"/>
              <a:gd name="connsiteX30" fmla="*/ 3233416 w 6325715"/>
              <a:gd name="connsiteY30" fmla="*/ 0 h 2357964"/>
              <a:gd name="connsiteX31" fmla="*/ 3380488 w 6325715"/>
              <a:gd name="connsiteY31" fmla="*/ 0 h 2357964"/>
              <a:gd name="connsiteX32" fmla="*/ 3539351 w 6325715"/>
              <a:gd name="connsiteY32" fmla="*/ 0 h 2357964"/>
              <a:gd name="connsiteX33" fmla="*/ 3686423 w 6325715"/>
              <a:gd name="connsiteY33" fmla="*/ 0 h 2357964"/>
              <a:gd name="connsiteX34" fmla="*/ 4503468 w 6325715"/>
              <a:gd name="connsiteY34" fmla="*/ 0 h 2357964"/>
              <a:gd name="connsiteX35" fmla="*/ 4650540 w 6325715"/>
              <a:gd name="connsiteY35" fmla="*/ 0 h 2357964"/>
              <a:gd name="connsiteX36" fmla="*/ 4809403 w 6325715"/>
              <a:gd name="connsiteY36" fmla="*/ 0 h 2357964"/>
              <a:gd name="connsiteX37" fmla="*/ 4956475 w 6325715"/>
              <a:gd name="connsiteY37" fmla="*/ 0 h 2357964"/>
              <a:gd name="connsiteX38" fmla="*/ 5179650 w 6325715"/>
              <a:gd name="connsiteY38" fmla="*/ 0 h 2357964"/>
              <a:gd name="connsiteX39" fmla="*/ 5196528 w 6325715"/>
              <a:gd name="connsiteY39" fmla="*/ 0 h 2357964"/>
              <a:gd name="connsiteX40" fmla="*/ 5326721 w 6325715"/>
              <a:gd name="connsiteY40" fmla="*/ 0 h 2357964"/>
              <a:gd name="connsiteX41" fmla="*/ 5343599 w 6325715"/>
              <a:gd name="connsiteY41" fmla="*/ 0 h 2357964"/>
              <a:gd name="connsiteX42" fmla="*/ 5485585 w 6325715"/>
              <a:gd name="connsiteY42" fmla="*/ 0 h 2357964"/>
              <a:gd name="connsiteX43" fmla="*/ 5502463 w 6325715"/>
              <a:gd name="connsiteY43" fmla="*/ 0 h 2357964"/>
              <a:gd name="connsiteX44" fmla="*/ 5632656 w 6325715"/>
              <a:gd name="connsiteY44" fmla="*/ 0 h 2357964"/>
              <a:gd name="connsiteX45" fmla="*/ 5649534 w 6325715"/>
              <a:gd name="connsiteY45" fmla="*/ 0 h 2357964"/>
              <a:gd name="connsiteX46" fmla="*/ 5872710 w 6325715"/>
              <a:gd name="connsiteY46" fmla="*/ 0 h 2357964"/>
              <a:gd name="connsiteX47" fmla="*/ 6019780 w 6325715"/>
              <a:gd name="connsiteY47" fmla="*/ 0 h 2357964"/>
              <a:gd name="connsiteX48" fmla="*/ 6178645 w 6325715"/>
              <a:gd name="connsiteY48" fmla="*/ 0 h 2357964"/>
              <a:gd name="connsiteX49" fmla="*/ 6325715 w 6325715"/>
              <a:gd name="connsiteY49" fmla="*/ 0 h 2357964"/>
              <a:gd name="connsiteX50" fmla="*/ 5144336 w 6325715"/>
              <a:gd name="connsiteY50" fmla="*/ 1181379 h 2357964"/>
              <a:gd name="connsiteX51" fmla="*/ 6320922 w 6325715"/>
              <a:gd name="connsiteY51" fmla="*/ 2357964 h 2357964"/>
              <a:gd name="connsiteX52" fmla="*/ 6173851 w 6325715"/>
              <a:gd name="connsiteY52" fmla="*/ 2357964 h 2357964"/>
              <a:gd name="connsiteX53" fmla="*/ 6014987 w 6325715"/>
              <a:gd name="connsiteY53" fmla="*/ 2357964 h 2357964"/>
              <a:gd name="connsiteX54" fmla="*/ 5867916 w 6325715"/>
              <a:gd name="connsiteY54" fmla="*/ 2357964 h 2357964"/>
              <a:gd name="connsiteX55" fmla="*/ 5644741 w 6325715"/>
              <a:gd name="connsiteY55" fmla="*/ 2357964 h 2357964"/>
              <a:gd name="connsiteX56" fmla="*/ 5627865 w 6325715"/>
              <a:gd name="connsiteY56" fmla="*/ 2357964 h 2357964"/>
              <a:gd name="connsiteX57" fmla="*/ 5497670 w 6325715"/>
              <a:gd name="connsiteY57" fmla="*/ 2357964 h 2357964"/>
              <a:gd name="connsiteX58" fmla="*/ 5480791 w 6325715"/>
              <a:gd name="connsiteY58" fmla="*/ 2357964 h 2357964"/>
              <a:gd name="connsiteX59" fmla="*/ 5338806 w 6325715"/>
              <a:gd name="connsiteY59" fmla="*/ 2357964 h 2357964"/>
              <a:gd name="connsiteX60" fmla="*/ 5321930 w 6325715"/>
              <a:gd name="connsiteY60" fmla="*/ 2357964 h 2357964"/>
              <a:gd name="connsiteX61" fmla="*/ 5191735 w 6325715"/>
              <a:gd name="connsiteY61" fmla="*/ 2357964 h 2357964"/>
              <a:gd name="connsiteX62" fmla="*/ 5174856 w 6325715"/>
              <a:gd name="connsiteY62" fmla="*/ 2357964 h 2357964"/>
              <a:gd name="connsiteX63" fmla="*/ 4951682 w 6325715"/>
              <a:gd name="connsiteY63" fmla="*/ 2357964 h 2357964"/>
              <a:gd name="connsiteX64" fmla="*/ 4804610 w 6325715"/>
              <a:gd name="connsiteY64" fmla="*/ 2357964 h 2357964"/>
              <a:gd name="connsiteX65" fmla="*/ 4645747 w 6325715"/>
              <a:gd name="connsiteY65" fmla="*/ 2357964 h 2357964"/>
              <a:gd name="connsiteX66" fmla="*/ 4498675 w 6325715"/>
              <a:gd name="connsiteY66" fmla="*/ 2357964 h 2357964"/>
              <a:gd name="connsiteX67" fmla="*/ 3681630 w 6325715"/>
              <a:gd name="connsiteY67" fmla="*/ 2357964 h 2357964"/>
              <a:gd name="connsiteX68" fmla="*/ 3534557 w 6325715"/>
              <a:gd name="connsiteY68" fmla="*/ 2357964 h 2357964"/>
              <a:gd name="connsiteX69" fmla="*/ 3375695 w 6325715"/>
              <a:gd name="connsiteY69" fmla="*/ 2357964 h 2357964"/>
              <a:gd name="connsiteX70" fmla="*/ 3228622 w 6325715"/>
              <a:gd name="connsiteY70" fmla="*/ 2357964 h 2357964"/>
              <a:gd name="connsiteX71" fmla="*/ 3005448 w 6325715"/>
              <a:gd name="connsiteY71" fmla="*/ 2357964 h 2357964"/>
              <a:gd name="connsiteX72" fmla="*/ 2988572 w 6325715"/>
              <a:gd name="connsiteY72" fmla="*/ 2357964 h 2357964"/>
              <a:gd name="connsiteX73" fmla="*/ 2858376 w 6325715"/>
              <a:gd name="connsiteY73" fmla="*/ 2357964 h 2357964"/>
              <a:gd name="connsiteX74" fmla="*/ 2841498 w 6325715"/>
              <a:gd name="connsiteY74" fmla="*/ 2357964 h 2357964"/>
              <a:gd name="connsiteX75" fmla="*/ 2699513 w 6325715"/>
              <a:gd name="connsiteY75" fmla="*/ 2357964 h 2357964"/>
              <a:gd name="connsiteX76" fmla="*/ 2682637 w 6325715"/>
              <a:gd name="connsiteY76" fmla="*/ 2357964 h 2357964"/>
              <a:gd name="connsiteX77" fmla="*/ 2552441 w 6325715"/>
              <a:gd name="connsiteY77" fmla="*/ 2357964 h 2357964"/>
              <a:gd name="connsiteX78" fmla="*/ 2535563 w 6325715"/>
              <a:gd name="connsiteY78" fmla="*/ 2357964 h 2357964"/>
              <a:gd name="connsiteX79" fmla="*/ 2312388 w 6325715"/>
              <a:gd name="connsiteY79" fmla="*/ 2357964 h 2357964"/>
              <a:gd name="connsiteX80" fmla="*/ 2165317 w 6325715"/>
              <a:gd name="connsiteY80" fmla="*/ 2357964 h 2357964"/>
              <a:gd name="connsiteX81" fmla="*/ 2006453 w 6325715"/>
              <a:gd name="connsiteY81" fmla="*/ 2357964 h 2357964"/>
              <a:gd name="connsiteX82" fmla="*/ 1890183 w 6325715"/>
              <a:gd name="connsiteY82" fmla="*/ 2357964 h 2357964"/>
              <a:gd name="connsiteX83" fmla="*/ 1859382 w 6325715"/>
              <a:gd name="connsiteY83" fmla="*/ 2357964 h 2357964"/>
              <a:gd name="connsiteX84" fmla="*/ 1743109 w 6325715"/>
              <a:gd name="connsiteY84" fmla="*/ 2357964 h 2357964"/>
              <a:gd name="connsiteX85" fmla="*/ 1584248 w 6325715"/>
              <a:gd name="connsiteY85" fmla="*/ 2357964 h 2357964"/>
              <a:gd name="connsiteX86" fmla="*/ 1437174 w 6325715"/>
              <a:gd name="connsiteY86" fmla="*/ 2357964 h 2357964"/>
              <a:gd name="connsiteX87" fmla="*/ 1214001 w 6325715"/>
              <a:gd name="connsiteY87" fmla="*/ 2357964 h 2357964"/>
              <a:gd name="connsiteX88" fmla="*/ 1197123 w 6325715"/>
              <a:gd name="connsiteY88" fmla="*/ 2357964 h 2357964"/>
              <a:gd name="connsiteX89" fmla="*/ 1066928 w 6325715"/>
              <a:gd name="connsiteY89" fmla="*/ 2357964 h 2357964"/>
              <a:gd name="connsiteX90" fmla="*/ 1050050 w 6325715"/>
              <a:gd name="connsiteY90" fmla="*/ 2357964 h 2357964"/>
              <a:gd name="connsiteX91" fmla="*/ 908066 w 6325715"/>
              <a:gd name="connsiteY91" fmla="*/ 2357964 h 2357964"/>
              <a:gd name="connsiteX92" fmla="*/ 891188 w 6325715"/>
              <a:gd name="connsiteY92" fmla="*/ 2357964 h 2357964"/>
              <a:gd name="connsiteX93" fmla="*/ 760993 w 6325715"/>
              <a:gd name="connsiteY93" fmla="*/ 2357964 h 2357964"/>
              <a:gd name="connsiteX94" fmla="*/ 744115 w 6325715"/>
              <a:gd name="connsiteY94" fmla="*/ 2357964 h 2357964"/>
              <a:gd name="connsiteX95" fmla="*/ 520942 w 6325715"/>
              <a:gd name="connsiteY95" fmla="*/ 2357964 h 2357964"/>
              <a:gd name="connsiteX96" fmla="*/ 373869 w 6325715"/>
              <a:gd name="connsiteY96" fmla="*/ 2357964 h 2357964"/>
              <a:gd name="connsiteX97" fmla="*/ 305935 w 6325715"/>
              <a:gd name="connsiteY97" fmla="*/ 2357964 h 2357964"/>
              <a:gd name="connsiteX98" fmla="*/ 215007 w 6325715"/>
              <a:gd name="connsiteY98" fmla="*/ 2357964 h 2357964"/>
              <a:gd name="connsiteX99" fmla="*/ 67934 w 6325715"/>
              <a:gd name="connsiteY99" fmla="*/ 2357964 h 2357964"/>
              <a:gd name="connsiteX100" fmla="*/ 0 w 6325715"/>
              <a:gd name="connsiteY100" fmla="*/ 2357964 h 23579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</a:cxnLst>
            <a:rect l="l" t="t" r="r" b="b"/>
            <a:pathLst>
              <a:path w="6325715" h="2357964">
                <a:moveTo>
                  <a:pt x="0" y="0"/>
                </a:moveTo>
                <a:lnTo>
                  <a:pt x="67934" y="0"/>
                </a:lnTo>
                <a:lnTo>
                  <a:pt x="215007" y="0"/>
                </a:lnTo>
                <a:lnTo>
                  <a:pt x="305935" y="0"/>
                </a:lnTo>
                <a:lnTo>
                  <a:pt x="373869" y="0"/>
                </a:lnTo>
                <a:lnTo>
                  <a:pt x="520942" y="0"/>
                </a:lnTo>
                <a:lnTo>
                  <a:pt x="744115" y="0"/>
                </a:lnTo>
                <a:lnTo>
                  <a:pt x="760993" y="0"/>
                </a:lnTo>
                <a:lnTo>
                  <a:pt x="891188" y="0"/>
                </a:lnTo>
                <a:lnTo>
                  <a:pt x="908066" y="0"/>
                </a:lnTo>
                <a:lnTo>
                  <a:pt x="1050050" y="0"/>
                </a:lnTo>
                <a:lnTo>
                  <a:pt x="1066928" y="0"/>
                </a:lnTo>
                <a:lnTo>
                  <a:pt x="1197123" y="0"/>
                </a:lnTo>
                <a:lnTo>
                  <a:pt x="1214001" y="0"/>
                </a:lnTo>
                <a:lnTo>
                  <a:pt x="1437174" y="0"/>
                </a:lnTo>
                <a:lnTo>
                  <a:pt x="1584248" y="0"/>
                </a:lnTo>
                <a:lnTo>
                  <a:pt x="1743109" y="0"/>
                </a:lnTo>
                <a:lnTo>
                  <a:pt x="1864175" y="0"/>
                </a:lnTo>
                <a:lnTo>
                  <a:pt x="1890183" y="0"/>
                </a:lnTo>
                <a:lnTo>
                  <a:pt x="2011246" y="0"/>
                </a:lnTo>
                <a:lnTo>
                  <a:pt x="2170110" y="0"/>
                </a:lnTo>
                <a:lnTo>
                  <a:pt x="2317181" y="0"/>
                </a:lnTo>
                <a:lnTo>
                  <a:pt x="2540357" y="0"/>
                </a:lnTo>
                <a:lnTo>
                  <a:pt x="2557234" y="0"/>
                </a:lnTo>
                <a:lnTo>
                  <a:pt x="2687427" y="0"/>
                </a:lnTo>
                <a:lnTo>
                  <a:pt x="2704306" y="0"/>
                </a:lnTo>
                <a:lnTo>
                  <a:pt x="2846292" y="0"/>
                </a:lnTo>
                <a:lnTo>
                  <a:pt x="2863169" y="0"/>
                </a:lnTo>
                <a:lnTo>
                  <a:pt x="2993362" y="0"/>
                </a:lnTo>
                <a:lnTo>
                  <a:pt x="3010241" y="0"/>
                </a:lnTo>
                <a:lnTo>
                  <a:pt x="3233416" y="0"/>
                </a:lnTo>
                <a:lnTo>
                  <a:pt x="3380488" y="0"/>
                </a:lnTo>
                <a:lnTo>
                  <a:pt x="3539351" y="0"/>
                </a:lnTo>
                <a:lnTo>
                  <a:pt x="3686423" y="0"/>
                </a:lnTo>
                <a:lnTo>
                  <a:pt x="4503468" y="0"/>
                </a:lnTo>
                <a:lnTo>
                  <a:pt x="4650540" y="0"/>
                </a:lnTo>
                <a:lnTo>
                  <a:pt x="4809403" y="0"/>
                </a:lnTo>
                <a:lnTo>
                  <a:pt x="4956475" y="0"/>
                </a:lnTo>
                <a:lnTo>
                  <a:pt x="5179650" y="0"/>
                </a:lnTo>
                <a:lnTo>
                  <a:pt x="5196528" y="0"/>
                </a:lnTo>
                <a:lnTo>
                  <a:pt x="5326721" y="0"/>
                </a:lnTo>
                <a:lnTo>
                  <a:pt x="5343599" y="0"/>
                </a:lnTo>
                <a:lnTo>
                  <a:pt x="5485585" y="0"/>
                </a:lnTo>
                <a:lnTo>
                  <a:pt x="5502463" y="0"/>
                </a:lnTo>
                <a:lnTo>
                  <a:pt x="5632656" y="0"/>
                </a:lnTo>
                <a:lnTo>
                  <a:pt x="5649534" y="0"/>
                </a:lnTo>
                <a:lnTo>
                  <a:pt x="5872710" y="0"/>
                </a:lnTo>
                <a:lnTo>
                  <a:pt x="6019780" y="0"/>
                </a:lnTo>
                <a:lnTo>
                  <a:pt x="6178645" y="0"/>
                </a:lnTo>
                <a:lnTo>
                  <a:pt x="6325715" y="0"/>
                </a:lnTo>
                <a:lnTo>
                  <a:pt x="5144336" y="1181379"/>
                </a:lnTo>
                <a:lnTo>
                  <a:pt x="6320922" y="2357964"/>
                </a:lnTo>
                <a:lnTo>
                  <a:pt x="6173851" y="2357964"/>
                </a:lnTo>
                <a:lnTo>
                  <a:pt x="6014987" y="2357964"/>
                </a:lnTo>
                <a:lnTo>
                  <a:pt x="5867916" y="2357964"/>
                </a:lnTo>
                <a:lnTo>
                  <a:pt x="5644741" y="2357964"/>
                </a:lnTo>
                <a:lnTo>
                  <a:pt x="5627865" y="2357964"/>
                </a:lnTo>
                <a:lnTo>
                  <a:pt x="5497670" y="2357964"/>
                </a:lnTo>
                <a:lnTo>
                  <a:pt x="5480791" y="2357964"/>
                </a:lnTo>
                <a:lnTo>
                  <a:pt x="5338806" y="2357964"/>
                </a:lnTo>
                <a:lnTo>
                  <a:pt x="5321930" y="2357964"/>
                </a:lnTo>
                <a:lnTo>
                  <a:pt x="5191735" y="2357964"/>
                </a:lnTo>
                <a:lnTo>
                  <a:pt x="5174856" y="2357964"/>
                </a:lnTo>
                <a:lnTo>
                  <a:pt x="4951682" y="2357964"/>
                </a:lnTo>
                <a:lnTo>
                  <a:pt x="4804610" y="2357964"/>
                </a:lnTo>
                <a:lnTo>
                  <a:pt x="4645747" y="2357964"/>
                </a:lnTo>
                <a:lnTo>
                  <a:pt x="4498675" y="2357964"/>
                </a:lnTo>
                <a:lnTo>
                  <a:pt x="3681630" y="2357964"/>
                </a:lnTo>
                <a:lnTo>
                  <a:pt x="3534557" y="2357964"/>
                </a:lnTo>
                <a:lnTo>
                  <a:pt x="3375695" y="2357964"/>
                </a:lnTo>
                <a:lnTo>
                  <a:pt x="3228622" y="2357964"/>
                </a:lnTo>
                <a:lnTo>
                  <a:pt x="3005448" y="2357964"/>
                </a:lnTo>
                <a:lnTo>
                  <a:pt x="2988572" y="2357964"/>
                </a:lnTo>
                <a:lnTo>
                  <a:pt x="2858376" y="2357964"/>
                </a:lnTo>
                <a:lnTo>
                  <a:pt x="2841498" y="2357964"/>
                </a:lnTo>
                <a:lnTo>
                  <a:pt x="2699513" y="2357964"/>
                </a:lnTo>
                <a:lnTo>
                  <a:pt x="2682637" y="2357964"/>
                </a:lnTo>
                <a:lnTo>
                  <a:pt x="2552441" y="2357964"/>
                </a:lnTo>
                <a:lnTo>
                  <a:pt x="2535563" y="2357964"/>
                </a:lnTo>
                <a:lnTo>
                  <a:pt x="2312388" y="2357964"/>
                </a:lnTo>
                <a:lnTo>
                  <a:pt x="2165317" y="2357964"/>
                </a:lnTo>
                <a:lnTo>
                  <a:pt x="2006453" y="2357964"/>
                </a:lnTo>
                <a:lnTo>
                  <a:pt x="1890183" y="2357964"/>
                </a:lnTo>
                <a:lnTo>
                  <a:pt x="1859382" y="2357964"/>
                </a:lnTo>
                <a:lnTo>
                  <a:pt x="1743109" y="2357964"/>
                </a:lnTo>
                <a:lnTo>
                  <a:pt x="1584248" y="2357964"/>
                </a:lnTo>
                <a:lnTo>
                  <a:pt x="1437174" y="2357964"/>
                </a:lnTo>
                <a:lnTo>
                  <a:pt x="1214001" y="2357964"/>
                </a:lnTo>
                <a:lnTo>
                  <a:pt x="1197123" y="2357964"/>
                </a:lnTo>
                <a:lnTo>
                  <a:pt x="1066928" y="2357964"/>
                </a:lnTo>
                <a:lnTo>
                  <a:pt x="1050050" y="2357964"/>
                </a:lnTo>
                <a:lnTo>
                  <a:pt x="908066" y="2357964"/>
                </a:lnTo>
                <a:lnTo>
                  <a:pt x="891188" y="2357964"/>
                </a:lnTo>
                <a:lnTo>
                  <a:pt x="760993" y="2357964"/>
                </a:lnTo>
                <a:lnTo>
                  <a:pt x="744115" y="2357964"/>
                </a:lnTo>
                <a:lnTo>
                  <a:pt x="520942" y="2357964"/>
                </a:lnTo>
                <a:lnTo>
                  <a:pt x="373869" y="2357964"/>
                </a:lnTo>
                <a:lnTo>
                  <a:pt x="305935" y="2357964"/>
                </a:lnTo>
                <a:lnTo>
                  <a:pt x="215007" y="2357964"/>
                </a:lnTo>
                <a:lnTo>
                  <a:pt x="67934" y="2357964"/>
                </a:lnTo>
                <a:lnTo>
                  <a:pt x="0" y="2357964"/>
                </a:lnTo>
                <a:close/>
              </a:path>
            </a:pathLst>
          </a:custGeom>
          <a:solidFill>
            <a:srgbClr val="BF1528">
              <a:alpha val="10000"/>
            </a:srgbClr>
          </a:solidFill>
          <a:ln w="9525" cap="flat" cmpd="sng" algn="ctr">
            <a:noFill/>
            <a:prstDash val="solid"/>
            <a:miter lim="800000"/>
          </a:ln>
          <a:effectLst/>
        </p:spPr>
        <p:txBody>
          <a:bodyPr wrap="square" rtlCol="0" anchor="ctr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1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Arial Unicode MS"/>
              <a:cs typeface="Arial"/>
            </a:endParaRPr>
          </a:p>
        </p:txBody>
      </p:sp>
      <p:sp>
        <p:nvSpPr>
          <p:cNvPr id="17" name="Freihandform: Form 108">
            <a:extLst>
              <a:ext uri="{FF2B5EF4-FFF2-40B4-BE49-F238E27FC236}">
                <a16:creationId xmlns:a16="http://schemas.microsoft.com/office/drawing/2014/main" id="{6E80CC6F-87D3-378B-B2BA-9FB22A3BFC1A}"/>
              </a:ext>
            </a:extLst>
          </p:cNvPr>
          <p:cNvSpPr/>
          <p:nvPr/>
        </p:nvSpPr>
        <p:spPr>
          <a:xfrm flipH="1">
            <a:off x="3191356" y="1900160"/>
            <a:ext cx="1266601" cy="2357964"/>
          </a:xfrm>
          <a:custGeom>
            <a:avLst/>
            <a:gdLst>
              <a:gd name="connsiteX0" fmla="*/ 1536305 w 1647131"/>
              <a:gd name="connsiteY0" fmla="*/ 0 h 3066376"/>
              <a:gd name="connsiteX1" fmla="*/ 1647131 w 1647131"/>
              <a:gd name="connsiteY1" fmla="*/ 0 h 3066376"/>
              <a:gd name="connsiteX2" fmla="*/ 1647131 w 1647131"/>
              <a:gd name="connsiteY2" fmla="*/ 2286 h 3066376"/>
              <a:gd name="connsiteX3" fmla="*/ 113112 w 1647131"/>
              <a:gd name="connsiteY3" fmla="*/ 1536305 h 3066376"/>
              <a:gd name="connsiteX4" fmla="*/ 1643183 w 1647131"/>
              <a:gd name="connsiteY4" fmla="*/ 3066376 h 3066376"/>
              <a:gd name="connsiteX5" fmla="*/ 1530071 w 1647131"/>
              <a:gd name="connsiteY5" fmla="*/ 3066376 h 3066376"/>
              <a:gd name="connsiteX6" fmla="*/ 0 w 1647131"/>
              <a:gd name="connsiteY6" fmla="*/ 1536305 h 30663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647131" h="3066376">
                <a:moveTo>
                  <a:pt x="1536305" y="0"/>
                </a:moveTo>
                <a:lnTo>
                  <a:pt x="1647131" y="0"/>
                </a:lnTo>
                <a:lnTo>
                  <a:pt x="1647131" y="2286"/>
                </a:lnTo>
                <a:lnTo>
                  <a:pt x="113112" y="1536305"/>
                </a:lnTo>
                <a:lnTo>
                  <a:pt x="1643183" y="3066376"/>
                </a:lnTo>
                <a:lnTo>
                  <a:pt x="1530071" y="3066376"/>
                </a:lnTo>
                <a:lnTo>
                  <a:pt x="0" y="1536305"/>
                </a:lnTo>
                <a:close/>
              </a:path>
            </a:pathLst>
          </a:custGeom>
          <a:gradFill>
            <a:gsLst>
              <a:gs pos="50000">
                <a:sysClr val="window" lastClr="FFFFFF">
                  <a:alpha val="80000"/>
                </a:sysClr>
              </a:gs>
              <a:gs pos="10000">
                <a:sysClr val="window" lastClr="FFFFFF">
                  <a:alpha val="0"/>
                </a:sysClr>
              </a:gs>
              <a:gs pos="90000">
                <a:sysClr val="window" lastClr="FFFFFF">
                  <a:alpha val="0"/>
                </a:sysClr>
              </a:gs>
            </a:gsLst>
            <a:lin ang="5400000" scaled="1"/>
          </a:gradFill>
          <a:ln w="9525" cap="flat" cmpd="sng" algn="ctr">
            <a:noFill/>
            <a:prstDash val="solid"/>
            <a:miter lim="800000"/>
          </a:ln>
          <a:effectLst/>
        </p:spPr>
        <p:txBody>
          <a:bodyPr wrap="square" rtlCol="0" anchor="ctr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Arial Unicode MS"/>
              <a:cs typeface="Arial"/>
            </a:endParaRPr>
          </a:p>
        </p:txBody>
      </p:sp>
      <p:sp>
        <p:nvSpPr>
          <p:cNvPr id="18" name="Freihandform: Form 109">
            <a:extLst>
              <a:ext uri="{FF2B5EF4-FFF2-40B4-BE49-F238E27FC236}">
                <a16:creationId xmlns:a16="http://schemas.microsoft.com/office/drawing/2014/main" id="{1FD6A8D1-047D-B8F6-8FCA-D74ED2C78905}"/>
              </a:ext>
            </a:extLst>
          </p:cNvPr>
          <p:cNvSpPr/>
          <p:nvPr/>
        </p:nvSpPr>
        <p:spPr>
          <a:xfrm flipH="1">
            <a:off x="2730963" y="1900160"/>
            <a:ext cx="1266601" cy="2357964"/>
          </a:xfrm>
          <a:custGeom>
            <a:avLst/>
            <a:gdLst>
              <a:gd name="connsiteX0" fmla="*/ 1536305 w 1647131"/>
              <a:gd name="connsiteY0" fmla="*/ 0 h 3066376"/>
              <a:gd name="connsiteX1" fmla="*/ 1647131 w 1647131"/>
              <a:gd name="connsiteY1" fmla="*/ 0 h 3066376"/>
              <a:gd name="connsiteX2" fmla="*/ 1647131 w 1647131"/>
              <a:gd name="connsiteY2" fmla="*/ 2286 h 3066376"/>
              <a:gd name="connsiteX3" fmla="*/ 113112 w 1647131"/>
              <a:gd name="connsiteY3" fmla="*/ 1536305 h 3066376"/>
              <a:gd name="connsiteX4" fmla="*/ 1643183 w 1647131"/>
              <a:gd name="connsiteY4" fmla="*/ 3066376 h 3066376"/>
              <a:gd name="connsiteX5" fmla="*/ 1530071 w 1647131"/>
              <a:gd name="connsiteY5" fmla="*/ 3066376 h 3066376"/>
              <a:gd name="connsiteX6" fmla="*/ 0 w 1647131"/>
              <a:gd name="connsiteY6" fmla="*/ 1536305 h 30663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647131" h="3066376">
                <a:moveTo>
                  <a:pt x="1536305" y="0"/>
                </a:moveTo>
                <a:lnTo>
                  <a:pt x="1647131" y="0"/>
                </a:lnTo>
                <a:lnTo>
                  <a:pt x="1647131" y="2286"/>
                </a:lnTo>
                <a:lnTo>
                  <a:pt x="113112" y="1536305"/>
                </a:lnTo>
                <a:lnTo>
                  <a:pt x="1643183" y="3066376"/>
                </a:lnTo>
                <a:lnTo>
                  <a:pt x="1530071" y="3066376"/>
                </a:lnTo>
                <a:lnTo>
                  <a:pt x="0" y="1536305"/>
                </a:lnTo>
                <a:close/>
              </a:path>
            </a:pathLst>
          </a:custGeom>
          <a:gradFill>
            <a:gsLst>
              <a:gs pos="50000">
                <a:sysClr val="window" lastClr="FFFFFF">
                  <a:alpha val="55000"/>
                </a:sysClr>
              </a:gs>
              <a:gs pos="10000">
                <a:sysClr val="window" lastClr="FFFFFF">
                  <a:alpha val="0"/>
                </a:sysClr>
              </a:gs>
              <a:gs pos="90000">
                <a:sysClr val="window" lastClr="FFFFFF">
                  <a:alpha val="0"/>
                </a:sysClr>
              </a:gs>
            </a:gsLst>
            <a:lin ang="5400000" scaled="1"/>
          </a:gradFill>
          <a:ln w="9525" cap="flat" cmpd="sng" algn="ctr">
            <a:noFill/>
            <a:prstDash val="solid"/>
            <a:miter lim="800000"/>
          </a:ln>
          <a:effectLst/>
        </p:spPr>
        <p:txBody>
          <a:bodyPr wrap="square" rtlCol="0" anchor="ctr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Arial Unicode MS"/>
              <a:cs typeface="Arial"/>
            </a:endParaRPr>
          </a:p>
        </p:txBody>
      </p:sp>
      <p:sp>
        <p:nvSpPr>
          <p:cNvPr id="19" name="Freihandform: Form 111">
            <a:extLst>
              <a:ext uri="{FF2B5EF4-FFF2-40B4-BE49-F238E27FC236}">
                <a16:creationId xmlns:a16="http://schemas.microsoft.com/office/drawing/2014/main" id="{A10C2841-AB72-ED31-F9E6-F8FB2C443668}"/>
              </a:ext>
            </a:extLst>
          </p:cNvPr>
          <p:cNvSpPr/>
          <p:nvPr/>
        </p:nvSpPr>
        <p:spPr>
          <a:xfrm flipH="1">
            <a:off x="2270569" y="1900160"/>
            <a:ext cx="1266601" cy="2357964"/>
          </a:xfrm>
          <a:custGeom>
            <a:avLst/>
            <a:gdLst>
              <a:gd name="connsiteX0" fmla="*/ 1536305 w 1647131"/>
              <a:gd name="connsiteY0" fmla="*/ 0 h 3066376"/>
              <a:gd name="connsiteX1" fmla="*/ 1647131 w 1647131"/>
              <a:gd name="connsiteY1" fmla="*/ 0 h 3066376"/>
              <a:gd name="connsiteX2" fmla="*/ 1647131 w 1647131"/>
              <a:gd name="connsiteY2" fmla="*/ 2286 h 3066376"/>
              <a:gd name="connsiteX3" fmla="*/ 113112 w 1647131"/>
              <a:gd name="connsiteY3" fmla="*/ 1536305 h 3066376"/>
              <a:gd name="connsiteX4" fmla="*/ 1643183 w 1647131"/>
              <a:gd name="connsiteY4" fmla="*/ 3066376 h 3066376"/>
              <a:gd name="connsiteX5" fmla="*/ 1530071 w 1647131"/>
              <a:gd name="connsiteY5" fmla="*/ 3066376 h 3066376"/>
              <a:gd name="connsiteX6" fmla="*/ 0 w 1647131"/>
              <a:gd name="connsiteY6" fmla="*/ 1536305 h 30663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647131" h="3066376">
                <a:moveTo>
                  <a:pt x="1536305" y="0"/>
                </a:moveTo>
                <a:lnTo>
                  <a:pt x="1647131" y="0"/>
                </a:lnTo>
                <a:lnTo>
                  <a:pt x="1647131" y="2286"/>
                </a:lnTo>
                <a:lnTo>
                  <a:pt x="113112" y="1536305"/>
                </a:lnTo>
                <a:lnTo>
                  <a:pt x="1643183" y="3066376"/>
                </a:lnTo>
                <a:lnTo>
                  <a:pt x="1530071" y="3066376"/>
                </a:lnTo>
                <a:lnTo>
                  <a:pt x="0" y="1536305"/>
                </a:lnTo>
                <a:close/>
              </a:path>
            </a:pathLst>
          </a:custGeom>
          <a:gradFill>
            <a:gsLst>
              <a:gs pos="50000">
                <a:sysClr val="window" lastClr="FFFFFF">
                  <a:alpha val="41000"/>
                </a:sysClr>
              </a:gs>
              <a:gs pos="10000">
                <a:sysClr val="window" lastClr="FFFFFF">
                  <a:alpha val="0"/>
                </a:sysClr>
              </a:gs>
              <a:gs pos="90000">
                <a:srgbClr val="EFF0F2">
                  <a:alpha val="0"/>
                </a:srgbClr>
              </a:gs>
            </a:gsLst>
            <a:lin ang="5400000" scaled="1"/>
          </a:gradFill>
          <a:ln w="9525" cap="flat" cmpd="sng" algn="ctr">
            <a:noFill/>
            <a:prstDash val="solid"/>
            <a:miter lim="800000"/>
          </a:ln>
          <a:effectLst/>
        </p:spPr>
        <p:txBody>
          <a:bodyPr wrap="square" rtlCol="0" anchor="ctr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Arial Unicode MS"/>
              <a:cs typeface="Arial"/>
            </a:endParaRPr>
          </a:p>
        </p:txBody>
      </p:sp>
      <p:sp>
        <p:nvSpPr>
          <p:cNvPr id="20" name="Raute 12">
            <a:extLst>
              <a:ext uri="{FF2B5EF4-FFF2-40B4-BE49-F238E27FC236}">
                <a16:creationId xmlns:a16="http://schemas.microsoft.com/office/drawing/2014/main" id="{B6A23215-1DE0-709D-D46D-60093EE14379}"/>
              </a:ext>
            </a:extLst>
          </p:cNvPr>
          <p:cNvSpPr/>
          <p:nvPr/>
        </p:nvSpPr>
        <p:spPr>
          <a:xfrm>
            <a:off x="7751866" y="1900160"/>
            <a:ext cx="1181384" cy="2362758"/>
          </a:xfrm>
          <a:custGeom>
            <a:avLst/>
            <a:gdLst>
              <a:gd name="connsiteX0" fmla="*/ 0 w 3456001"/>
              <a:gd name="connsiteY0" fmla="*/ 1727995 h 3455989"/>
              <a:gd name="connsiteX1" fmla="*/ 1728001 w 3456001"/>
              <a:gd name="connsiteY1" fmla="*/ 0 h 3455989"/>
              <a:gd name="connsiteX2" fmla="*/ 3456001 w 3456001"/>
              <a:gd name="connsiteY2" fmla="*/ 1727995 h 3455989"/>
              <a:gd name="connsiteX3" fmla="*/ 1728001 w 3456001"/>
              <a:gd name="connsiteY3" fmla="*/ 3455989 h 3455989"/>
              <a:gd name="connsiteX4" fmla="*/ 0 w 3456001"/>
              <a:gd name="connsiteY4" fmla="*/ 1727995 h 3455989"/>
              <a:gd name="connsiteX0" fmla="*/ 0 w 3456001"/>
              <a:gd name="connsiteY0" fmla="*/ 1727995 h 3455989"/>
              <a:gd name="connsiteX1" fmla="*/ 1728001 w 3456001"/>
              <a:gd name="connsiteY1" fmla="*/ 0 h 3455989"/>
              <a:gd name="connsiteX2" fmla="*/ 3456001 w 3456001"/>
              <a:gd name="connsiteY2" fmla="*/ 1727995 h 3455989"/>
              <a:gd name="connsiteX3" fmla="*/ 1728001 w 3456001"/>
              <a:gd name="connsiteY3" fmla="*/ 3455989 h 3455989"/>
              <a:gd name="connsiteX4" fmla="*/ 91440 w 3456001"/>
              <a:gd name="connsiteY4" fmla="*/ 1819435 h 3455989"/>
              <a:gd name="connsiteX0" fmla="*/ 0 w 3456001"/>
              <a:gd name="connsiteY0" fmla="*/ 1727995 h 3455989"/>
              <a:gd name="connsiteX1" fmla="*/ 1728001 w 3456001"/>
              <a:gd name="connsiteY1" fmla="*/ 0 h 3455989"/>
              <a:gd name="connsiteX2" fmla="*/ 3456001 w 3456001"/>
              <a:gd name="connsiteY2" fmla="*/ 1727995 h 3455989"/>
              <a:gd name="connsiteX3" fmla="*/ 1728001 w 3456001"/>
              <a:gd name="connsiteY3" fmla="*/ 3455989 h 3455989"/>
              <a:gd name="connsiteX0" fmla="*/ 0 w 1728000"/>
              <a:gd name="connsiteY0" fmla="*/ 0 h 3455989"/>
              <a:gd name="connsiteX1" fmla="*/ 1728000 w 1728000"/>
              <a:gd name="connsiteY1" fmla="*/ 1727995 h 3455989"/>
              <a:gd name="connsiteX2" fmla="*/ 0 w 1728000"/>
              <a:gd name="connsiteY2" fmla="*/ 3455989 h 34559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728000" h="3455989">
                <a:moveTo>
                  <a:pt x="0" y="0"/>
                </a:moveTo>
                <a:lnTo>
                  <a:pt x="1728000" y="1727995"/>
                </a:lnTo>
                <a:lnTo>
                  <a:pt x="0" y="3455989"/>
                </a:lnTo>
              </a:path>
            </a:pathLst>
          </a:custGeom>
          <a:noFill/>
          <a:ln w="19050" cap="rnd" cmpd="sng" algn="ctr">
            <a:solidFill>
              <a:srgbClr val="BF1528"/>
            </a:solidFill>
            <a:prstDash val="solid"/>
            <a:miter lim="800000"/>
          </a:ln>
          <a:effectLst/>
        </p:spPr>
        <p:txBody>
          <a:bodyPr wrap="square" rtlCol="0" anchor="ctr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1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Arial Unicode MS"/>
              <a:cs typeface="Arial"/>
            </a:endParaRPr>
          </a:p>
        </p:txBody>
      </p:sp>
      <p:sp>
        <p:nvSpPr>
          <p:cNvPr id="21" name="Raute 133">
            <a:extLst>
              <a:ext uri="{FF2B5EF4-FFF2-40B4-BE49-F238E27FC236}">
                <a16:creationId xmlns:a16="http://schemas.microsoft.com/office/drawing/2014/main" id="{92EA2653-FF2E-482E-26D9-7BCD09120254}"/>
              </a:ext>
            </a:extLst>
          </p:cNvPr>
          <p:cNvSpPr/>
          <p:nvPr/>
        </p:nvSpPr>
        <p:spPr>
          <a:xfrm>
            <a:off x="5232234" y="1288181"/>
            <a:ext cx="3586716" cy="3586716"/>
          </a:xfrm>
          <a:prstGeom prst="diamond">
            <a:avLst/>
          </a:prstGeom>
          <a:solidFill>
            <a:srgbClr val="BF1528">
              <a:alpha val="10000"/>
            </a:srgbClr>
          </a:solidFill>
          <a:ln w="9525" cap="flat" cmpd="sng" algn="ctr">
            <a:noFill/>
            <a:prstDash val="solid"/>
            <a:miter lim="800000"/>
          </a:ln>
          <a:effectLst/>
        </p:spPr>
        <p:txBody>
          <a:bodyPr rtlCol="0" anchor="ctr" anchorCtr="0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1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Arial Unicode MS"/>
              <a:cs typeface="Arial"/>
            </a:endParaRPr>
          </a:p>
        </p:txBody>
      </p:sp>
      <p:cxnSp>
        <p:nvCxnSpPr>
          <p:cNvPr id="22" name="Gerader Verbinder 153">
            <a:extLst>
              <a:ext uri="{FF2B5EF4-FFF2-40B4-BE49-F238E27FC236}">
                <a16:creationId xmlns:a16="http://schemas.microsoft.com/office/drawing/2014/main" id="{5BC7EC55-8199-32E3-21CA-BE29D2BC1D8F}"/>
              </a:ext>
            </a:extLst>
          </p:cNvPr>
          <p:cNvCxnSpPr>
            <a:cxnSpLocks/>
          </p:cNvCxnSpPr>
          <p:nvPr/>
        </p:nvCxnSpPr>
        <p:spPr>
          <a:xfrm>
            <a:off x="1" y="1904950"/>
            <a:ext cx="6315280" cy="0"/>
          </a:xfrm>
          <a:prstGeom prst="line">
            <a:avLst/>
          </a:prstGeom>
          <a:noFill/>
          <a:ln w="19050" cap="rnd" cmpd="sng" algn="ctr">
            <a:solidFill>
              <a:srgbClr val="BF1528"/>
            </a:solidFill>
            <a:prstDash val="solid"/>
            <a:miter lim="800000"/>
          </a:ln>
          <a:effectLst/>
        </p:spPr>
      </p:cxnSp>
      <p:cxnSp>
        <p:nvCxnSpPr>
          <p:cNvPr id="23" name="Gerader Verbinder 154">
            <a:extLst>
              <a:ext uri="{FF2B5EF4-FFF2-40B4-BE49-F238E27FC236}">
                <a16:creationId xmlns:a16="http://schemas.microsoft.com/office/drawing/2014/main" id="{1A40FECF-CFE8-288A-A3E7-C7D38FFA9212}"/>
              </a:ext>
            </a:extLst>
          </p:cNvPr>
          <p:cNvCxnSpPr>
            <a:cxnSpLocks/>
          </p:cNvCxnSpPr>
          <p:nvPr/>
        </p:nvCxnSpPr>
        <p:spPr>
          <a:xfrm>
            <a:off x="1" y="4258126"/>
            <a:ext cx="6315280" cy="0"/>
          </a:xfrm>
          <a:prstGeom prst="line">
            <a:avLst/>
          </a:prstGeom>
          <a:noFill/>
          <a:ln w="19050" cap="rnd" cmpd="sng" algn="ctr">
            <a:solidFill>
              <a:srgbClr val="BF1528"/>
            </a:solidFill>
            <a:prstDash val="solid"/>
            <a:miter lim="800000"/>
          </a:ln>
          <a:effectLst/>
        </p:spPr>
      </p:cxnSp>
      <p:sp>
        <p:nvSpPr>
          <p:cNvPr id="24" name="Textfeld 12">
            <a:extLst>
              <a:ext uri="{FF2B5EF4-FFF2-40B4-BE49-F238E27FC236}">
                <a16:creationId xmlns:a16="http://schemas.microsoft.com/office/drawing/2014/main" id="{ED089898-0691-4B63-7D1B-5F0A769624AE}"/>
              </a:ext>
            </a:extLst>
          </p:cNvPr>
          <p:cNvSpPr txBox="1"/>
          <p:nvPr/>
        </p:nvSpPr>
        <p:spPr>
          <a:xfrm>
            <a:off x="3965553" y="1221232"/>
            <a:ext cx="2526846" cy="484748"/>
          </a:xfrm>
          <a:prstGeom prst="rect">
            <a:avLst/>
          </a:prstGeom>
          <a:noFill/>
          <a:effectLst/>
        </p:spPr>
        <p:txBody>
          <a:bodyPr wrap="square" lIns="0" tIns="0" rIns="0" bIns="0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0" cap="none" spc="0" normalizeH="0" baseline="0" noProof="0" dirty="0">
                <a:ln>
                  <a:noFill/>
                </a:ln>
                <a:solidFill>
                  <a:srgbClr val="BF1528"/>
                </a:solidFill>
                <a:effectLst/>
                <a:uLnTx/>
                <a:uFillTx/>
              </a:rPr>
              <a:t>Digital projects and technology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rPr>
              <a:t>Technology enabled value chain </a:t>
            </a:r>
            <a:br>
              <a:rPr kumimoji="0" lang="en-GB" sz="900" b="0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rPr>
            </a:br>
            <a:r>
              <a:rPr kumimoji="0" lang="en-GB" sz="900" b="0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rPr>
              <a:t>and transfer of digital assets.</a:t>
            </a:r>
          </a:p>
        </p:txBody>
      </p:sp>
      <p:sp>
        <p:nvSpPr>
          <p:cNvPr id="25" name="Rechteck 245">
            <a:extLst>
              <a:ext uri="{FF2B5EF4-FFF2-40B4-BE49-F238E27FC236}">
                <a16:creationId xmlns:a16="http://schemas.microsoft.com/office/drawing/2014/main" id="{98E00297-AF1B-798E-A32A-67A8AABF1CFB}"/>
              </a:ext>
            </a:extLst>
          </p:cNvPr>
          <p:cNvSpPr/>
          <p:nvPr/>
        </p:nvSpPr>
        <p:spPr>
          <a:xfrm>
            <a:off x="5709195" y="2223226"/>
            <a:ext cx="2617554" cy="20851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rPr>
              <a:t>Shareholders</a:t>
            </a: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rPr>
              <a:t> 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rPr>
              <a:t>Top peer group RoE.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rPr>
              <a:t>Customers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rPr>
              <a:t>Customer-centric processes, products and services.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rPr>
              <a:t>Employees</a:t>
            </a: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rPr>
              <a:t> 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rPr>
              <a:t>Attractive work environment through</a:t>
            </a:r>
            <a:b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rPr>
            </a:b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rPr>
              <a:t>new ways of working and technology.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rPr>
              <a:t>Strengthen digital employer branding.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rPr>
              <a:t>Leverage the strengths, innovative spirit</a:t>
            </a:r>
            <a:b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rPr>
            </a:b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rPr>
              <a:t>and diversity of our workforce.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rPr>
              <a:t>Communities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rPr>
              <a:t>Partner of local communities.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rPr>
              <a:t>Clearly set goals according</a:t>
            </a:r>
            <a:b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rPr>
            </a:b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rPr>
              <a:t>to the Paris Agreement.</a:t>
            </a:r>
          </a:p>
        </p:txBody>
      </p:sp>
      <p:cxnSp>
        <p:nvCxnSpPr>
          <p:cNvPr id="26" name="Gerader Verbinder 94">
            <a:extLst>
              <a:ext uri="{FF2B5EF4-FFF2-40B4-BE49-F238E27FC236}">
                <a16:creationId xmlns:a16="http://schemas.microsoft.com/office/drawing/2014/main" id="{25CA9FFE-8890-094E-6A6F-6E3075D0CAA6}"/>
              </a:ext>
            </a:extLst>
          </p:cNvPr>
          <p:cNvCxnSpPr>
            <a:cxnSpLocks/>
          </p:cNvCxnSpPr>
          <p:nvPr/>
        </p:nvCxnSpPr>
        <p:spPr>
          <a:xfrm>
            <a:off x="2428036" y="1221231"/>
            <a:ext cx="0" cy="611999"/>
          </a:xfrm>
          <a:prstGeom prst="line">
            <a:avLst/>
          </a:prstGeom>
          <a:noFill/>
          <a:ln w="6350" cap="rnd" cmpd="sng" algn="ctr">
            <a:solidFill>
              <a:srgbClr val="4D4E53">
                <a:lumMod val="40000"/>
                <a:lumOff val="60000"/>
              </a:srgbClr>
            </a:solidFill>
            <a:prstDash val="solid"/>
            <a:miter lim="800000"/>
          </a:ln>
          <a:effectLst/>
        </p:spPr>
      </p:cxnSp>
      <p:cxnSp>
        <p:nvCxnSpPr>
          <p:cNvPr id="27" name="Gerader Verbinder 95">
            <a:extLst>
              <a:ext uri="{FF2B5EF4-FFF2-40B4-BE49-F238E27FC236}">
                <a16:creationId xmlns:a16="http://schemas.microsoft.com/office/drawing/2014/main" id="{2FACC9CA-0ED9-42DA-ADC3-718EF59F4392}"/>
              </a:ext>
            </a:extLst>
          </p:cNvPr>
          <p:cNvCxnSpPr>
            <a:cxnSpLocks/>
          </p:cNvCxnSpPr>
          <p:nvPr/>
        </p:nvCxnSpPr>
        <p:spPr>
          <a:xfrm>
            <a:off x="3897046" y="1221231"/>
            <a:ext cx="0" cy="611999"/>
          </a:xfrm>
          <a:prstGeom prst="line">
            <a:avLst/>
          </a:prstGeom>
          <a:noFill/>
          <a:ln w="6350" cap="rnd" cmpd="sng" algn="ctr">
            <a:solidFill>
              <a:srgbClr val="4D4E53">
                <a:lumMod val="40000"/>
                <a:lumOff val="60000"/>
              </a:srgbClr>
            </a:solidFill>
            <a:prstDash val="solid"/>
            <a:miter lim="800000"/>
          </a:ln>
          <a:effectLst/>
        </p:spPr>
      </p:cxnSp>
      <p:sp>
        <p:nvSpPr>
          <p:cNvPr id="28" name="Textfeld 12">
            <a:extLst>
              <a:ext uri="{FF2B5EF4-FFF2-40B4-BE49-F238E27FC236}">
                <a16:creationId xmlns:a16="http://schemas.microsoft.com/office/drawing/2014/main" id="{0D9117CC-3F87-CD97-E7A9-936E07A60834}"/>
              </a:ext>
            </a:extLst>
          </p:cNvPr>
          <p:cNvSpPr txBox="1"/>
          <p:nvPr/>
        </p:nvSpPr>
        <p:spPr>
          <a:xfrm>
            <a:off x="3965553" y="1983102"/>
            <a:ext cx="1573223" cy="561692"/>
          </a:xfrm>
          <a:prstGeom prst="rect">
            <a:avLst/>
          </a:prstGeom>
          <a:noFill/>
          <a:effectLst/>
        </p:spPr>
        <p:txBody>
          <a:bodyPr wrap="square" lIns="0" tIns="0" rIns="0" bIns="0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0" cap="none" spc="0" normalizeH="0" baseline="0" noProof="0" dirty="0">
                <a:ln>
                  <a:noFill/>
                </a:ln>
                <a:solidFill>
                  <a:srgbClr val="BF1528"/>
                </a:solidFill>
                <a:effectLst/>
                <a:uLnTx/>
                <a:uFillTx/>
              </a:rPr>
              <a:t>Build</a:t>
            </a:r>
            <a:r>
              <a:rPr kumimoji="0" lang="en-GB" sz="1000" b="0" i="0" u="none" strike="noStrike" kern="0" cap="none" spc="0" normalizeH="0" baseline="0" noProof="0" dirty="0">
                <a:ln>
                  <a:noFill/>
                </a:ln>
                <a:solidFill>
                  <a:srgbClr val="0066FF"/>
                </a:solidFill>
                <a:effectLst/>
                <a:uLnTx/>
                <a:uFillTx/>
              </a:rPr>
              <a:t> </a:t>
            </a: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rPr>
              <a:t>up strong growth</a:t>
            </a:r>
            <a:b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rPr>
            </a:b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rPr>
              <a:t>in B2B2C and pure direct player.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rPr>
              <a:t>Continue modernization of legacy IT-infrastructures.</a:t>
            </a:r>
          </a:p>
        </p:txBody>
      </p:sp>
      <p:cxnSp>
        <p:nvCxnSpPr>
          <p:cNvPr id="29" name="Gerader Verbinder 232">
            <a:extLst>
              <a:ext uri="{FF2B5EF4-FFF2-40B4-BE49-F238E27FC236}">
                <a16:creationId xmlns:a16="http://schemas.microsoft.com/office/drawing/2014/main" id="{B9363430-FE29-FA22-3476-9C321C0B4E93}"/>
              </a:ext>
            </a:extLst>
          </p:cNvPr>
          <p:cNvCxnSpPr>
            <a:cxnSpLocks/>
          </p:cNvCxnSpPr>
          <p:nvPr/>
        </p:nvCxnSpPr>
        <p:spPr>
          <a:xfrm>
            <a:off x="2428036" y="1983974"/>
            <a:ext cx="0" cy="1018541"/>
          </a:xfrm>
          <a:prstGeom prst="line">
            <a:avLst/>
          </a:prstGeom>
          <a:noFill/>
          <a:ln w="6350" cap="rnd" cmpd="sng" algn="ctr">
            <a:solidFill>
              <a:srgbClr val="BF1528">
                <a:alpha val="30000"/>
              </a:srgbClr>
            </a:solidFill>
            <a:prstDash val="solid"/>
            <a:miter lim="800000"/>
          </a:ln>
          <a:effectLst/>
        </p:spPr>
      </p:cxnSp>
      <p:cxnSp>
        <p:nvCxnSpPr>
          <p:cNvPr id="30" name="Gerader Verbinder 233">
            <a:extLst>
              <a:ext uri="{FF2B5EF4-FFF2-40B4-BE49-F238E27FC236}">
                <a16:creationId xmlns:a16="http://schemas.microsoft.com/office/drawing/2014/main" id="{CCD3B374-F222-06CF-0883-EA5F5DD72537}"/>
              </a:ext>
            </a:extLst>
          </p:cNvPr>
          <p:cNvCxnSpPr>
            <a:cxnSpLocks/>
          </p:cNvCxnSpPr>
          <p:nvPr/>
        </p:nvCxnSpPr>
        <p:spPr>
          <a:xfrm>
            <a:off x="3897049" y="1983102"/>
            <a:ext cx="0" cy="1018800"/>
          </a:xfrm>
          <a:prstGeom prst="line">
            <a:avLst/>
          </a:prstGeom>
          <a:noFill/>
          <a:ln w="6350" cap="rnd" cmpd="sng" algn="ctr">
            <a:solidFill>
              <a:srgbClr val="BF1528">
                <a:alpha val="30000"/>
              </a:srgbClr>
            </a:solidFill>
            <a:prstDash val="solid"/>
            <a:miter lim="800000"/>
          </a:ln>
          <a:effectLst/>
        </p:spPr>
      </p:cxnSp>
      <p:pic>
        <p:nvPicPr>
          <p:cNvPr id="31" name="Grafik 8">
            <a:extLst>
              <a:ext uri="{FF2B5EF4-FFF2-40B4-BE49-F238E27FC236}">
                <a16:creationId xmlns:a16="http://schemas.microsoft.com/office/drawing/2014/main" id="{78128517-6C84-4E52-4B11-B20CF2395109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640654" y="2900110"/>
            <a:ext cx="358066" cy="358064"/>
          </a:xfrm>
          <a:prstGeom prst="rect">
            <a:avLst/>
          </a:prstGeom>
        </p:spPr>
      </p:pic>
      <p:cxnSp>
        <p:nvCxnSpPr>
          <p:cNvPr id="32" name="Gerader Verbinder 22">
            <a:extLst>
              <a:ext uri="{FF2B5EF4-FFF2-40B4-BE49-F238E27FC236}">
                <a16:creationId xmlns:a16="http://schemas.microsoft.com/office/drawing/2014/main" id="{4891C5E6-4330-E3FB-AC8D-D6659352120F}"/>
              </a:ext>
            </a:extLst>
          </p:cNvPr>
          <p:cNvCxnSpPr>
            <a:cxnSpLocks/>
          </p:cNvCxnSpPr>
          <p:nvPr/>
        </p:nvCxnSpPr>
        <p:spPr>
          <a:xfrm>
            <a:off x="251999" y="3081539"/>
            <a:ext cx="4320001" cy="0"/>
          </a:xfrm>
          <a:prstGeom prst="line">
            <a:avLst/>
          </a:prstGeom>
          <a:noFill/>
          <a:ln w="6350" cap="flat" cmpd="sng" algn="ctr">
            <a:solidFill>
              <a:srgbClr val="BF1528">
                <a:alpha val="30000"/>
              </a:srgbClr>
            </a:solidFill>
            <a:prstDash val="solid"/>
            <a:miter lim="800000"/>
          </a:ln>
          <a:effectLst/>
        </p:spPr>
      </p:cxnSp>
      <p:cxnSp>
        <p:nvCxnSpPr>
          <p:cNvPr id="33" name="Gerader Verbinder 232">
            <a:extLst>
              <a:ext uri="{FF2B5EF4-FFF2-40B4-BE49-F238E27FC236}">
                <a16:creationId xmlns:a16="http://schemas.microsoft.com/office/drawing/2014/main" id="{8D905F2D-C401-7504-BDD2-9737BEE82F94}"/>
              </a:ext>
            </a:extLst>
          </p:cNvPr>
          <p:cNvCxnSpPr>
            <a:cxnSpLocks/>
          </p:cNvCxnSpPr>
          <p:nvPr/>
        </p:nvCxnSpPr>
        <p:spPr>
          <a:xfrm>
            <a:off x="2428037" y="3160561"/>
            <a:ext cx="0" cy="1018541"/>
          </a:xfrm>
          <a:prstGeom prst="line">
            <a:avLst/>
          </a:prstGeom>
          <a:noFill/>
          <a:ln w="6350" cap="rnd" cmpd="sng" algn="ctr">
            <a:solidFill>
              <a:srgbClr val="BF1528">
                <a:alpha val="30000"/>
              </a:srgbClr>
            </a:solidFill>
            <a:prstDash val="solid"/>
            <a:miter lim="800000"/>
          </a:ln>
          <a:effectLst/>
        </p:spPr>
      </p:cxnSp>
      <p:cxnSp>
        <p:nvCxnSpPr>
          <p:cNvPr id="34" name="Gerader Verbinder 233">
            <a:extLst>
              <a:ext uri="{FF2B5EF4-FFF2-40B4-BE49-F238E27FC236}">
                <a16:creationId xmlns:a16="http://schemas.microsoft.com/office/drawing/2014/main" id="{96B2FA3E-7030-3FAC-5028-B49E664B17DC}"/>
              </a:ext>
            </a:extLst>
          </p:cNvPr>
          <p:cNvCxnSpPr>
            <a:cxnSpLocks/>
          </p:cNvCxnSpPr>
          <p:nvPr/>
        </p:nvCxnSpPr>
        <p:spPr>
          <a:xfrm>
            <a:off x="3897049" y="3160302"/>
            <a:ext cx="0" cy="1018800"/>
          </a:xfrm>
          <a:prstGeom prst="line">
            <a:avLst/>
          </a:prstGeom>
          <a:noFill/>
          <a:ln w="6350" cap="rnd" cmpd="sng" algn="ctr">
            <a:solidFill>
              <a:srgbClr val="BF1528">
                <a:alpha val="30000"/>
              </a:srgbClr>
            </a:solidFill>
            <a:prstDash val="solid"/>
            <a:miter lim="800000"/>
          </a:ln>
          <a:effectLst/>
        </p:spPr>
      </p:cxnSp>
      <p:grpSp>
        <p:nvGrpSpPr>
          <p:cNvPr id="105" name="Group 104">
            <a:extLst>
              <a:ext uri="{FF2B5EF4-FFF2-40B4-BE49-F238E27FC236}">
                <a16:creationId xmlns:a16="http://schemas.microsoft.com/office/drawing/2014/main" id="{685E6B1B-7CD7-6AB2-5128-D01F382A1DFE}"/>
              </a:ext>
            </a:extLst>
          </p:cNvPr>
          <p:cNvGrpSpPr/>
          <p:nvPr/>
        </p:nvGrpSpPr>
        <p:grpSpPr>
          <a:xfrm>
            <a:off x="251999" y="2192058"/>
            <a:ext cx="442429" cy="1769613"/>
            <a:chOff x="332015" y="2192058"/>
            <a:chExt cx="442429" cy="1769613"/>
          </a:xfrm>
        </p:grpSpPr>
        <p:sp>
          <p:nvSpPr>
            <p:cNvPr id="35" name="Textfeld 132">
              <a:extLst>
                <a:ext uri="{FF2B5EF4-FFF2-40B4-BE49-F238E27FC236}">
                  <a16:creationId xmlns:a16="http://schemas.microsoft.com/office/drawing/2014/main" id="{1318EA04-1138-2362-F0A6-83463C6A52F6}"/>
                </a:ext>
              </a:extLst>
            </p:cNvPr>
            <p:cNvSpPr txBox="1"/>
            <p:nvPr/>
          </p:nvSpPr>
          <p:spPr>
            <a:xfrm>
              <a:off x="361670" y="2609764"/>
              <a:ext cx="383118" cy="184666"/>
            </a:xfrm>
            <a:prstGeom prst="rect">
              <a:avLst/>
            </a:prstGeom>
            <a:noFill/>
            <a:effectLst/>
          </p:spPr>
          <p:txBody>
            <a:bodyPr wrap="none" lIns="0" tIns="0" rIns="0" bIns="0" rtlCol="0" anchor="t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BF1528"/>
                  </a:solidFill>
                  <a:effectLst/>
                  <a:uLnTx/>
                  <a:uFillTx/>
                </a:rPr>
                <a:t>Scale</a:t>
              </a:r>
            </a:p>
          </p:txBody>
        </p:sp>
        <p:grpSp>
          <p:nvGrpSpPr>
            <p:cNvPr id="103" name="Group 102">
              <a:extLst>
                <a:ext uri="{FF2B5EF4-FFF2-40B4-BE49-F238E27FC236}">
                  <a16:creationId xmlns:a16="http://schemas.microsoft.com/office/drawing/2014/main" id="{4B473A69-1A89-B3C2-6B8F-F3F27E740AA1}"/>
                </a:ext>
              </a:extLst>
            </p:cNvPr>
            <p:cNvGrpSpPr/>
            <p:nvPr/>
          </p:nvGrpSpPr>
          <p:grpSpPr>
            <a:xfrm>
              <a:off x="373616" y="2192058"/>
              <a:ext cx="359226" cy="355962"/>
              <a:chOff x="373616" y="2192058"/>
              <a:chExt cx="359226" cy="355962"/>
            </a:xfrm>
          </p:grpSpPr>
          <p:grpSp>
            <p:nvGrpSpPr>
              <p:cNvPr id="37" name="Gruppieren 135">
                <a:extLst>
                  <a:ext uri="{FF2B5EF4-FFF2-40B4-BE49-F238E27FC236}">
                    <a16:creationId xmlns:a16="http://schemas.microsoft.com/office/drawing/2014/main" id="{C56542AC-F625-7C6B-53A1-84487FA82A70}"/>
                  </a:ext>
                </a:extLst>
              </p:cNvPr>
              <p:cNvGrpSpPr/>
              <p:nvPr/>
            </p:nvGrpSpPr>
            <p:grpSpPr>
              <a:xfrm>
                <a:off x="409153" y="2233866"/>
                <a:ext cx="286144" cy="314154"/>
                <a:chOff x="567835" y="2160652"/>
                <a:chExt cx="453714" cy="498133"/>
              </a:xfrm>
              <a:solidFill>
                <a:schemeClr val="tx2"/>
              </a:solidFill>
            </p:grpSpPr>
            <p:sp>
              <p:nvSpPr>
                <p:cNvPr id="46" name="Freihandform: Form 147">
                  <a:extLst>
                    <a:ext uri="{FF2B5EF4-FFF2-40B4-BE49-F238E27FC236}">
                      <a16:creationId xmlns:a16="http://schemas.microsoft.com/office/drawing/2014/main" id="{E06F2D0E-0DE2-61FC-8AC4-8BDB37E7075C}"/>
                    </a:ext>
                  </a:extLst>
                </p:cNvPr>
                <p:cNvSpPr/>
                <p:nvPr/>
              </p:nvSpPr>
              <p:spPr>
                <a:xfrm>
                  <a:off x="879306" y="2309882"/>
                  <a:ext cx="75666" cy="75665"/>
                </a:xfrm>
                <a:custGeom>
                  <a:avLst/>
                  <a:gdLst>
                    <a:gd name="connsiteX0" fmla="*/ 171450 w 342900"/>
                    <a:gd name="connsiteY0" fmla="*/ 342900 h 342899"/>
                    <a:gd name="connsiteX1" fmla="*/ 0 w 342900"/>
                    <a:gd name="connsiteY1" fmla="*/ 171450 h 342899"/>
                    <a:gd name="connsiteX2" fmla="*/ 171450 w 342900"/>
                    <a:gd name="connsiteY2" fmla="*/ 0 h 342899"/>
                    <a:gd name="connsiteX3" fmla="*/ 342900 w 342900"/>
                    <a:gd name="connsiteY3" fmla="*/ 171450 h 342899"/>
                    <a:gd name="connsiteX4" fmla="*/ 171450 w 342900"/>
                    <a:gd name="connsiteY4" fmla="*/ 342900 h 342899"/>
                    <a:gd name="connsiteX5" fmla="*/ 171450 w 342900"/>
                    <a:gd name="connsiteY5" fmla="*/ 57150 h 342899"/>
                    <a:gd name="connsiteX6" fmla="*/ 57150 w 342900"/>
                    <a:gd name="connsiteY6" fmla="*/ 171450 h 342899"/>
                    <a:gd name="connsiteX7" fmla="*/ 171450 w 342900"/>
                    <a:gd name="connsiteY7" fmla="*/ 285750 h 342899"/>
                    <a:gd name="connsiteX8" fmla="*/ 285750 w 342900"/>
                    <a:gd name="connsiteY8" fmla="*/ 171450 h 342899"/>
                    <a:gd name="connsiteX9" fmla="*/ 171450 w 342900"/>
                    <a:gd name="connsiteY9" fmla="*/ 57150 h 34289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342900" h="342899">
                      <a:moveTo>
                        <a:pt x="171450" y="342900"/>
                      </a:moveTo>
                      <a:cubicBezTo>
                        <a:pt x="76867" y="342900"/>
                        <a:pt x="0" y="266033"/>
                        <a:pt x="0" y="171450"/>
                      </a:cubicBezTo>
                      <a:cubicBezTo>
                        <a:pt x="0" y="76867"/>
                        <a:pt x="76867" y="0"/>
                        <a:pt x="171450" y="0"/>
                      </a:cubicBezTo>
                      <a:cubicBezTo>
                        <a:pt x="266033" y="0"/>
                        <a:pt x="342900" y="76867"/>
                        <a:pt x="342900" y="171450"/>
                      </a:cubicBezTo>
                      <a:cubicBezTo>
                        <a:pt x="342900" y="266033"/>
                        <a:pt x="266033" y="342900"/>
                        <a:pt x="171450" y="342900"/>
                      </a:cubicBezTo>
                      <a:close/>
                      <a:moveTo>
                        <a:pt x="171450" y="57150"/>
                      </a:moveTo>
                      <a:cubicBezTo>
                        <a:pt x="108395" y="57150"/>
                        <a:pt x="57150" y="108394"/>
                        <a:pt x="57150" y="171450"/>
                      </a:cubicBezTo>
                      <a:cubicBezTo>
                        <a:pt x="57150" y="234506"/>
                        <a:pt x="108395" y="285750"/>
                        <a:pt x="171450" y="285750"/>
                      </a:cubicBezTo>
                      <a:cubicBezTo>
                        <a:pt x="234505" y="285750"/>
                        <a:pt x="285750" y="234506"/>
                        <a:pt x="285750" y="171450"/>
                      </a:cubicBezTo>
                      <a:cubicBezTo>
                        <a:pt x="285750" y="108394"/>
                        <a:pt x="234505" y="57150"/>
                        <a:pt x="171450" y="5715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2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47" name="Freihandform: Form 148">
                  <a:extLst>
                    <a:ext uri="{FF2B5EF4-FFF2-40B4-BE49-F238E27FC236}">
                      <a16:creationId xmlns:a16="http://schemas.microsoft.com/office/drawing/2014/main" id="{45BCCD96-ECE0-B645-7428-97C205DC6A6C}"/>
                    </a:ext>
                  </a:extLst>
                </p:cNvPr>
                <p:cNvSpPr/>
                <p:nvPr/>
              </p:nvSpPr>
              <p:spPr>
                <a:xfrm>
                  <a:off x="656512" y="2646174"/>
                  <a:ext cx="277441" cy="12611"/>
                </a:xfrm>
                <a:custGeom>
                  <a:avLst/>
                  <a:gdLst>
                    <a:gd name="connsiteX0" fmla="*/ 1228725 w 1257300"/>
                    <a:gd name="connsiteY0" fmla="*/ 57150 h 57150"/>
                    <a:gd name="connsiteX1" fmla="*/ 28575 w 1257300"/>
                    <a:gd name="connsiteY1" fmla="*/ 57150 h 57150"/>
                    <a:gd name="connsiteX2" fmla="*/ 0 w 1257300"/>
                    <a:gd name="connsiteY2" fmla="*/ 28575 h 57150"/>
                    <a:gd name="connsiteX3" fmla="*/ 28575 w 1257300"/>
                    <a:gd name="connsiteY3" fmla="*/ 0 h 57150"/>
                    <a:gd name="connsiteX4" fmla="*/ 1228725 w 1257300"/>
                    <a:gd name="connsiteY4" fmla="*/ 0 h 57150"/>
                    <a:gd name="connsiteX5" fmla="*/ 1257300 w 1257300"/>
                    <a:gd name="connsiteY5" fmla="*/ 28575 h 57150"/>
                    <a:gd name="connsiteX6" fmla="*/ 1228725 w 1257300"/>
                    <a:gd name="connsiteY6" fmla="*/ 57150 h 571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257300" h="57150">
                      <a:moveTo>
                        <a:pt x="1228725" y="57150"/>
                      </a:moveTo>
                      <a:lnTo>
                        <a:pt x="28575" y="57150"/>
                      </a:lnTo>
                      <a:cubicBezTo>
                        <a:pt x="12763" y="57150"/>
                        <a:pt x="0" y="44387"/>
                        <a:pt x="0" y="28575"/>
                      </a:cubicBezTo>
                      <a:cubicBezTo>
                        <a:pt x="0" y="12763"/>
                        <a:pt x="12763" y="0"/>
                        <a:pt x="28575" y="0"/>
                      </a:cubicBezTo>
                      <a:lnTo>
                        <a:pt x="1228725" y="0"/>
                      </a:lnTo>
                      <a:cubicBezTo>
                        <a:pt x="1244537" y="0"/>
                        <a:pt x="1257300" y="12763"/>
                        <a:pt x="1257300" y="28575"/>
                      </a:cubicBezTo>
                      <a:cubicBezTo>
                        <a:pt x="1257300" y="44387"/>
                        <a:pt x="1244537" y="57150"/>
                        <a:pt x="1228725" y="5715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2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48" name="Freihandform: Form 149">
                  <a:extLst>
                    <a:ext uri="{FF2B5EF4-FFF2-40B4-BE49-F238E27FC236}">
                      <a16:creationId xmlns:a16="http://schemas.microsoft.com/office/drawing/2014/main" id="{CBD99208-9C7E-519A-5214-299FEABB2E57}"/>
                    </a:ext>
                  </a:extLst>
                </p:cNvPr>
                <p:cNvSpPr/>
                <p:nvPr/>
              </p:nvSpPr>
              <p:spPr>
                <a:xfrm>
                  <a:off x="635494" y="2309882"/>
                  <a:ext cx="75666" cy="75665"/>
                </a:xfrm>
                <a:custGeom>
                  <a:avLst/>
                  <a:gdLst>
                    <a:gd name="connsiteX0" fmla="*/ 171450 w 342900"/>
                    <a:gd name="connsiteY0" fmla="*/ 342900 h 342899"/>
                    <a:gd name="connsiteX1" fmla="*/ 0 w 342900"/>
                    <a:gd name="connsiteY1" fmla="*/ 171450 h 342899"/>
                    <a:gd name="connsiteX2" fmla="*/ 171450 w 342900"/>
                    <a:gd name="connsiteY2" fmla="*/ 0 h 342899"/>
                    <a:gd name="connsiteX3" fmla="*/ 342900 w 342900"/>
                    <a:gd name="connsiteY3" fmla="*/ 171450 h 342899"/>
                    <a:gd name="connsiteX4" fmla="*/ 171450 w 342900"/>
                    <a:gd name="connsiteY4" fmla="*/ 342900 h 342899"/>
                    <a:gd name="connsiteX5" fmla="*/ 171450 w 342900"/>
                    <a:gd name="connsiteY5" fmla="*/ 57150 h 342899"/>
                    <a:gd name="connsiteX6" fmla="*/ 57150 w 342900"/>
                    <a:gd name="connsiteY6" fmla="*/ 171450 h 342899"/>
                    <a:gd name="connsiteX7" fmla="*/ 171450 w 342900"/>
                    <a:gd name="connsiteY7" fmla="*/ 285750 h 342899"/>
                    <a:gd name="connsiteX8" fmla="*/ 285750 w 342900"/>
                    <a:gd name="connsiteY8" fmla="*/ 171450 h 342899"/>
                    <a:gd name="connsiteX9" fmla="*/ 171450 w 342900"/>
                    <a:gd name="connsiteY9" fmla="*/ 57150 h 34289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342900" h="342899">
                      <a:moveTo>
                        <a:pt x="171450" y="342900"/>
                      </a:moveTo>
                      <a:cubicBezTo>
                        <a:pt x="76867" y="342900"/>
                        <a:pt x="0" y="266033"/>
                        <a:pt x="0" y="171450"/>
                      </a:cubicBezTo>
                      <a:cubicBezTo>
                        <a:pt x="0" y="76867"/>
                        <a:pt x="76867" y="0"/>
                        <a:pt x="171450" y="0"/>
                      </a:cubicBezTo>
                      <a:cubicBezTo>
                        <a:pt x="266033" y="0"/>
                        <a:pt x="342900" y="76867"/>
                        <a:pt x="342900" y="171450"/>
                      </a:cubicBezTo>
                      <a:cubicBezTo>
                        <a:pt x="342900" y="266033"/>
                        <a:pt x="266033" y="342900"/>
                        <a:pt x="171450" y="342900"/>
                      </a:cubicBezTo>
                      <a:close/>
                      <a:moveTo>
                        <a:pt x="171450" y="57150"/>
                      </a:moveTo>
                      <a:cubicBezTo>
                        <a:pt x="108394" y="57150"/>
                        <a:pt x="57150" y="108394"/>
                        <a:pt x="57150" y="171450"/>
                      </a:cubicBezTo>
                      <a:cubicBezTo>
                        <a:pt x="57150" y="234506"/>
                        <a:pt x="108394" y="285750"/>
                        <a:pt x="171450" y="285750"/>
                      </a:cubicBezTo>
                      <a:cubicBezTo>
                        <a:pt x="234506" y="285750"/>
                        <a:pt x="285750" y="234506"/>
                        <a:pt x="285750" y="171450"/>
                      </a:cubicBezTo>
                      <a:cubicBezTo>
                        <a:pt x="285750" y="108394"/>
                        <a:pt x="234506" y="57150"/>
                        <a:pt x="171450" y="5715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2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49" name="Freihandform: Form 151">
                  <a:extLst>
                    <a:ext uri="{FF2B5EF4-FFF2-40B4-BE49-F238E27FC236}">
                      <a16:creationId xmlns:a16="http://schemas.microsoft.com/office/drawing/2014/main" id="{886420BB-754F-375F-478B-068C0B244C4D}"/>
                    </a:ext>
                  </a:extLst>
                </p:cNvPr>
                <p:cNvSpPr/>
                <p:nvPr/>
              </p:nvSpPr>
              <p:spPr>
                <a:xfrm>
                  <a:off x="788927" y="2307780"/>
                  <a:ext cx="12611" cy="351005"/>
                </a:xfrm>
                <a:custGeom>
                  <a:avLst/>
                  <a:gdLst>
                    <a:gd name="connsiteX0" fmla="*/ 28575 w 57150"/>
                    <a:gd name="connsiteY0" fmla="*/ 1590675 h 1590675"/>
                    <a:gd name="connsiteX1" fmla="*/ 0 w 57150"/>
                    <a:gd name="connsiteY1" fmla="*/ 1562100 h 1590675"/>
                    <a:gd name="connsiteX2" fmla="*/ 0 w 57150"/>
                    <a:gd name="connsiteY2" fmla="*/ 28575 h 1590675"/>
                    <a:gd name="connsiteX3" fmla="*/ 28575 w 57150"/>
                    <a:gd name="connsiteY3" fmla="*/ 0 h 1590675"/>
                    <a:gd name="connsiteX4" fmla="*/ 57150 w 57150"/>
                    <a:gd name="connsiteY4" fmla="*/ 28575 h 1590675"/>
                    <a:gd name="connsiteX5" fmla="*/ 57150 w 57150"/>
                    <a:gd name="connsiteY5" fmla="*/ 1562100 h 1590675"/>
                    <a:gd name="connsiteX6" fmla="*/ 28575 w 57150"/>
                    <a:gd name="connsiteY6" fmla="*/ 1590675 h 15906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57150" h="1590675">
                      <a:moveTo>
                        <a:pt x="28575" y="1590675"/>
                      </a:moveTo>
                      <a:cubicBezTo>
                        <a:pt x="12763" y="1590675"/>
                        <a:pt x="0" y="1577912"/>
                        <a:pt x="0" y="1562100"/>
                      </a:cubicBezTo>
                      <a:lnTo>
                        <a:pt x="0" y="28575"/>
                      </a:lnTo>
                      <a:cubicBezTo>
                        <a:pt x="0" y="12763"/>
                        <a:pt x="12763" y="0"/>
                        <a:pt x="28575" y="0"/>
                      </a:cubicBezTo>
                      <a:cubicBezTo>
                        <a:pt x="44387" y="0"/>
                        <a:pt x="57150" y="12763"/>
                        <a:pt x="57150" y="28575"/>
                      </a:cubicBezTo>
                      <a:lnTo>
                        <a:pt x="57150" y="1562100"/>
                      </a:lnTo>
                      <a:cubicBezTo>
                        <a:pt x="57150" y="1577912"/>
                        <a:pt x="44387" y="1590675"/>
                        <a:pt x="28575" y="1590675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2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50" name="Freihandform: Form 154">
                  <a:extLst>
                    <a:ext uri="{FF2B5EF4-FFF2-40B4-BE49-F238E27FC236}">
                      <a16:creationId xmlns:a16="http://schemas.microsoft.com/office/drawing/2014/main" id="{8716BEBF-F53B-E341-A327-DD7AC3E47B29}"/>
                    </a:ext>
                  </a:extLst>
                </p:cNvPr>
                <p:cNvSpPr/>
                <p:nvPr/>
              </p:nvSpPr>
              <p:spPr>
                <a:xfrm>
                  <a:off x="757168" y="2241489"/>
                  <a:ext cx="75666" cy="75666"/>
                </a:xfrm>
                <a:custGeom>
                  <a:avLst/>
                  <a:gdLst>
                    <a:gd name="connsiteX0" fmla="*/ 171450 w 342900"/>
                    <a:gd name="connsiteY0" fmla="*/ 342900 h 342900"/>
                    <a:gd name="connsiteX1" fmla="*/ 0 w 342900"/>
                    <a:gd name="connsiteY1" fmla="*/ 171450 h 342900"/>
                    <a:gd name="connsiteX2" fmla="*/ 171450 w 342900"/>
                    <a:gd name="connsiteY2" fmla="*/ 0 h 342900"/>
                    <a:gd name="connsiteX3" fmla="*/ 342900 w 342900"/>
                    <a:gd name="connsiteY3" fmla="*/ 171450 h 342900"/>
                    <a:gd name="connsiteX4" fmla="*/ 171450 w 342900"/>
                    <a:gd name="connsiteY4" fmla="*/ 342900 h 342900"/>
                    <a:gd name="connsiteX5" fmla="*/ 171450 w 342900"/>
                    <a:gd name="connsiteY5" fmla="*/ 57150 h 342900"/>
                    <a:gd name="connsiteX6" fmla="*/ 57150 w 342900"/>
                    <a:gd name="connsiteY6" fmla="*/ 171450 h 342900"/>
                    <a:gd name="connsiteX7" fmla="*/ 171450 w 342900"/>
                    <a:gd name="connsiteY7" fmla="*/ 285750 h 342900"/>
                    <a:gd name="connsiteX8" fmla="*/ 285750 w 342900"/>
                    <a:gd name="connsiteY8" fmla="*/ 171450 h 342900"/>
                    <a:gd name="connsiteX9" fmla="*/ 171450 w 342900"/>
                    <a:gd name="connsiteY9" fmla="*/ 57150 h 3429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342900" h="342900">
                      <a:moveTo>
                        <a:pt x="171450" y="342900"/>
                      </a:moveTo>
                      <a:cubicBezTo>
                        <a:pt x="76867" y="342900"/>
                        <a:pt x="0" y="266033"/>
                        <a:pt x="0" y="171450"/>
                      </a:cubicBezTo>
                      <a:cubicBezTo>
                        <a:pt x="0" y="76867"/>
                        <a:pt x="76867" y="0"/>
                        <a:pt x="171450" y="0"/>
                      </a:cubicBezTo>
                      <a:cubicBezTo>
                        <a:pt x="266033" y="0"/>
                        <a:pt x="342900" y="76867"/>
                        <a:pt x="342900" y="171450"/>
                      </a:cubicBezTo>
                      <a:cubicBezTo>
                        <a:pt x="342900" y="266033"/>
                        <a:pt x="266033" y="342900"/>
                        <a:pt x="171450" y="342900"/>
                      </a:cubicBezTo>
                      <a:close/>
                      <a:moveTo>
                        <a:pt x="171450" y="57150"/>
                      </a:moveTo>
                      <a:cubicBezTo>
                        <a:pt x="108395" y="57150"/>
                        <a:pt x="57150" y="108394"/>
                        <a:pt x="57150" y="171450"/>
                      </a:cubicBezTo>
                      <a:cubicBezTo>
                        <a:pt x="57150" y="234506"/>
                        <a:pt x="108395" y="285750"/>
                        <a:pt x="171450" y="285750"/>
                      </a:cubicBezTo>
                      <a:cubicBezTo>
                        <a:pt x="234505" y="285750"/>
                        <a:pt x="285750" y="234506"/>
                        <a:pt x="285750" y="171450"/>
                      </a:cubicBezTo>
                      <a:cubicBezTo>
                        <a:pt x="285750" y="108394"/>
                        <a:pt x="234505" y="57150"/>
                        <a:pt x="171450" y="5715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2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51" name="Freihandform: Form 157">
                  <a:extLst>
                    <a:ext uri="{FF2B5EF4-FFF2-40B4-BE49-F238E27FC236}">
                      <a16:creationId xmlns:a16="http://schemas.microsoft.com/office/drawing/2014/main" id="{6D99EE89-3B3A-3769-333B-66FF25AA1A8B}"/>
                    </a:ext>
                  </a:extLst>
                </p:cNvPr>
                <p:cNvSpPr/>
                <p:nvPr/>
              </p:nvSpPr>
              <p:spPr>
                <a:xfrm>
                  <a:off x="788927" y="2160652"/>
                  <a:ext cx="12611" cy="88277"/>
                </a:xfrm>
                <a:custGeom>
                  <a:avLst/>
                  <a:gdLst>
                    <a:gd name="connsiteX0" fmla="*/ 28575 w 57150"/>
                    <a:gd name="connsiteY0" fmla="*/ 400050 h 400050"/>
                    <a:gd name="connsiteX1" fmla="*/ 0 w 57150"/>
                    <a:gd name="connsiteY1" fmla="*/ 371475 h 400050"/>
                    <a:gd name="connsiteX2" fmla="*/ 0 w 57150"/>
                    <a:gd name="connsiteY2" fmla="*/ 28575 h 400050"/>
                    <a:gd name="connsiteX3" fmla="*/ 28575 w 57150"/>
                    <a:gd name="connsiteY3" fmla="*/ 0 h 400050"/>
                    <a:gd name="connsiteX4" fmla="*/ 57150 w 57150"/>
                    <a:gd name="connsiteY4" fmla="*/ 28575 h 400050"/>
                    <a:gd name="connsiteX5" fmla="*/ 57150 w 57150"/>
                    <a:gd name="connsiteY5" fmla="*/ 371475 h 400050"/>
                    <a:gd name="connsiteX6" fmla="*/ 28575 w 57150"/>
                    <a:gd name="connsiteY6" fmla="*/ 400050 h 4000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57150" h="400050">
                      <a:moveTo>
                        <a:pt x="28575" y="400050"/>
                      </a:moveTo>
                      <a:cubicBezTo>
                        <a:pt x="12763" y="400050"/>
                        <a:pt x="0" y="387286"/>
                        <a:pt x="0" y="371475"/>
                      </a:cubicBezTo>
                      <a:lnTo>
                        <a:pt x="0" y="28575"/>
                      </a:lnTo>
                      <a:cubicBezTo>
                        <a:pt x="0" y="12764"/>
                        <a:pt x="12763" y="0"/>
                        <a:pt x="28575" y="0"/>
                      </a:cubicBezTo>
                      <a:cubicBezTo>
                        <a:pt x="44387" y="0"/>
                        <a:pt x="57150" y="12764"/>
                        <a:pt x="57150" y="28575"/>
                      </a:cubicBezTo>
                      <a:lnTo>
                        <a:pt x="57150" y="371475"/>
                      </a:lnTo>
                      <a:cubicBezTo>
                        <a:pt x="57150" y="387286"/>
                        <a:pt x="44387" y="400050"/>
                        <a:pt x="28575" y="40005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2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</a:endParaRPr>
                </a:p>
              </p:txBody>
            </p:sp>
            <p:grpSp>
              <p:nvGrpSpPr>
                <p:cNvPr id="52" name="Grafik 5">
                  <a:extLst>
                    <a:ext uri="{FF2B5EF4-FFF2-40B4-BE49-F238E27FC236}">
                      <a16:creationId xmlns:a16="http://schemas.microsoft.com/office/drawing/2014/main" id="{84728066-F565-94DB-B7E4-9B55C8B27FD9}"/>
                    </a:ext>
                  </a:extLst>
                </p:cNvPr>
                <p:cNvGrpSpPr/>
                <p:nvPr/>
              </p:nvGrpSpPr>
              <p:grpSpPr>
                <a:xfrm>
                  <a:off x="567835" y="2181684"/>
                  <a:ext cx="233710" cy="279530"/>
                  <a:chOff x="3536721" y="1686363"/>
                  <a:chExt cx="1059122" cy="1266766"/>
                </a:xfrm>
                <a:grpFill/>
              </p:grpSpPr>
              <p:sp>
                <p:nvSpPr>
                  <p:cNvPr id="58" name="Freihandform: Form 180">
                    <a:extLst>
                      <a:ext uri="{FF2B5EF4-FFF2-40B4-BE49-F238E27FC236}">
                        <a16:creationId xmlns:a16="http://schemas.microsoft.com/office/drawing/2014/main" id="{D114E07F-A51C-2AAD-4E14-7BCAC33006EC}"/>
                      </a:ext>
                    </a:extLst>
                  </p:cNvPr>
                  <p:cNvSpPr/>
                  <p:nvPr/>
                </p:nvSpPr>
                <p:spPr>
                  <a:xfrm>
                    <a:off x="4091049" y="2514948"/>
                    <a:ext cx="504794" cy="438182"/>
                  </a:xfrm>
                  <a:custGeom>
                    <a:avLst/>
                    <a:gdLst>
                      <a:gd name="connsiteX0" fmla="*/ 476187 w 504794"/>
                      <a:gd name="connsiteY0" fmla="*/ 438182 h 438182"/>
                      <a:gd name="connsiteX1" fmla="*/ 457709 w 504794"/>
                      <a:gd name="connsiteY1" fmla="*/ 431324 h 438182"/>
                      <a:gd name="connsiteX2" fmla="*/ 10034 w 504794"/>
                      <a:gd name="connsiteY2" fmla="*/ 50324 h 438182"/>
                      <a:gd name="connsiteX3" fmla="*/ 6795 w 504794"/>
                      <a:gd name="connsiteY3" fmla="*/ 10034 h 438182"/>
                      <a:gd name="connsiteX4" fmla="*/ 47086 w 504794"/>
                      <a:gd name="connsiteY4" fmla="*/ 6795 h 438182"/>
                      <a:gd name="connsiteX5" fmla="*/ 494761 w 504794"/>
                      <a:gd name="connsiteY5" fmla="*/ 387795 h 438182"/>
                      <a:gd name="connsiteX6" fmla="*/ 497999 w 504794"/>
                      <a:gd name="connsiteY6" fmla="*/ 428086 h 438182"/>
                      <a:gd name="connsiteX7" fmla="*/ 476187 w 504794"/>
                      <a:gd name="connsiteY7" fmla="*/ 438182 h 43818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504794" h="438182">
                        <a:moveTo>
                          <a:pt x="476187" y="438182"/>
                        </a:moveTo>
                        <a:cubicBezTo>
                          <a:pt x="469615" y="438182"/>
                          <a:pt x="463043" y="435992"/>
                          <a:pt x="457709" y="431324"/>
                        </a:cubicBezTo>
                        <a:lnTo>
                          <a:pt x="10034" y="50324"/>
                        </a:lnTo>
                        <a:cubicBezTo>
                          <a:pt x="-1968" y="40133"/>
                          <a:pt x="-3397" y="22035"/>
                          <a:pt x="6795" y="10034"/>
                        </a:cubicBezTo>
                        <a:cubicBezTo>
                          <a:pt x="16987" y="-1968"/>
                          <a:pt x="35084" y="-3397"/>
                          <a:pt x="47086" y="6795"/>
                        </a:cubicBezTo>
                        <a:lnTo>
                          <a:pt x="494761" y="387795"/>
                        </a:lnTo>
                        <a:cubicBezTo>
                          <a:pt x="506762" y="397987"/>
                          <a:pt x="508191" y="416084"/>
                          <a:pt x="497999" y="428086"/>
                        </a:cubicBezTo>
                        <a:cubicBezTo>
                          <a:pt x="492284" y="434753"/>
                          <a:pt x="484283" y="438182"/>
                          <a:pt x="476187" y="438182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2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59" name="Freihandform: Form 207">
                    <a:extLst>
                      <a:ext uri="{FF2B5EF4-FFF2-40B4-BE49-F238E27FC236}">
                        <a16:creationId xmlns:a16="http://schemas.microsoft.com/office/drawing/2014/main" id="{C78A47BE-D1EA-CEE6-C3E1-434B44E7CA52}"/>
                      </a:ext>
                    </a:extLst>
                  </p:cNvPr>
                  <p:cNvSpPr/>
                  <p:nvPr/>
                </p:nvSpPr>
                <p:spPr>
                  <a:xfrm>
                    <a:off x="4014845" y="1686363"/>
                    <a:ext cx="438129" cy="390466"/>
                  </a:xfrm>
                  <a:custGeom>
                    <a:avLst/>
                    <a:gdLst>
                      <a:gd name="connsiteX0" fmla="*/ 409517 w 438129"/>
                      <a:gd name="connsiteY0" fmla="*/ 390467 h 390466"/>
                      <a:gd name="connsiteX1" fmla="*/ 390753 w 438129"/>
                      <a:gd name="connsiteY1" fmla="*/ 383418 h 390466"/>
                      <a:gd name="connsiteX2" fmla="*/ 9753 w 438129"/>
                      <a:gd name="connsiteY2" fmla="*/ 50043 h 390466"/>
                      <a:gd name="connsiteX3" fmla="*/ 7086 w 438129"/>
                      <a:gd name="connsiteY3" fmla="*/ 9753 h 390466"/>
                      <a:gd name="connsiteX4" fmla="*/ 47376 w 438129"/>
                      <a:gd name="connsiteY4" fmla="*/ 7086 h 390466"/>
                      <a:gd name="connsiteX5" fmla="*/ 428376 w 438129"/>
                      <a:gd name="connsiteY5" fmla="*/ 340461 h 390466"/>
                      <a:gd name="connsiteX6" fmla="*/ 431043 w 438129"/>
                      <a:gd name="connsiteY6" fmla="*/ 380751 h 390466"/>
                      <a:gd name="connsiteX7" fmla="*/ 409517 w 438129"/>
                      <a:gd name="connsiteY7" fmla="*/ 390467 h 39046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438129" h="390466">
                        <a:moveTo>
                          <a:pt x="409517" y="390467"/>
                        </a:moveTo>
                        <a:cubicBezTo>
                          <a:pt x="402849" y="390467"/>
                          <a:pt x="396087" y="388181"/>
                          <a:pt x="390753" y="383418"/>
                        </a:cubicBezTo>
                        <a:lnTo>
                          <a:pt x="9753" y="50043"/>
                        </a:lnTo>
                        <a:cubicBezTo>
                          <a:pt x="-2154" y="39661"/>
                          <a:pt x="-3297" y="21564"/>
                          <a:pt x="7086" y="9753"/>
                        </a:cubicBezTo>
                        <a:cubicBezTo>
                          <a:pt x="17468" y="-2154"/>
                          <a:pt x="35565" y="-3297"/>
                          <a:pt x="47376" y="7086"/>
                        </a:cubicBezTo>
                        <a:lnTo>
                          <a:pt x="428376" y="340461"/>
                        </a:lnTo>
                        <a:cubicBezTo>
                          <a:pt x="440283" y="350843"/>
                          <a:pt x="441426" y="368940"/>
                          <a:pt x="431043" y="380751"/>
                        </a:cubicBezTo>
                        <a:cubicBezTo>
                          <a:pt x="425328" y="387133"/>
                          <a:pt x="417423" y="390467"/>
                          <a:pt x="409517" y="390467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2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60" name="Freihandform: Form 229">
                    <a:extLst>
                      <a:ext uri="{FF2B5EF4-FFF2-40B4-BE49-F238E27FC236}">
                        <a16:creationId xmlns:a16="http://schemas.microsoft.com/office/drawing/2014/main" id="{7F0DC411-EBA0-3EAE-2054-4D936A326A66}"/>
                      </a:ext>
                    </a:extLst>
                  </p:cNvPr>
                  <p:cNvSpPr/>
                  <p:nvPr/>
                </p:nvSpPr>
                <p:spPr>
                  <a:xfrm>
                    <a:off x="3567128" y="2067226"/>
                    <a:ext cx="362013" cy="314404"/>
                  </a:xfrm>
                  <a:custGeom>
                    <a:avLst/>
                    <a:gdLst>
                      <a:gd name="connsiteX0" fmla="*/ 333359 w 362013"/>
                      <a:gd name="connsiteY0" fmla="*/ 314404 h 314404"/>
                      <a:gd name="connsiteX1" fmla="*/ 314976 w 362013"/>
                      <a:gd name="connsiteY1" fmla="*/ 307641 h 314404"/>
                      <a:gd name="connsiteX2" fmla="*/ 10176 w 362013"/>
                      <a:gd name="connsiteY2" fmla="*/ 50466 h 314404"/>
                      <a:gd name="connsiteX3" fmla="*/ 6747 w 362013"/>
                      <a:gd name="connsiteY3" fmla="*/ 10176 h 314404"/>
                      <a:gd name="connsiteX4" fmla="*/ 47037 w 362013"/>
                      <a:gd name="connsiteY4" fmla="*/ 6747 h 314404"/>
                      <a:gd name="connsiteX5" fmla="*/ 351837 w 362013"/>
                      <a:gd name="connsiteY5" fmla="*/ 263922 h 314404"/>
                      <a:gd name="connsiteX6" fmla="*/ 355266 w 362013"/>
                      <a:gd name="connsiteY6" fmla="*/ 304212 h 314404"/>
                      <a:gd name="connsiteX7" fmla="*/ 333359 w 362013"/>
                      <a:gd name="connsiteY7" fmla="*/ 314404 h 31440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2013" h="314404">
                        <a:moveTo>
                          <a:pt x="333359" y="314404"/>
                        </a:moveTo>
                        <a:cubicBezTo>
                          <a:pt x="326882" y="314404"/>
                          <a:pt x="320310" y="312213"/>
                          <a:pt x="314976" y="307641"/>
                        </a:cubicBezTo>
                        <a:lnTo>
                          <a:pt x="10176" y="50466"/>
                        </a:lnTo>
                        <a:cubicBezTo>
                          <a:pt x="-1921" y="40275"/>
                          <a:pt x="-3445" y="22272"/>
                          <a:pt x="6747" y="10176"/>
                        </a:cubicBezTo>
                        <a:cubicBezTo>
                          <a:pt x="16938" y="-1921"/>
                          <a:pt x="34941" y="-3445"/>
                          <a:pt x="47037" y="6747"/>
                        </a:cubicBezTo>
                        <a:lnTo>
                          <a:pt x="351837" y="263922"/>
                        </a:lnTo>
                        <a:cubicBezTo>
                          <a:pt x="363934" y="274113"/>
                          <a:pt x="365458" y="292116"/>
                          <a:pt x="355266" y="304212"/>
                        </a:cubicBezTo>
                        <a:cubicBezTo>
                          <a:pt x="349551" y="310975"/>
                          <a:pt x="341455" y="314404"/>
                          <a:pt x="333359" y="314404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2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61" name="Freihandform: Form 235">
                    <a:extLst>
                      <a:ext uri="{FF2B5EF4-FFF2-40B4-BE49-F238E27FC236}">
                        <a16:creationId xmlns:a16="http://schemas.microsoft.com/office/drawing/2014/main" id="{E62403BA-AC06-E4C2-A9B0-450797B1073D}"/>
                      </a:ext>
                    </a:extLst>
                  </p:cNvPr>
                  <p:cNvSpPr/>
                  <p:nvPr/>
                </p:nvSpPr>
                <p:spPr>
                  <a:xfrm>
                    <a:off x="3536721" y="2486400"/>
                    <a:ext cx="382820" cy="235748"/>
                  </a:xfrm>
                  <a:custGeom>
                    <a:avLst/>
                    <a:gdLst>
                      <a:gd name="connsiteX0" fmla="*/ 28580 w 382820"/>
                      <a:gd name="connsiteY0" fmla="*/ 235749 h 235748"/>
                      <a:gd name="connsiteX1" fmla="*/ 3530 w 382820"/>
                      <a:gd name="connsiteY1" fmla="*/ 220890 h 235748"/>
                      <a:gd name="connsiteX2" fmla="*/ 14864 w 382820"/>
                      <a:gd name="connsiteY2" fmla="*/ 182123 h 235748"/>
                      <a:gd name="connsiteX3" fmla="*/ 340524 w 382820"/>
                      <a:gd name="connsiteY3" fmla="*/ 3530 h 235748"/>
                      <a:gd name="connsiteX4" fmla="*/ 379291 w 382820"/>
                      <a:gd name="connsiteY4" fmla="*/ 14864 h 235748"/>
                      <a:gd name="connsiteX5" fmla="*/ 367956 w 382820"/>
                      <a:gd name="connsiteY5" fmla="*/ 53631 h 235748"/>
                      <a:gd name="connsiteX6" fmla="*/ 42296 w 382820"/>
                      <a:gd name="connsiteY6" fmla="*/ 232225 h 235748"/>
                      <a:gd name="connsiteX7" fmla="*/ 28580 w 382820"/>
                      <a:gd name="connsiteY7" fmla="*/ 235749 h 23574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82820" h="235748">
                        <a:moveTo>
                          <a:pt x="28580" y="235749"/>
                        </a:moveTo>
                        <a:cubicBezTo>
                          <a:pt x="18484" y="235749"/>
                          <a:pt x="8673" y="230415"/>
                          <a:pt x="3530" y="220890"/>
                        </a:cubicBezTo>
                        <a:cubicBezTo>
                          <a:pt x="-4090" y="207079"/>
                          <a:pt x="1053" y="189648"/>
                          <a:pt x="14864" y="182123"/>
                        </a:cubicBezTo>
                        <a:lnTo>
                          <a:pt x="340524" y="3530"/>
                        </a:lnTo>
                        <a:cubicBezTo>
                          <a:pt x="354335" y="-4090"/>
                          <a:pt x="371766" y="1053"/>
                          <a:pt x="379291" y="14864"/>
                        </a:cubicBezTo>
                        <a:cubicBezTo>
                          <a:pt x="386911" y="28676"/>
                          <a:pt x="381767" y="46106"/>
                          <a:pt x="367956" y="53631"/>
                        </a:cubicBezTo>
                        <a:lnTo>
                          <a:pt x="42296" y="232225"/>
                        </a:lnTo>
                        <a:cubicBezTo>
                          <a:pt x="37915" y="234606"/>
                          <a:pt x="33248" y="235749"/>
                          <a:pt x="28580" y="23574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2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</a:endParaRPr>
                  </a:p>
                </p:txBody>
              </p:sp>
            </p:grpSp>
            <p:grpSp>
              <p:nvGrpSpPr>
                <p:cNvPr id="53" name="Grafik 5">
                  <a:extLst>
                    <a:ext uri="{FF2B5EF4-FFF2-40B4-BE49-F238E27FC236}">
                      <a16:creationId xmlns:a16="http://schemas.microsoft.com/office/drawing/2014/main" id="{4E0F313C-5359-A9C8-2226-ABBD3E4C35A5}"/>
                    </a:ext>
                  </a:extLst>
                </p:cNvPr>
                <p:cNvGrpSpPr/>
                <p:nvPr/>
              </p:nvGrpSpPr>
              <p:grpSpPr>
                <a:xfrm>
                  <a:off x="786818" y="2181691"/>
                  <a:ext cx="234731" cy="279523"/>
                  <a:chOff x="4529104" y="1686395"/>
                  <a:chExt cx="1063747" cy="1266734"/>
                </a:xfrm>
                <a:grpFill/>
              </p:grpSpPr>
              <p:sp>
                <p:nvSpPr>
                  <p:cNvPr id="54" name="Freihandform: Form 161">
                    <a:extLst>
                      <a:ext uri="{FF2B5EF4-FFF2-40B4-BE49-F238E27FC236}">
                        <a16:creationId xmlns:a16="http://schemas.microsoft.com/office/drawing/2014/main" id="{10D357AC-59C7-F7C5-1B25-8330D5FF89AE}"/>
                      </a:ext>
                    </a:extLst>
                  </p:cNvPr>
                  <p:cNvSpPr/>
                  <p:nvPr/>
                </p:nvSpPr>
                <p:spPr>
                  <a:xfrm>
                    <a:off x="4529104" y="2514948"/>
                    <a:ext cx="504794" cy="438182"/>
                  </a:xfrm>
                  <a:custGeom>
                    <a:avLst/>
                    <a:gdLst>
                      <a:gd name="connsiteX0" fmla="*/ 28607 w 504794"/>
                      <a:gd name="connsiteY0" fmla="*/ 438182 h 438182"/>
                      <a:gd name="connsiteX1" fmla="*/ 6795 w 504794"/>
                      <a:gd name="connsiteY1" fmla="*/ 428086 h 438182"/>
                      <a:gd name="connsiteX2" fmla="*/ 10034 w 504794"/>
                      <a:gd name="connsiteY2" fmla="*/ 387795 h 438182"/>
                      <a:gd name="connsiteX3" fmla="*/ 457709 w 504794"/>
                      <a:gd name="connsiteY3" fmla="*/ 6795 h 438182"/>
                      <a:gd name="connsiteX4" fmla="*/ 497999 w 504794"/>
                      <a:gd name="connsiteY4" fmla="*/ 10034 h 438182"/>
                      <a:gd name="connsiteX5" fmla="*/ 494761 w 504794"/>
                      <a:gd name="connsiteY5" fmla="*/ 50324 h 438182"/>
                      <a:gd name="connsiteX6" fmla="*/ 47086 w 504794"/>
                      <a:gd name="connsiteY6" fmla="*/ 431324 h 438182"/>
                      <a:gd name="connsiteX7" fmla="*/ 28607 w 504794"/>
                      <a:gd name="connsiteY7" fmla="*/ 438182 h 43818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504794" h="438182">
                        <a:moveTo>
                          <a:pt x="28607" y="438182"/>
                        </a:moveTo>
                        <a:cubicBezTo>
                          <a:pt x="20511" y="438182"/>
                          <a:pt x="12510" y="434753"/>
                          <a:pt x="6795" y="428086"/>
                        </a:cubicBezTo>
                        <a:cubicBezTo>
                          <a:pt x="-3397" y="416084"/>
                          <a:pt x="-1968" y="397987"/>
                          <a:pt x="10034" y="387795"/>
                        </a:cubicBezTo>
                        <a:lnTo>
                          <a:pt x="457709" y="6795"/>
                        </a:lnTo>
                        <a:cubicBezTo>
                          <a:pt x="469710" y="-3397"/>
                          <a:pt x="487712" y="-1968"/>
                          <a:pt x="497999" y="10034"/>
                        </a:cubicBezTo>
                        <a:cubicBezTo>
                          <a:pt x="508191" y="22035"/>
                          <a:pt x="506762" y="40133"/>
                          <a:pt x="494761" y="50324"/>
                        </a:cubicBezTo>
                        <a:lnTo>
                          <a:pt x="47086" y="431324"/>
                        </a:lnTo>
                        <a:cubicBezTo>
                          <a:pt x="41752" y="435896"/>
                          <a:pt x="35180" y="438182"/>
                          <a:pt x="28607" y="438182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2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55" name="Freihandform: Form 162">
                    <a:extLst>
                      <a:ext uri="{FF2B5EF4-FFF2-40B4-BE49-F238E27FC236}">
                        <a16:creationId xmlns:a16="http://schemas.microsoft.com/office/drawing/2014/main" id="{BF83975D-BB59-BF42-B223-F4E295B8FF09}"/>
                      </a:ext>
                    </a:extLst>
                  </p:cNvPr>
                  <p:cNvSpPr/>
                  <p:nvPr/>
                </p:nvSpPr>
                <p:spPr>
                  <a:xfrm>
                    <a:off x="4672007" y="1686395"/>
                    <a:ext cx="438064" cy="390434"/>
                  </a:xfrm>
                  <a:custGeom>
                    <a:avLst/>
                    <a:gdLst>
                      <a:gd name="connsiteX0" fmla="*/ 28580 w 438064"/>
                      <a:gd name="connsiteY0" fmla="*/ 390435 h 390434"/>
                      <a:gd name="connsiteX1" fmla="*/ 7053 w 438064"/>
                      <a:gd name="connsiteY1" fmla="*/ 380719 h 390434"/>
                      <a:gd name="connsiteX2" fmla="*/ 9720 w 438064"/>
                      <a:gd name="connsiteY2" fmla="*/ 340428 h 390434"/>
                      <a:gd name="connsiteX3" fmla="*/ 390720 w 438064"/>
                      <a:gd name="connsiteY3" fmla="*/ 7053 h 390434"/>
                      <a:gd name="connsiteX4" fmla="*/ 431011 w 438064"/>
                      <a:gd name="connsiteY4" fmla="*/ 9720 h 390434"/>
                      <a:gd name="connsiteX5" fmla="*/ 428344 w 438064"/>
                      <a:gd name="connsiteY5" fmla="*/ 50011 h 390434"/>
                      <a:gd name="connsiteX6" fmla="*/ 47344 w 438064"/>
                      <a:gd name="connsiteY6" fmla="*/ 383386 h 390434"/>
                      <a:gd name="connsiteX7" fmla="*/ 28580 w 438064"/>
                      <a:gd name="connsiteY7" fmla="*/ 390435 h 39043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438064" h="390434">
                        <a:moveTo>
                          <a:pt x="28580" y="390435"/>
                        </a:moveTo>
                        <a:cubicBezTo>
                          <a:pt x="20674" y="390435"/>
                          <a:pt x="12673" y="387101"/>
                          <a:pt x="7053" y="380719"/>
                        </a:cubicBezTo>
                        <a:cubicBezTo>
                          <a:pt x="-3329" y="368813"/>
                          <a:pt x="-2091" y="350811"/>
                          <a:pt x="9720" y="340428"/>
                        </a:cubicBezTo>
                        <a:lnTo>
                          <a:pt x="390720" y="7053"/>
                        </a:lnTo>
                        <a:cubicBezTo>
                          <a:pt x="402627" y="-3329"/>
                          <a:pt x="420629" y="-2091"/>
                          <a:pt x="431011" y="9720"/>
                        </a:cubicBezTo>
                        <a:cubicBezTo>
                          <a:pt x="441393" y="21627"/>
                          <a:pt x="440155" y="39629"/>
                          <a:pt x="428344" y="50011"/>
                        </a:cubicBezTo>
                        <a:lnTo>
                          <a:pt x="47344" y="383386"/>
                        </a:lnTo>
                        <a:cubicBezTo>
                          <a:pt x="42010" y="388053"/>
                          <a:pt x="35247" y="390435"/>
                          <a:pt x="28580" y="390435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2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56" name="Freihandform: Form 163">
                    <a:extLst>
                      <a:ext uri="{FF2B5EF4-FFF2-40B4-BE49-F238E27FC236}">
                        <a16:creationId xmlns:a16="http://schemas.microsoft.com/office/drawing/2014/main" id="{7A065CAE-91CD-96B7-84C8-31C893E86C73}"/>
                      </a:ext>
                    </a:extLst>
                  </p:cNvPr>
                  <p:cNvSpPr/>
                  <p:nvPr/>
                </p:nvSpPr>
                <p:spPr>
                  <a:xfrm>
                    <a:off x="5212286" y="2051129"/>
                    <a:ext cx="364775" cy="316690"/>
                  </a:xfrm>
                  <a:custGeom>
                    <a:avLst/>
                    <a:gdLst>
                      <a:gd name="connsiteX0" fmla="*/ 28559 w 364775"/>
                      <a:gd name="connsiteY0" fmla="*/ 316690 h 316690"/>
                      <a:gd name="connsiteX1" fmla="*/ 6747 w 364775"/>
                      <a:gd name="connsiteY1" fmla="*/ 306498 h 316690"/>
                      <a:gd name="connsiteX2" fmla="*/ 10176 w 364775"/>
                      <a:gd name="connsiteY2" fmla="*/ 266208 h 316690"/>
                      <a:gd name="connsiteX3" fmla="*/ 317738 w 364775"/>
                      <a:gd name="connsiteY3" fmla="*/ 6747 h 316690"/>
                      <a:gd name="connsiteX4" fmla="*/ 358029 w 364775"/>
                      <a:gd name="connsiteY4" fmla="*/ 10176 h 316690"/>
                      <a:gd name="connsiteX5" fmla="*/ 354600 w 364775"/>
                      <a:gd name="connsiteY5" fmla="*/ 50466 h 316690"/>
                      <a:gd name="connsiteX6" fmla="*/ 47037 w 364775"/>
                      <a:gd name="connsiteY6" fmla="*/ 309927 h 316690"/>
                      <a:gd name="connsiteX7" fmla="*/ 28559 w 364775"/>
                      <a:gd name="connsiteY7" fmla="*/ 316690 h 31669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64775" h="316690">
                        <a:moveTo>
                          <a:pt x="28559" y="316690"/>
                        </a:moveTo>
                        <a:cubicBezTo>
                          <a:pt x="20463" y="316690"/>
                          <a:pt x="12366" y="313261"/>
                          <a:pt x="6747" y="306498"/>
                        </a:cubicBezTo>
                        <a:cubicBezTo>
                          <a:pt x="-3445" y="294402"/>
                          <a:pt x="-1921" y="276399"/>
                          <a:pt x="10176" y="266208"/>
                        </a:cubicBezTo>
                        <a:lnTo>
                          <a:pt x="317738" y="6747"/>
                        </a:lnTo>
                        <a:cubicBezTo>
                          <a:pt x="329835" y="-3445"/>
                          <a:pt x="347837" y="-1921"/>
                          <a:pt x="358029" y="10176"/>
                        </a:cubicBezTo>
                        <a:cubicBezTo>
                          <a:pt x="368220" y="22272"/>
                          <a:pt x="366696" y="40275"/>
                          <a:pt x="354600" y="50466"/>
                        </a:cubicBezTo>
                        <a:lnTo>
                          <a:pt x="47037" y="309927"/>
                        </a:lnTo>
                        <a:cubicBezTo>
                          <a:pt x="41608" y="314499"/>
                          <a:pt x="35036" y="316690"/>
                          <a:pt x="28559" y="316690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2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57" name="Freihandform: Form 165">
                    <a:extLst>
                      <a:ext uri="{FF2B5EF4-FFF2-40B4-BE49-F238E27FC236}">
                        <a16:creationId xmlns:a16="http://schemas.microsoft.com/office/drawing/2014/main" id="{5B0C0198-8A74-B7AD-21FC-0A788950740E}"/>
                      </a:ext>
                    </a:extLst>
                  </p:cNvPr>
                  <p:cNvSpPr/>
                  <p:nvPr/>
                </p:nvSpPr>
                <p:spPr>
                  <a:xfrm>
                    <a:off x="5222308" y="2495681"/>
                    <a:ext cx="370543" cy="229039"/>
                  </a:xfrm>
                  <a:custGeom>
                    <a:avLst/>
                    <a:gdLst>
                      <a:gd name="connsiteX0" fmla="*/ 342006 w 370543"/>
                      <a:gd name="connsiteY0" fmla="*/ 229039 h 229039"/>
                      <a:gd name="connsiteX1" fmla="*/ 328290 w 370543"/>
                      <a:gd name="connsiteY1" fmla="*/ 225515 h 229039"/>
                      <a:gd name="connsiteX2" fmla="*/ 14822 w 370543"/>
                      <a:gd name="connsiteY2" fmla="*/ 53589 h 229039"/>
                      <a:gd name="connsiteX3" fmla="*/ 3487 w 370543"/>
                      <a:gd name="connsiteY3" fmla="*/ 14822 h 229039"/>
                      <a:gd name="connsiteX4" fmla="*/ 42254 w 370543"/>
                      <a:gd name="connsiteY4" fmla="*/ 3487 h 229039"/>
                      <a:gd name="connsiteX5" fmla="*/ 355722 w 370543"/>
                      <a:gd name="connsiteY5" fmla="*/ 175414 h 229039"/>
                      <a:gd name="connsiteX6" fmla="*/ 367057 w 370543"/>
                      <a:gd name="connsiteY6" fmla="*/ 214180 h 229039"/>
                      <a:gd name="connsiteX7" fmla="*/ 342006 w 370543"/>
                      <a:gd name="connsiteY7" fmla="*/ 229039 h 22903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70543" h="229039">
                        <a:moveTo>
                          <a:pt x="342006" y="229039"/>
                        </a:moveTo>
                        <a:cubicBezTo>
                          <a:pt x="337339" y="229039"/>
                          <a:pt x="332671" y="227896"/>
                          <a:pt x="328290" y="225515"/>
                        </a:cubicBezTo>
                        <a:lnTo>
                          <a:pt x="14822" y="53589"/>
                        </a:lnTo>
                        <a:cubicBezTo>
                          <a:pt x="1011" y="45969"/>
                          <a:pt x="-4037" y="28633"/>
                          <a:pt x="3487" y="14822"/>
                        </a:cubicBezTo>
                        <a:cubicBezTo>
                          <a:pt x="11107" y="1011"/>
                          <a:pt x="28443" y="-4037"/>
                          <a:pt x="42254" y="3487"/>
                        </a:cubicBezTo>
                        <a:lnTo>
                          <a:pt x="355722" y="175414"/>
                        </a:lnTo>
                        <a:cubicBezTo>
                          <a:pt x="369533" y="183034"/>
                          <a:pt x="374581" y="200369"/>
                          <a:pt x="367057" y="214180"/>
                        </a:cubicBezTo>
                        <a:cubicBezTo>
                          <a:pt x="361818" y="223610"/>
                          <a:pt x="352102" y="229039"/>
                          <a:pt x="342006" y="22903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2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</a:endParaRPr>
                  </a:p>
                </p:txBody>
              </p:sp>
            </p:grpSp>
          </p:grpSp>
          <p:grpSp>
            <p:nvGrpSpPr>
              <p:cNvPr id="38" name="Gruppieren 136">
                <a:extLst>
                  <a:ext uri="{FF2B5EF4-FFF2-40B4-BE49-F238E27FC236}">
                    <a16:creationId xmlns:a16="http://schemas.microsoft.com/office/drawing/2014/main" id="{0E1B321D-BE93-49D9-E33B-66C31E7001C4}"/>
                  </a:ext>
                </a:extLst>
              </p:cNvPr>
              <p:cNvGrpSpPr/>
              <p:nvPr/>
            </p:nvGrpSpPr>
            <p:grpSpPr>
              <a:xfrm>
                <a:off x="373616" y="2192058"/>
                <a:ext cx="359226" cy="231361"/>
                <a:chOff x="511486" y="2094361"/>
                <a:chExt cx="569595" cy="366853"/>
              </a:xfrm>
              <a:solidFill>
                <a:srgbClr val="BF1528"/>
              </a:solidFill>
            </p:grpSpPr>
            <p:sp>
              <p:nvSpPr>
                <p:cNvPr id="39" name="Freihandform: Form 137">
                  <a:extLst>
                    <a:ext uri="{FF2B5EF4-FFF2-40B4-BE49-F238E27FC236}">
                      <a16:creationId xmlns:a16="http://schemas.microsoft.com/office/drawing/2014/main" id="{FF6E4539-BD12-9B01-ADAF-C06DBBA7B573}"/>
                    </a:ext>
                  </a:extLst>
                </p:cNvPr>
                <p:cNvSpPr/>
                <p:nvPr/>
              </p:nvSpPr>
              <p:spPr>
                <a:xfrm>
                  <a:off x="757168" y="2094361"/>
                  <a:ext cx="75666" cy="75666"/>
                </a:xfrm>
                <a:custGeom>
                  <a:avLst/>
                  <a:gdLst>
                    <a:gd name="connsiteX0" fmla="*/ 171450 w 342900"/>
                    <a:gd name="connsiteY0" fmla="*/ 342900 h 342900"/>
                    <a:gd name="connsiteX1" fmla="*/ 0 w 342900"/>
                    <a:gd name="connsiteY1" fmla="*/ 171450 h 342900"/>
                    <a:gd name="connsiteX2" fmla="*/ 171450 w 342900"/>
                    <a:gd name="connsiteY2" fmla="*/ 0 h 342900"/>
                    <a:gd name="connsiteX3" fmla="*/ 342900 w 342900"/>
                    <a:gd name="connsiteY3" fmla="*/ 171450 h 342900"/>
                    <a:gd name="connsiteX4" fmla="*/ 171450 w 342900"/>
                    <a:gd name="connsiteY4" fmla="*/ 342900 h 342900"/>
                    <a:gd name="connsiteX5" fmla="*/ 171450 w 342900"/>
                    <a:gd name="connsiteY5" fmla="*/ 57150 h 342900"/>
                    <a:gd name="connsiteX6" fmla="*/ 57150 w 342900"/>
                    <a:gd name="connsiteY6" fmla="*/ 171450 h 342900"/>
                    <a:gd name="connsiteX7" fmla="*/ 171450 w 342900"/>
                    <a:gd name="connsiteY7" fmla="*/ 285750 h 342900"/>
                    <a:gd name="connsiteX8" fmla="*/ 285750 w 342900"/>
                    <a:gd name="connsiteY8" fmla="*/ 171450 h 342900"/>
                    <a:gd name="connsiteX9" fmla="*/ 171450 w 342900"/>
                    <a:gd name="connsiteY9" fmla="*/ 57150 h 3429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342900" h="342900">
                      <a:moveTo>
                        <a:pt x="171450" y="342900"/>
                      </a:moveTo>
                      <a:cubicBezTo>
                        <a:pt x="76867" y="342900"/>
                        <a:pt x="0" y="266033"/>
                        <a:pt x="0" y="171450"/>
                      </a:cubicBezTo>
                      <a:cubicBezTo>
                        <a:pt x="0" y="76867"/>
                        <a:pt x="76867" y="0"/>
                        <a:pt x="171450" y="0"/>
                      </a:cubicBezTo>
                      <a:cubicBezTo>
                        <a:pt x="266033" y="0"/>
                        <a:pt x="342900" y="76867"/>
                        <a:pt x="342900" y="171450"/>
                      </a:cubicBezTo>
                      <a:cubicBezTo>
                        <a:pt x="342900" y="266033"/>
                        <a:pt x="266033" y="342900"/>
                        <a:pt x="171450" y="342900"/>
                      </a:cubicBezTo>
                      <a:close/>
                      <a:moveTo>
                        <a:pt x="171450" y="57150"/>
                      </a:moveTo>
                      <a:cubicBezTo>
                        <a:pt x="108395" y="57150"/>
                        <a:pt x="57150" y="108395"/>
                        <a:pt x="57150" y="171450"/>
                      </a:cubicBezTo>
                      <a:cubicBezTo>
                        <a:pt x="57150" y="234506"/>
                        <a:pt x="108395" y="285750"/>
                        <a:pt x="171450" y="285750"/>
                      </a:cubicBezTo>
                      <a:cubicBezTo>
                        <a:pt x="234505" y="285750"/>
                        <a:pt x="285750" y="234506"/>
                        <a:pt x="285750" y="171450"/>
                      </a:cubicBezTo>
                      <a:cubicBezTo>
                        <a:pt x="285750" y="108395"/>
                        <a:pt x="234505" y="57150"/>
                        <a:pt x="171450" y="5715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2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40" name="Freihandform: Form 138">
                  <a:extLst>
                    <a:ext uri="{FF2B5EF4-FFF2-40B4-BE49-F238E27FC236}">
                      <a16:creationId xmlns:a16="http://schemas.microsoft.com/office/drawing/2014/main" id="{236B5273-24F1-AAC1-B464-7B92C25DC928}"/>
                    </a:ext>
                  </a:extLst>
                </p:cNvPr>
                <p:cNvSpPr/>
                <p:nvPr/>
              </p:nvSpPr>
              <p:spPr>
                <a:xfrm>
                  <a:off x="898222" y="2124921"/>
                  <a:ext cx="75666" cy="75666"/>
                </a:xfrm>
                <a:custGeom>
                  <a:avLst/>
                  <a:gdLst>
                    <a:gd name="connsiteX0" fmla="*/ 171450 w 342900"/>
                    <a:gd name="connsiteY0" fmla="*/ 342900 h 342900"/>
                    <a:gd name="connsiteX1" fmla="*/ 0 w 342900"/>
                    <a:gd name="connsiteY1" fmla="*/ 171450 h 342900"/>
                    <a:gd name="connsiteX2" fmla="*/ 171450 w 342900"/>
                    <a:gd name="connsiteY2" fmla="*/ 0 h 342900"/>
                    <a:gd name="connsiteX3" fmla="*/ 342900 w 342900"/>
                    <a:gd name="connsiteY3" fmla="*/ 171450 h 342900"/>
                    <a:gd name="connsiteX4" fmla="*/ 171450 w 342900"/>
                    <a:gd name="connsiteY4" fmla="*/ 342900 h 342900"/>
                    <a:gd name="connsiteX5" fmla="*/ 171450 w 342900"/>
                    <a:gd name="connsiteY5" fmla="*/ 57150 h 342900"/>
                    <a:gd name="connsiteX6" fmla="*/ 57150 w 342900"/>
                    <a:gd name="connsiteY6" fmla="*/ 171450 h 342900"/>
                    <a:gd name="connsiteX7" fmla="*/ 171450 w 342900"/>
                    <a:gd name="connsiteY7" fmla="*/ 285750 h 342900"/>
                    <a:gd name="connsiteX8" fmla="*/ 285750 w 342900"/>
                    <a:gd name="connsiteY8" fmla="*/ 171450 h 342900"/>
                    <a:gd name="connsiteX9" fmla="*/ 171450 w 342900"/>
                    <a:gd name="connsiteY9" fmla="*/ 57150 h 3429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342900" h="342900">
                      <a:moveTo>
                        <a:pt x="171450" y="342900"/>
                      </a:moveTo>
                      <a:cubicBezTo>
                        <a:pt x="76867" y="342900"/>
                        <a:pt x="0" y="266033"/>
                        <a:pt x="0" y="171450"/>
                      </a:cubicBezTo>
                      <a:cubicBezTo>
                        <a:pt x="0" y="76867"/>
                        <a:pt x="76867" y="0"/>
                        <a:pt x="171450" y="0"/>
                      </a:cubicBezTo>
                      <a:cubicBezTo>
                        <a:pt x="266033" y="0"/>
                        <a:pt x="342900" y="76867"/>
                        <a:pt x="342900" y="171450"/>
                      </a:cubicBezTo>
                      <a:cubicBezTo>
                        <a:pt x="342900" y="266033"/>
                        <a:pt x="266033" y="342900"/>
                        <a:pt x="171450" y="342900"/>
                      </a:cubicBezTo>
                      <a:close/>
                      <a:moveTo>
                        <a:pt x="171450" y="57150"/>
                      </a:moveTo>
                      <a:cubicBezTo>
                        <a:pt x="108395" y="57150"/>
                        <a:pt x="57150" y="108395"/>
                        <a:pt x="57150" y="171450"/>
                      </a:cubicBezTo>
                      <a:cubicBezTo>
                        <a:pt x="57150" y="234506"/>
                        <a:pt x="108395" y="285750"/>
                        <a:pt x="171450" y="285750"/>
                      </a:cubicBezTo>
                      <a:cubicBezTo>
                        <a:pt x="234505" y="285750"/>
                        <a:pt x="285750" y="234506"/>
                        <a:pt x="285750" y="171450"/>
                      </a:cubicBezTo>
                      <a:cubicBezTo>
                        <a:pt x="285750" y="108395"/>
                        <a:pt x="234505" y="57150"/>
                        <a:pt x="171450" y="5715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2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41" name="Freihandform: Form 139">
                  <a:extLst>
                    <a:ext uri="{FF2B5EF4-FFF2-40B4-BE49-F238E27FC236}">
                      <a16:creationId xmlns:a16="http://schemas.microsoft.com/office/drawing/2014/main" id="{D37FF4EB-E2AC-3052-C3FD-2A257729A355}"/>
                    </a:ext>
                  </a:extLst>
                </p:cNvPr>
                <p:cNvSpPr/>
                <p:nvPr/>
              </p:nvSpPr>
              <p:spPr>
                <a:xfrm>
                  <a:off x="1003313" y="2213198"/>
                  <a:ext cx="75666" cy="75666"/>
                </a:xfrm>
                <a:custGeom>
                  <a:avLst/>
                  <a:gdLst>
                    <a:gd name="connsiteX0" fmla="*/ 171450 w 342900"/>
                    <a:gd name="connsiteY0" fmla="*/ 342900 h 342900"/>
                    <a:gd name="connsiteX1" fmla="*/ 0 w 342900"/>
                    <a:gd name="connsiteY1" fmla="*/ 171450 h 342900"/>
                    <a:gd name="connsiteX2" fmla="*/ 171450 w 342900"/>
                    <a:gd name="connsiteY2" fmla="*/ 0 h 342900"/>
                    <a:gd name="connsiteX3" fmla="*/ 342900 w 342900"/>
                    <a:gd name="connsiteY3" fmla="*/ 171450 h 342900"/>
                    <a:gd name="connsiteX4" fmla="*/ 171450 w 342900"/>
                    <a:gd name="connsiteY4" fmla="*/ 342900 h 342900"/>
                    <a:gd name="connsiteX5" fmla="*/ 171450 w 342900"/>
                    <a:gd name="connsiteY5" fmla="*/ 57150 h 342900"/>
                    <a:gd name="connsiteX6" fmla="*/ 57150 w 342900"/>
                    <a:gd name="connsiteY6" fmla="*/ 171450 h 342900"/>
                    <a:gd name="connsiteX7" fmla="*/ 171450 w 342900"/>
                    <a:gd name="connsiteY7" fmla="*/ 285750 h 342900"/>
                    <a:gd name="connsiteX8" fmla="*/ 285750 w 342900"/>
                    <a:gd name="connsiteY8" fmla="*/ 171450 h 342900"/>
                    <a:gd name="connsiteX9" fmla="*/ 171450 w 342900"/>
                    <a:gd name="connsiteY9" fmla="*/ 57150 h 3429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342900" h="342900">
                      <a:moveTo>
                        <a:pt x="171450" y="342900"/>
                      </a:moveTo>
                      <a:cubicBezTo>
                        <a:pt x="76867" y="342900"/>
                        <a:pt x="0" y="266033"/>
                        <a:pt x="0" y="171450"/>
                      </a:cubicBezTo>
                      <a:cubicBezTo>
                        <a:pt x="0" y="76867"/>
                        <a:pt x="76867" y="0"/>
                        <a:pt x="171450" y="0"/>
                      </a:cubicBezTo>
                      <a:cubicBezTo>
                        <a:pt x="266033" y="0"/>
                        <a:pt x="342900" y="76867"/>
                        <a:pt x="342900" y="171450"/>
                      </a:cubicBezTo>
                      <a:cubicBezTo>
                        <a:pt x="342900" y="266033"/>
                        <a:pt x="266033" y="342900"/>
                        <a:pt x="171450" y="342900"/>
                      </a:cubicBezTo>
                      <a:close/>
                      <a:moveTo>
                        <a:pt x="171450" y="57150"/>
                      </a:moveTo>
                      <a:cubicBezTo>
                        <a:pt x="108395" y="57150"/>
                        <a:pt x="57150" y="108394"/>
                        <a:pt x="57150" y="171450"/>
                      </a:cubicBezTo>
                      <a:cubicBezTo>
                        <a:pt x="57150" y="234506"/>
                        <a:pt x="108395" y="285750"/>
                        <a:pt x="171450" y="285750"/>
                      </a:cubicBezTo>
                      <a:cubicBezTo>
                        <a:pt x="234505" y="285750"/>
                        <a:pt x="285750" y="234506"/>
                        <a:pt x="285750" y="171450"/>
                      </a:cubicBezTo>
                      <a:cubicBezTo>
                        <a:pt x="285750" y="108394"/>
                        <a:pt x="234505" y="57150"/>
                        <a:pt x="171450" y="5715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2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42" name="Freihandform: Form 140">
                  <a:extLst>
                    <a:ext uri="{FF2B5EF4-FFF2-40B4-BE49-F238E27FC236}">
                      <a16:creationId xmlns:a16="http://schemas.microsoft.com/office/drawing/2014/main" id="{061A727A-795A-FDFF-0C17-B4F2CAD0DA93}"/>
                    </a:ext>
                  </a:extLst>
                </p:cNvPr>
                <p:cNvSpPr/>
                <p:nvPr/>
              </p:nvSpPr>
              <p:spPr>
                <a:xfrm>
                  <a:off x="1005415" y="2385547"/>
                  <a:ext cx="75666" cy="75666"/>
                </a:xfrm>
                <a:custGeom>
                  <a:avLst/>
                  <a:gdLst>
                    <a:gd name="connsiteX0" fmla="*/ 171450 w 342900"/>
                    <a:gd name="connsiteY0" fmla="*/ 342900 h 342900"/>
                    <a:gd name="connsiteX1" fmla="*/ 0 w 342900"/>
                    <a:gd name="connsiteY1" fmla="*/ 171450 h 342900"/>
                    <a:gd name="connsiteX2" fmla="*/ 171450 w 342900"/>
                    <a:gd name="connsiteY2" fmla="*/ 0 h 342900"/>
                    <a:gd name="connsiteX3" fmla="*/ 342900 w 342900"/>
                    <a:gd name="connsiteY3" fmla="*/ 171450 h 342900"/>
                    <a:gd name="connsiteX4" fmla="*/ 171450 w 342900"/>
                    <a:gd name="connsiteY4" fmla="*/ 342900 h 342900"/>
                    <a:gd name="connsiteX5" fmla="*/ 171450 w 342900"/>
                    <a:gd name="connsiteY5" fmla="*/ 57150 h 342900"/>
                    <a:gd name="connsiteX6" fmla="*/ 57150 w 342900"/>
                    <a:gd name="connsiteY6" fmla="*/ 171450 h 342900"/>
                    <a:gd name="connsiteX7" fmla="*/ 171450 w 342900"/>
                    <a:gd name="connsiteY7" fmla="*/ 285750 h 342900"/>
                    <a:gd name="connsiteX8" fmla="*/ 285750 w 342900"/>
                    <a:gd name="connsiteY8" fmla="*/ 171450 h 342900"/>
                    <a:gd name="connsiteX9" fmla="*/ 171450 w 342900"/>
                    <a:gd name="connsiteY9" fmla="*/ 57150 h 3429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342900" h="342900">
                      <a:moveTo>
                        <a:pt x="171450" y="342900"/>
                      </a:moveTo>
                      <a:cubicBezTo>
                        <a:pt x="76867" y="342900"/>
                        <a:pt x="0" y="266033"/>
                        <a:pt x="0" y="171450"/>
                      </a:cubicBezTo>
                      <a:cubicBezTo>
                        <a:pt x="0" y="76867"/>
                        <a:pt x="76867" y="0"/>
                        <a:pt x="171450" y="0"/>
                      </a:cubicBezTo>
                      <a:cubicBezTo>
                        <a:pt x="266033" y="0"/>
                        <a:pt x="342900" y="76867"/>
                        <a:pt x="342900" y="171450"/>
                      </a:cubicBezTo>
                      <a:cubicBezTo>
                        <a:pt x="342900" y="266033"/>
                        <a:pt x="266033" y="342900"/>
                        <a:pt x="171450" y="342900"/>
                      </a:cubicBezTo>
                      <a:close/>
                      <a:moveTo>
                        <a:pt x="171450" y="57150"/>
                      </a:moveTo>
                      <a:cubicBezTo>
                        <a:pt x="108395" y="57150"/>
                        <a:pt x="57150" y="108395"/>
                        <a:pt x="57150" y="171450"/>
                      </a:cubicBezTo>
                      <a:cubicBezTo>
                        <a:pt x="57150" y="234506"/>
                        <a:pt x="108395" y="285750"/>
                        <a:pt x="171450" y="285750"/>
                      </a:cubicBezTo>
                      <a:cubicBezTo>
                        <a:pt x="234505" y="285750"/>
                        <a:pt x="285750" y="234506"/>
                        <a:pt x="285750" y="171450"/>
                      </a:cubicBezTo>
                      <a:cubicBezTo>
                        <a:pt x="285750" y="108395"/>
                        <a:pt x="234505" y="57150"/>
                        <a:pt x="171450" y="5715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2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43" name="Freihandform: Form 141">
                  <a:extLst>
                    <a:ext uri="{FF2B5EF4-FFF2-40B4-BE49-F238E27FC236}">
                      <a16:creationId xmlns:a16="http://schemas.microsoft.com/office/drawing/2014/main" id="{F379D281-CE1A-317B-9153-21DDCC93C421}"/>
                    </a:ext>
                  </a:extLst>
                </p:cNvPr>
                <p:cNvSpPr/>
                <p:nvPr/>
              </p:nvSpPr>
              <p:spPr>
                <a:xfrm>
                  <a:off x="618679" y="2124921"/>
                  <a:ext cx="75666" cy="75666"/>
                </a:xfrm>
                <a:custGeom>
                  <a:avLst/>
                  <a:gdLst>
                    <a:gd name="connsiteX0" fmla="*/ 171450 w 342900"/>
                    <a:gd name="connsiteY0" fmla="*/ 342900 h 342900"/>
                    <a:gd name="connsiteX1" fmla="*/ 0 w 342900"/>
                    <a:gd name="connsiteY1" fmla="*/ 171450 h 342900"/>
                    <a:gd name="connsiteX2" fmla="*/ 171450 w 342900"/>
                    <a:gd name="connsiteY2" fmla="*/ 0 h 342900"/>
                    <a:gd name="connsiteX3" fmla="*/ 342900 w 342900"/>
                    <a:gd name="connsiteY3" fmla="*/ 171450 h 342900"/>
                    <a:gd name="connsiteX4" fmla="*/ 171450 w 342900"/>
                    <a:gd name="connsiteY4" fmla="*/ 342900 h 342900"/>
                    <a:gd name="connsiteX5" fmla="*/ 171450 w 342900"/>
                    <a:gd name="connsiteY5" fmla="*/ 57150 h 342900"/>
                    <a:gd name="connsiteX6" fmla="*/ 57150 w 342900"/>
                    <a:gd name="connsiteY6" fmla="*/ 171450 h 342900"/>
                    <a:gd name="connsiteX7" fmla="*/ 171450 w 342900"/>
                    <a:gd name="connsiteY7" fmla="*/ 285750 h 342900"/>
                    <a:gd name="connsiteX8" fmla="*/ 285750 w 342900"/>
                    <a:gd name="connsiteY8" fmla="*/ 171450 h 342900"/>
                    <a:gd name="connsiteX9" fmla="*/ 171450 w 342900"/>
                    <a:gd name="connsiteY9" fmla="*/ 57150 h 3429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342900" h="342900">
                      <a:moveTo>
                        <a:pt x="171450" y="342900"/>
                      </a:moveTo>
                      <a:cubicBezTo>
                        <a:pt x="76867" y="342900"/>
                        <a:pt x="0" y="266033"/>
                        <a:pt x="0" y="171450"/>
                      </a:cubicBezTo>
                      <a:cubicBezTo>
                        <a:pt x="0" y="76867"/>
                        <a:pt x="76867" y="0"/>
                        <a:pt x="171450" y="0"/>
                      </a:cubicBezTo>
                      <a:cubicBezTo>
                        <a:pt x="266033" y="0"/>
                        <a:pt x="342900" y="76867"/>
                        <a:pt x="342900" y="171450"/>
                      </a:cubicBezTo>
                      <a:cubicBezTo>
                        <a:pt x="342900" y="266033"/>
                        <a:pt x="266033" y="342900"/>
                        <a:pt x="171450" y="342900"/>
                      </a:cubicBezTo>
                      <a:close/>
                      <a:moveTo>
                        <a:pt x="171450" y="57150"/>
                      </a:moveTo>
                      <a:cubicBezTo>
                        <a:pt x="108395" y="57150"/>
                        <a:pt x="57150" y="108395"/>
                        <a:pt x="57150" y="171450"/>
                      </a:cubicBezTo>
                      <a:cubicBezTo>
                        <a:pt x="57150" y="234506"/>
                        <a:pt x="108395" y="285750"/>
                        <a:pt x="171450" y="285750"/>
                      </a:cubicBezTo>
                      <a:cubicBezTo>
                        <a:pt x="234506" y="285750"/>
                        <a:pt x="285750" y="234506"/>
                        <a:pt x="285750" y="171450"/>
                      </a:cubicBezTo>
                      <a:cubicBezTo>
                        <a:pt x="285750" y="108395"/>
                        <a:pt x="234506" y="57150"/>
                        <a:pt x="171450" y="5715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2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44" name="Freihandform: Form 142">
                  <a:extLst>
                    <a:ext uri="{FF2B5EF4-FFF2-40B4-BE49-F238E27FC236}">
                      <a16:creationId xmlns:a16="http://schemas.microsoft.com/office/drawing/2014/main" id="{7E1D3CAB-3BB1-4D4D-3C66-2B3A1A3C3F8B}"/>
                    </a:ext>
                  </a:extLst>
                </p:cNvPr>
                <p:cNvSpPr/>
                <p:nvPr/>
              </p:nvSpPr>
              <p:spPr>
                <a:xfrm>
                  <a:off x="513588" y="2213198"/>
                  <a:ext cx="75666" cy="75666"/>
                </a:xfrm>
                <a:custGeom>
                  <a:avLst/>
                  <a:gdLst>
                    <a:gd name="connsiteX0" fmla="*/ 171450 w 342900"/>
                    <a:gd name="connsiteY0" fmla="*/ 342900 h 342900"/>
                    <a:gd name="connsiteX1" fmla="*/ 0 w 342900"/>
                    <a:gd name="connsiteY1" fmla="*/ 171450 h 342900"/>
                    <a:gd name="connsiteX2" fmla="*/ 171450 w 342900"/>
                    <a:gd name="connsiteY2" fmla="*/ 0 h 342900"/>
                    <a:gd name="connsiteX3" fmla="*/ 342900 w 342900"/>
                    <a:gd name="connsiteY3" fmla="*/ 171450 h 342900"/>
                    <a:gd name="connsiteX4" fmla="*/ 171450 w 342900"/>
                    <a:gd name="connsiteY4" fmla="*/ 342900 h 342900"/>
                    <a:gd name="connsiteX5" fmla="*/ 171450 w 342900"/>
                    <a:gd name="connsiteY5" fmla="*/ 57150 h 342900"/>
                    <a:gd name="connsiteX6" fmla="*/ 57150 w 342900"/>
                    <a:gd name="connsiteY6" fmla="*/ 171450 h 342900"/>
                    <a:gd name="connsiteX7" fmla="*/ 171450 w 342900"/>
                    <a:gd name="connsiteY7" fmla="*/ 285750 h 342900"/>
                    <a:gd name="connsiteX8" fmla="*/ 285750 w 342900"/>
                    <a:gd name="connsiteY8" fmla="*/ 171450 h 342900"/>
                    <a:gd name="connsiteX9" fmla="*/ 171450 w 342900"/>
                    <a:gd name="connsiteY9" fmla="*/ 57150 h 3429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342900" h="342900">
                      <a:moveTo>
                        <a:pt x="171450" y="342900"/>
                      </a:moveTo>
                      <a:cubicBezTo>
                        <a:pt x="76867" y="342900"/>
                        <a:pt x="0" y="266033"/>
                        <a:pt x="0" y="171450"/>
                      </a:cubicBezTo>
                      <a:cubicBezTo>
                        <a:pt x="0" y="76867"/>
                        <a:pt x="76867" y="0"/>
                        <a:pt x="171450" y="0"/>
                      </a:cubicBezTo>
                      <a:cubicBezTo>
                        <a:pt x="266033" y="0"/>
                        <a:pt x="342900" y="76867"/>
                        <a:pt x="342900" y="171450"/>
                      </a:cubicBezTo>
                      <a:cubicBezTo>
                        <a:pt x="342900" y="266033"/>
                        <a:pt x="266033" y="342900"/>
                        <a:pt x="171450" y="342900"/>
                      </a:cubicBezTo>
                      <a:close/>
                      <a:moveTo>
                        <a:pt x="171450" y="57150"/>
                      </a:moveTo>
                      <a:cubicBezTo>
                        <a:pt x="108395" y="57150"/>
                        <a:pt x="57150" y="108394"/>
                        <a:pt x="57150" y="171450"/>
                      </a:cubicBezTo>
                      <a:cubicBezTo>
                        <a:pt x="57150" y="234506"/>
                        <a:pt x="108395" y="285750"/>
                        <a:pt x="171450" y="285750"/>
                      </a:cubicBezTo>
                      <a:cubicBezTo>
                        <a:pt x="234506" y="285750"/>
                        <a:pt x="285750" y="234506"/>
                        <a:pt x="285750" y="171450"/>
                      </a:cubicBezTo>
                      <a:cubicBezTo>
                        <a:pt x="285750" y="108394"/>
                        <a:pt x="234506" y="57150"/>
                        <a:pt x="171450" y="5715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2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45" name="Freihandform: Form 146">
                  <a:extLst>
                    <a:ext uri="{FF2B5EF4-FFF2-40B4-BE49-F238E27FC236}">
                      <a16:creationId xmlns:a16="http://schemas.microsoft.com/office/drawing/2014/main" id="{41EBED89-EC8B-E421-C079-BA6E6938210E}"/>
                    </a:ext>
                  </a:extLst>
                </p:cNvPr>
                <p:cNvSpPr/>
                <p:nvPr/>
              </p:nvSpPr>
              <p:spPr>
                <a:xfrm>
                  <a:off x="511486" y="2385548"/>
                  <a:ext cx="75666" cy="75666"/>
                </a:xfrm>
                <a:custGeom>
                  <a:avLst/>
                  <a:gdLst>
                    <a:gd name="connsiteX0" fmla="*/ 171450 w 342900"/>
                    <a:gd name="connsiteY0" fmla="*/ 342900 h 342900"/>
                    <a:gd name="connsiteX1" fmla="*/ 0 w 342900"/>
                    <a:gd name="connsiteY1" fmla="*/ 171450 h 342900"/>
                    <a:gd name="connsiteX2" fmla="*/ 171450 w 342900"/>
                    <a:gd name="connsiteY2" fmla="*/ 0 h 342900"/>
                    <a:gd name="connsiteX3" fmla="*/ 342900 w 342900"/>
                    <a:gd name="connsiteY3" fmla="*/ 171450 h 342900"/>
                    <a:gd name="connsiteX4" fmla="*/ 171450 w 342900"/>
                    <a:gd name="connsiteY4" fmla="*/ 342900 h 342900"/>
                    <a:gd name="connsiteX5" fmla="*/ 171450 w 342900"/>
                    <a:gd name="connsiteY5" fmla="*/ 57150 h 342900"/>
                    <a:gd name="connsiteX6" fmla="*/ 57150 w 342900"/>
                    <a:gd name="connsiteY6" fmla="*/ 171450 h 342900"/>
                    <a:gd name="connsiteX7" fmla="*/ 171450 w 342900"/>
                    <a:gd name="connsiteY7" fmla="*/ 285750 h 342900"/>
                    <a:gd name="connsiteX8" fmla="*/ 285750 w 342900"/>
                    <a:gd name="connsiteY8" fmla="*/ 171450 h 342900"/>
                    <a:gd name="connsiteX9" fmla="*/ 171450 w 342900"/>
                    <a:gd name="connsiteY9" fmla="*/ 57150 h 3429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342900" h="342900">
                      <a:moveTo>
                        <a:pt x="171450" y="342900"/>
                      </a:moveTo>
                      <a:cubicBezTo>
                        <a:pt x="76867" y="342900"/>
                        <a:pt x="0" y="266033"/>
                        <a:pt x="0" y="171450"/>
                      </a:cubicBezTo>
                      <a:cubicBezTo>
                        <a:pt x="0" y="76867"/>
                        <a:pt x="76867" y="0"/>
                        <a:pt x="171450" y="0"/>
                      </a:cubicBezTo>
                      <a:cubicBezTo>
                        <a:pt x="266033" y="0"/>
                        <a:pt x="342900" y="76867"/>
                        <a:pt x="342900" y="171450"/>
                      </a:cubicBezTo>
                      <a:cubicBezTo>
                        <a:pt x="342900" y="266033"/>
                        <a:pt x="266033" y="342900"/>
                        <a:pt x="171450" y="342900"/>
                      </a:cubicBezTo>
                      <a:close/>
                      <a:moveTo>
                        <a:pt x="171450" y="57150"/>
                      </a:moveTo>
                      <a:cubicBezTo>
                        <a:pt x="108395" y="57150"/>
                        <a:pt x="57150" y="108395"/>
                        <a:pt x="57150" y="171450"/>
                      </a:cubicBezTo>
                      <a:cubicBezTo>
                        <a:pt x="57150" y="234506"/>
                        <a:pt x="108395" y="285750"/>
                        <a:pt x="171450" y="285750"/>
                      </a:cubicBezTo>
                      <a:cubicBezTo>
                        <a:pt x="234506" y="285750"/>
                        <a:pt x="285750" y="234506"/>
                        <a:pt x="285750" y="171450"/>
                      </a:cubicBezTo>
                      <a:cubicBezTo>
                        <a:pt x="285750" y="108395"/>
                        <a:pt x="234506" y="57150"/>
                        <a:pt x="171450" y="5715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2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</a:endParaRPr>
                </a:p>
              </p:txBody>
            </p:sp>
          </p:grpSp>
        </p:grpSp>
        <p:grpSp>
          <p:nvGrpSpPr>
            <p:cNvPr id="104" name="Group 103">
              <a:extLst>
                <a:ext uri="{FF2B5EF4-FFF2-40B4-BE49-F238E27FC236}">
                  <a16:creationId xmlns:a16="http://schemas.microsoft.com/office/drawing/2014/main" id="{DA36EFA3-DCD8-EA83-7903-E5479E1D9805}"/>
                </a:ext>
              </a:extLst>
            </p:cNvPr>
            <p:cNvGrpSpPr/>
            <p:nvPr/>
          </p:nvGrpSpPr>
          <p:grpSpPr>
            <a:xfrm>
              <a:off x="332015" y="3377995"/>
              <a:ext cx="442429" cy="583676"/>
              <a:chOff x="332015" y="3377995"/>
              <a:chExt cx="442429" cy="583676"/>
            </a:xfrm>
          </p:grpSpPr>
          <p:sp>
            <p:nvSpPr>
              <p:cNvPr id="62" name="Textfeld 133">
                <a:extLst>
                  <a:ext uri="{FF2B5EF4-FFF2-40B4-BE49-F238E27FC236}">
                    <a16:creationId xmlns:a16="http://schemas.microsoft.com/office/drawing/2014/main" id="{A03E1271-DFDA-772B-C288-E0D2B0A30581}"/>
                  </a:ext>
                </a:extLst>
              </p:cNvPr>
              <p:cNvSpPr txBox="1"/>
              <p:nvPr/>
            </p:nvSpPr>
            <p:spPr>
              <a:xfrm>
                <a:off x="332015" y="3777005"/>
                <a:ext cx="442429" cy="184666"/>
              </a:xfrm>
              <a:prstGeom prst="rect">
                <a:avLst/>
              </a:prstGeom>
              <a:noFill/>
              <a:effectLst/>
            </p:spPr>
            <p:txBody>
              <a:bodyPr wrap="none" lIns="0" tIns="0" rIns="0" bIns="0" rtlCol="0" anchor="b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BF1528"/>
                    </a:solidFill>
                    <a:effectLst/>
                    <a:uLnTx/>
                    <a:uFillTx/>
                  </a:rPr>
                  <a:t>Shape</a:t>
                </a:r>
              </a:p>
            </p:txBody>
          </p:sp>
          <p:grpSp>
            <p:nvGrpSpPr>
              <p:cNvPr id="64" name="Gruppieren 238">
                <a:extLst>
                  <a:ext uri="{FF2B5EF4-FFF2-40B4-BE49-F238E27FC236}">
                    <a16:creationId xmlns:a16="http://schemas.microsoft.com/office/drawing/2014/main" id="{70C6F9FF-B1E3-6FDC-91FE-E0FD3FAF8205}"/>
                  </a:ext>
                </a:extLst>
              </p:cNvPr>
              <p:cNvGrpSpPr/>
              <p:nvPr/>
            </p:nvGrpSpPr>
            <p:grpSpPr>
              <a:xfrm>
                <a:off x="491113" y="3377995"/>
                <a:ext cx="125028" cy="356400"/>
                <a:chOff x="701400" y="3239269"/>
                <a:chExt cx="222742" cy="634934"/>
              </a:xfrm>
              <a:solidFill>
                <a:srgbClr val="0066FF"/>
              </a:solidFill>
            </p:grpSpPr>
            <p:sp>
              <p:nvSpPr>
                <p:cNvPr id="78" name="Freihandform: Form 252">
                  <a:extLst>
                    <a:ext uri="{FF2B5EF4-FFF2-40B4-BE49-F238E27FC236}">
                      <a16:creationId xmlns:a16="http://schemas.microsoft.com/office/drawing/2014/main" id="{67FBFE88-DA4A-0CD5-BB83-EC49345940E9}"/>
                    </a:ext>
                  </a:extLst>
                </p:cNvPr>
                <p:cNvSpPr/>
                <p:nvPr/>
              </p:nvSpPr>
              <p:spPr>
                <a:xfrm>
                  <a:off x="701400" y="3239269"/>
                  <a:ext cx="222742" cy="185547"/>
                </a:xfrm>
                <a:custGeom>
                  <a:avLst/>
                  <a:gdLst>
                    <a:gd name="connsiteX0" fmla="*/ 870434 w 898858"/>
                    <a:gd name="connsiteY0" fmla="*/ 748760 h 748760"/>
                    <a:gd name="connsiteX1" fmla="*/ 28615 w 898858"/>
                    <a:gd name="connsiteY1" fmla="*/ 748760 h 748760"/>
                    <a:gd name="connsiteX2" fmla="*/ 3659 w 898858"/>
                    <a:gd name="connsiteY2" fmla="*/ 734187 h 748760"/>
                    <a:gd name="connsiteX3" fmla="*/ 4136 w 898858"/>
                    <a:gd name="connsiteY3" fmla="*/ 705326 h 748760"/>
                    <a:gd name="connsiteX4" fmla="*/ 425045 w 898858"/>
                    <a:gd name="connsiteY4" fmla="*/ 13716 h 748760"/>
                    <a:gd name="connsiteX5" fmla="*/ 449429 w 898858"/>
                    <a:gd name="connsiteY5" fmla="*/ 0 h 748760"/>
                    <a:gd name="connsiteX6" fmla="*/ 473813 w 898858"/>
                    <a:gd name="connsiteY6" fmla="*/ 13716 h 748760"/>
                    <a:gd name="connsiteX7" fmla="*/ 894723 w 898858"/>
                    <a:gd name="connsiteY7" fmla="*/ 705326 h 748760"/>
                    <a:gd name="connsiteX8" fmla="*/ 895199 w 898858"/>
                    <a:gd name="connsiteY8" fmla="*/ 734187 h 748760"/>
                    <a:gd name="connsiteX9" fmla="*/ 870434 w 898858"/>
                    <a:gd name="connsiteY9" fmla="*/ 748760 h 748760"/>
                    <a:gd name="connsiteX10" fmla="*/ 79478 w 898858"/>
                    <a:gd name="connsiteY10" fmla="*/ 691610 h 748760"/>
                    <a:gd name="connsiteX11" fmla="*/ 819571 w 898858"/>
                    <a:gd name="connsiteY11" fmla="*/ 691610 h 748760"/>
                    <a:gd name="connsiteX12" fmla="*/ 449524 w 898858"/>
                    <a:gd name="connsiteY12" fmla="*/ 83534 h 748760"/>
                    <a:gd name="connsiteX13" fmla="*/ 79478 w 898858"/>
                    <a:gd name="connsiteY13" fmla="*/ 691610 h 74876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</a:cxnLst>
                  <a:rect l="l" t="t" r="r" b="b"/>
                  <a:pathLst>
                    <a:path w="898858" h="748760">
                      <a:moveTo>
                        <a:pt x="870434" y="748760"/>
                      </a:moveTo>
                      <a:lnTo>
                        <a:pt x="28615" y="748760"/>
                      </a:lnTo>
                      <a:cubicBezTo>
                        <a:pt x="18328" y="748760"/>
                        <a:pt x="8803" y="743236"/>
                        <a:pt x="3659" y="734187"/>
                      </a:cubicBezTo>
                      <a:cubicBezTo>
                        <a:pt x="-1389" y="725234"/>
                        <a:pt x="-1199" y="714185"/>
                        <a:pt x="4136" y="705326"/>
                      </a:cubicBezTo>
                      <a:lnTo>
                        <a:pt x="425045" y="13716"/>
                      </a:lnTo>
                      <a:cubicBezTo>
                        <a:pt x="430189" y="5239"/>
                        <a:pt x="439523" y="0"/>
                        <a:pt x="449429" y="0"/>
                      </a:cubicBezTo>
                      <a:cubicBezTo>
                        <a:pt x="459335" y="0"/>
                        <a:pt x="468670" y="5239"/>
                        <a:pt x="473813" y="13716"/>
                      </a:cubicBezTo>
                      <a:lnTo>
                        <a:pt x="894723" y="705326"/>
                      </a:lnTo>
                      <a:cubicBezTo>
                        <a:pt x="900057" y="714185"/>
                        <a:pt x="900248" y="725138"/>
                        <a:pt x="895199" y="734187"/>
                      </a:cubicBezTo>
                      <a:cubicBezTo>
                        <a:pt x="890246" y="743140"/>
                        <a:pt x="880721" y="748760"/>
                        <a:pt x="870434" y="748760"/>
                      </a:cubicBezTo>
                      <a:close/>
                      <a:moveTo>
                        <a:pt x="79478" y="691610"/>
                      </a:moveTo>
                      <a:lnTo>
                        <a:pt x="819571" y="691610"/>
                      </a:lnTo>
                      <a:lnTo>
                        <a:pt x="449524" y="83534"/>
                      </a:lnTo>
                      <a:lnTo>
                        <a:pt x="79478" y="691610"/>
                      </a:lnTo>
                      <a:close/>
                    </a:path>
                  </a:pathLst>
                </a:custGeom>
                <a:solidFill>
                  <a:srgbClr val="BF1528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2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79" name="Rechteck: abgerundete Ecken 253">
                  <a:extLst>
                    <a:ext uri="{FF2B5EF4-FFF2-40B4-BE49-F238E27FC236}">
                      <a16:creationId xmlns:a16="http://schemas.microsoft.com/office/drawing/2014/main" id="{CC34F718-9EA7-AFE8-1DCB-611D8B84D8D2}"/>
                    </a:ext>
                  </a:extLst>
                </p:cNvPr>
                <p:cNvSpPr/>
                <p:nvPr/>
              </p:nvSpPr>
              <p:spPr>
                <a:xfrm>
                  <a:off x="805857" y="3560129"/>
                  <a:ext cx="13828" cy="95066"/>
                </a:xfrm>
                <a:prstGeom prst="roundRect">
                  <a:avLst>
                    <a:gd name="adj" fmla="val 50000"/>
                  </a:avLst>
                </a:prstGeom>
                <a:solidFill>
                  <a:srgbClr val="BF1528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2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80" name="Rechteck: abgerundete Ecken 254">
                  <a:extLst>
                    <a:ext uri="{FF2B5EF4-FFF2-40B4-BE49-F238E27FC236}">
                      <a16:creationId xmlns:a16="http://schemas.microsoft.com/office/drawing/2014/main" id="{96EA9118-3C98-C0B0-5245-E0DF3EF39BD2}"/>
                    </a:ext>
                  </a:extLst>
                </p:cNvPr>
                <p:cNvSpPr/>
                <p:nvPr/>
              </p:nvSpPr>
              <p:spPr>
                <a:xfrm>
                  <a:off x="805857" y="3414658"/>
                  <a:ext cx="13828" cy="120994"/>
                </a:xfrm>
                <a:prstGeom prst="roundRect">
                  <a:avLst>
                    <a:gd name="adj" fmla="val 50000"/>
                  </a:avLst>
                </a:prstGeom>
                <a:solidFill>
                  <a:srgbClr val="BF1528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2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81" name="Rechteck: abgerundete Ecken 255">
                  <a:extLst>
                    <a:ext uri="{FF2B5EF4-FFF2-40B4-BE49-F238E27FC236}">
                      <a16:creationId xmlns:a16="http://schemas.microsoft.com/office/drawing/2014/main" id="{A366C813-1905-3A1A-5DD0-E63EE7126AAA}"/>
                    </a:ext>
                  </a:extLst>
                </p:cNvPr>
                <p:cNvSpPr/>
                <p:nvPr/>
              </p:nvSpPr>
              <p:spPr>
                <a:xfrm>
                  <a:off x="805857" y="3679672"/>
                  <a:ext cx="13828" cy="69139"/>
                </a:xfrm>
                <a:prstGeom prst="roundRect">
                  <a:avLst>
                    <a:gd name="adj" fmla="val 50000"/>
                  </a:avLst>
                </a:prstGeom>
                <a:solidFill>
                  <a:srgbClr val="BF1528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2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82" name="Rechteck: abgerundete Ecken 256">
                  <a:extLst>
                    <a:ext uri="{FF2B5EF4-FFF2-40B4-BE49-F238E27FC236}">
                      <a16:creationId xmlns:a16="http://schemas.microsoft.com/office/drawing/2014/main" id="{97261CC0-5F7D-D14D-CF89-4212BE1A58C0}"/>
                    </a:ext>
                  </a:extLst>
                </p:cNvPr>
                <p:cNvSpPr/>
                <p:nvPr/>
              </p:nvSpPr>
              <p:spPr>
                <a:xfrm>
                  <a:off x="805857" y="3822348"/>
                  <a:ext cx="13828" cy="51854"/>
                </a:xfrm>
                <a:prstGeom prst="roundRect">
                  <a:avLst>
                    <a:gd name="adj" fmla="val 50000"/>
                  </a:avLst>
                </a:prstGeom>
                <a:solidFill>
                  <a:srgbClr val="BF1528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2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83" name="Rechteck: abgerundete Ecken 257">
                  <a:extLst>
                    <a:ext uri="{FF2B5EF4-FFF2-40B4-BE49-F238E27FC236}">
                      <a16:creationId xmlns:a16="http://schemas.microsoft.com/office/drawing/2014/main" id="{E7AD5FE8-693C-73F3-0B1D-E1B949900CAE}"/>
                    </a:ext>
                  </a:extLst>
                </p:cNvPr>
                <p:cNvSpPr/>
                <p:nvPr/>
              </p:nvSpPr>
              <p:spPr>
                <a:xfrm rot="5400000">
                  <a:off x="806292" y="3820413"/>
                  <a:ext cx="13828" cy="93752"/>
                </a:xfrm>
                <a:prstGeom prst="roundRect">
                  <a:avLst>
                    <a:gd name="adj" fmla="val 50000"/>
                  </a:avLst>
                </a:prstGeom>
                <a:solidFill>
                  <a:srgbClr val="BF1528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2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84" name="Rechteck: abgerundete Ecken 258">
                  <a:extLst>
                    <a:ext uri="{FF2B5EF4-FFF2-40B4-BE49-F238E27FC236}">
                      <a16:creationId xmlns:a16="http://schemas.microsoft.com/office/drawing/2014/main" id="{D3379A2B-60EF-D4A5-0D57-DE92D9B2B32A}"/>
                    </a:ext>
                  </a:extLst>
                </p:cNvPr>
                <p:cNvSpPr/>
                <p:nvPr/>
              </p:nvSpPr>
              <p:spPr>
                <a:xfrm rot="10800000">
                  <a:off x="805857" y="3773288"/>
                  <a:ext cx="13828" cy="24582"/>
                </a:xfrm>
                <a:prstGeom prst="roundRect">
                  <a:avLst>
                    <a:gd name="adj" fmla="val 50000"/>
                  </a:avLst>
                </a:prstGeom>
                <a:solidFill>
                  <a:srgbClr val="BF1528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wrap="square" rtlCol="0" anchor="ctr"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2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</a:endParaRPr>
                </a:p>
              </p:txBody>
            </p:sp>
          </p:grpSp>
          <p:grpSp>
            <p:nvGrpSpPr>
              <p:cNvPr id="65" name="Gruppieren 239">
                <a:extLst>
                  <a:ext uri="{FF2B5EF4-FFF2-40B4-BE49-F238E27FC236}">
                    <a16:creationId xmlns:a16="http://schemas.microsoft.com/office/drawing/2014/main" id="{E77B6402-65F9-EDA0-1DAC-850B2C2A6DC2}"/>
                  </a:ext>
                </a:extLst>
              </p:cNvPr>
              <p:cNvGrpSpPr/>
              <p:nvPr/>
            </p:nvGrpSpPr>
            <p:grpSpPr>
              <a:xfrm>
                <a:off x="369733" y="3502536"/>
                <a:ext cx="366993" cy="231859"/>
                <a:chOff x="485159" y="3461142"/>
                <a:chExt cx="653809" cy="413061"/>
              </a:xfrm>
              <a:solidFill>
                <a:schemeClr val="tx2"/>
              </a:solidFill>
            </p:grpSpPr>
            <p:sp>
              <p:nvSpPr>
                <p:cNvPr id="66" name="Freihandform: Form 240">
                  <a:extLst>
                    <a:ext uri="{FF2B5EF4-FFF2-40B4-BE49-F238E27FC236}">
                      <a16:creationId xmlns:a16="http://schemas.microsoft.com/office/drawing/2014/main" id="{4839C9A1-CEF3-E817-73A4-9A04789CE8A1}"/>
                    </a:ext>
                  </a:extLst>
                </p:cNvPr>
                <p:cNvSpPr/>
                <p:nvPr/>
              </p:nvSpPr>
              <p:spPr>
                <a:xfrm>
                  <a:off x="596105" y="3461142"/>
                  <a:ext cx="177012" cy="188828"/>
                </a:xfrm>
                <a:custGeom>
                  <a:avLst/>
                  <a:gdLst>
                    <a:gd name="connsiteX0" fmla="*/ 685745 w 714319"/>
                    <a:gd name="connsiteY0" fmla="*/ 762000 h 762000"/>
                    <a:gd name="connsiteX1" fmla="*/ 28519 w 714319"/>
                    <a:gd name="connsiteY1" fmla="*/ 762000 h 762000"/>
                    <a:gd name="connsiteX2" fmla="*/ 3659 w 714319"/>
                    <a:gd name="connsiteY2" fmla="*/ 747427 h 762000"/>
                    <a:gd name="connsiteX3" fmla="*/ 4135 w 714319"/>
                    <a:gd name="connsiteY3" fmla="*/ 718566 h 762000"/>
                    <a:gd name="connsiteX4" fmla="*/ 432761 w 714319"/>
                    <a:gd name="connsiteY4" fmla="*/ 13716 h 762000"/>
                    <a:gd name="connsiteX5" fmla="*/ 457144 w 714319"/>
                    <a:gd name="connsiteY5" fmla="*/ 0 h 762000"/>
                    <a:gd name="connsiteX6" fmla="*/ 647645 w 714319"/>
                    <a:gd name="connsiteY6" fmla="*/ 0 h 762000"/>
                    <a:gd name="connsiteX7" fmla="*/ 676220 w 714319"/>
                    <a:gd name="connsiteY7" fmla="*/ 28575 h 762000"/>
                    <a:gd name="connsiteX8" fmla="*/ 647645 w 714319"/>
                    <a:gd name="connsiteY8" fmla="*/ 57150 h 762000"/>
                    <a:gd name="connsiteX9" fmla="*/ 473242 w 714319"/>
                    <a:gd name="connsiteY9" fmla="*/ 57150 h 762000"/>
                    <a:gd name="connsiteX10" fmla="*/ 79383 w 714319"/>
                    <a:gd name="connsiteY10" fmla="*/ 704850 h 762000"/>
                    <a:gd name="connsiteX11" fmla="*/ 685745 w 714319"/>
                    <a:gd name="connsiteY11" fmla="*/ 704850 h 762000"/>
                    <a:gd name="connsiteX12" fmla="*/ 714320 w 714319"/>
                    <a:gd name="connsiteY12" fmla="*/ 733425 h 762000"/>
                    <a:gd name="connsiteX13" fmla="*/ 685745 w 714319"/>
                    <a:gd name="connsiteY13" fmla="*/ 762000 h 7620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</a:cxnLst>
                  <a:rect l="l" t="t" r="r" b="b"/>
                  <a:pathLst>
                    <a:path w="714319" h="762000">
                      <a:moveTo>
                        <a:pt x="685745" y="762000"/>
                      </a:moveTo>
                      <a:lnTo>
                        <a:pt x="28519" y="762000"/>
                      </a:lnTo>
                      <a:cubicBezTo>
                        <a:pt x="18232" y="762000"/>
                        <a:pt x="8707" y="756476"/>
                        <a:pt x="3659" y="747427"/>
                      </a:cubicBezTo>
                      <a:cubicBezTo>
                        <a:pt x="-1389" y="738378"/>
                        <a:pt x="-1199" y="727424"/>
                        <a:pt x="4135" y="718566"/>
                      </a:cubicBezTo>
                      <a:lnTo>
                        <a:pt x="432761" y="13716"/>
                      </a:lnTo>
                      <a:cubicBezTo>
                        <a:pt x="437904" y="5239"/>
                        <a:pt x="447143" y="0"/>
                        <a:pt x="457144" y="0"/>
                      </a:cubicBezTo>
                      <a:lnTo>
                        <a:pt x="647645" y="0"/>
                      </a:lnTo>
                      <a:cubicBezTo>
                        <a:pt x="663456" y="0"/>
                        <a:pt x="676220" y="12763"/>
                        <a:pt x="676220" y="28575"/>
                      </a:cubicBezTo>
                      <a:cubicBezTo>
                        <a:pt x="676220" y="44387"/>
                        <a:pt x="663456" y="57150"/>
                        <a:pt x="647645" y="57150"/>
                      </a:cubicBezTo>
                      <a:lnTo>
                        <a:pt x="473242" y="57150"/>
                      </a:lnTo>
                      <a:lnTo>
                        <a:pt x="79383" y="704850"/>
                      </a:lnTo>
                      <a:lnTo>
                        <a:pt x="685745" y="704850"/>
                      </a:lnTo>
                      <a:cubicBezTo>
                        <a:pt x="701556" y="704850"/>
                        <a:pt x="714320" y="717613"/>
                        <a:pt x="714320" y="733425"/>
                      </a:cubicBezTo>
                      <a:cubicBezTo>
                        <a:pt x="714320" y="749237"/>
                        <a:pt x="701556" y="762000"/>
                        <a:pt x="685745" y="76200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2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67" name="Freihandform: Form 241">
                  <a:extLst>
                    <a:ext uri="{FF2B5EF4-FFF2-40B4-BE49-F238E27FC236}">
                      <a16:creationId xmlns:a16="http://schemas.microsoft.com/office/drawing/2014/main" id="{5FBE032D-B5DE-7373-1894-39554F125F0D}"/>
                    </a:ext>
                  </a:extLst>
                </p:cNvPr>
                <p:cNvSpPr/>
                <p:nvPr/>
              </p:nvSpPr>
              <p:spPr>
                <a:xfrm>
                  <a:off x="851009" y="3461142"/>
                  <a:ext cx="177012" cy="188828"/>
                </a:xfrm>
                <a:custGeom>
                  <a:avLst/>
                  <a:gdLst>
                    <a:gd name="connsiteX0" fmla="*/ 685800 w 714319"/>
                    <a:gd name="connsiteY0" fmla="*/ 762000 h 762000"/>
                    <a:gd name="connsiteX1" fmla="*/ 28575 w 714319"/>
                    <a:gd name="connsiteY1" fmla="*/ 762000 h 762000"/>
                    <a:gd name="connsiteX2" fmla="*/ 0 w 714319"/>
                    <a:gd name="connsiteY2" fmla="*/ 733425 h 762000"/>
                    <a:gd name="connsiteX3" fmla="*/ 28575 w 714319"/>
                    <a:gd name="connsiteY3" fmla="*/ 704850 h 762000"/>
                    <a:gd name="connsiteX4" fmla="*/ 634937 w 714319"/>
                    <a:gd name="connsiteY4" fmla="*/ 704850 h 762000"/>
                    <a:gd name="connsiteX5" fmla="*/ 241078 w 714319"/>
                    <a:gd name="connsiteY5" fmla="*/ 57150 h 762000"/>
                    <a:gd name="connsiteX6" fmla="*/ 66675 w 714319"/>
                    <a:gd name="connsiteY6" fmla="*/ 57150 h 762000"/>
                    <a:gd name="connsiteX7" fmla="*/ 38100 w 714319"/>
                    <a:gd name="connsiteY7" fmla="*/ 28575 h 762000"/>
                    <a:gd name="connsiteX8" fmla="*/ 66675 w 714319"/>
                    <a:gd name="connsiteY8" fmla="*/ 0 h 762000"/>
                    <a:gd name="connsiteX9" fmla="*/ 257175 w 714319"/>
                    <a:gd name="connsiteY9" fmla="*/ 0 h 762000"/>
                    <a:gd name="connsiteX10" fmla="*/ 281559 w 714319"/>
                    <a:gd name="connsiteY10" fmla="*/ 13716 h 762000"/>
                    <a:gd name="connsiteX11" fmla="*/ 710184 w 714319"/>
                    <a:gd name="connsiteY11" fmla="*/ 718566 h 762000"/>
                    <a:gd name="connsiteX12" fmla="*/ 710660 w 714319"/>
                    <a:gd name="connsiteY12" fmla="*/ 747427 h 762000"/>
                    <a:gd name="connsiteX13" fmla="*/ 685800 w 714319"/>
                    <a:gd name="connsiteY13" fmla="*/ 762000 h 7620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</a:cxnLst>
                  <a:rect l="l" t="t" r="r" b="b"/>
                  <a:pathLst>
                    <a:path w="714319" h="762000">
                      <a:moveTo>
                        <a:pt x="685800" y="762000"/>
                      </a:moveTo>
                      <a:lnTo>
                        <a:pt x="28575" y="762000"/>
                      </a:lnTo>
                      <a:cubicBezTo>
                        <a:pt x="12763" y="762000"/>
                        <a:pt x="0" y="749237"/>
                        <a:pt x="0" y="733425"/>
                      </a:cubicBezTo>
                      <a:cubicBezTo>
                        <a:pt x="0" y="717613"/>
                        <a:pt x="12763" y="704850"/>
                        <a:pt x="28575" y="704850"/>
                      </a:cubicBezTo>
                      <a:lnTo>
                        <a:pt x="634937" y="704850"/>
                      </a:lnTo>
                      <a:lnTo>
                        <a:pt x="241078" y="57150"/>
                      </a:lnTo>
                      <a:lnTo>
                        <a:pt x="66675" y="57150"/>
                      </a:lnTo>
                      <a:cubicBezTo>
                        <a:pt x="50863" y="57150"/>
                        <a:pt x="38100" y="44387"/>
                        <a:pt x="38100" y="28575"/>
                      </a:cubicBezTo>
                      <a:cubicBezTo>
                        <a:pt x="38100" y="12763"/>
                        <a:pt x="50863" y="0"/>
                        <a:pt x="66675" y="0"/>
                      </a:cubicBezTo>
                      <a:lnTo>
                        <a:pt x="257175" y="0"/>
                      </a:lnTo>
                      <a:cubicBezTo>
                        <a:pt x="267176" y="0"/>
                        <a:pt x="276416" y="5239"/>
                        <a:pt x="281559" y="13716"/>
                      </a:cubicBezTo>
                      <a:lnTo>
                        <a:pt x="710184" y="718566"/>
                      </a:lnTo>
                      <a:cubicBezTo>
                        <a:pt x="715518" y="727424"/>
                        <a:pt x="715709" y="738378"/>
                        <a:pt x="710660" y="747427"/>
                      </a:cubicBezTo>
                      <a:cubicBezTo>
                        <a:pt x="705612" y="756476"/>
                        <a:pt x="696087" y="762000"/>
                        <a:pt x="685800" y="76200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2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68" name="Freihandform: Form 242">
                  <a:extLst>
                    <a:ext uri="{FF2B5EF4-FFF2-40B4-BE49-F238E27FC236}">
                      <a16:creationId xmlns:a16="http://schemas.microsoft.com/office/drawing/2014/main" id="{8BEDBEA2-46AA-BAC1-DBAA-230FE5892B99}"/>
                    </a:ext>
                  </a:extLst>
                </p:cNvPr>
                <p:cNvSpPr/>
                <p:nvPr/>
              </p:nvSpPr>
              <p:spPr>
                <a:xfrm>
                  <a:off x="485159" y="3680654"/>
                  <a:ext cx="287959" cy="193549"/>
                </a:xfrm>
                <a:custGeom>
                  <a:avLst/>
                  <a:gdLst>
                    <a:gd name="connsiteX0" fmla="*/ 491586 w 1199493"/>
                    <a:gd name="connsiteY0" fmla="*/ 0 h 806228"/>
                    <a:gd name="connsiteX1" fmla="*/ 1169997 w 1199493"/>
                    <a:gd name="connsiteY1" fmla="*/ 0 h 806228"/>
                    <a:gd name="connsiteX2" fmla="*/ 1199493 w 1199493"/>
                    <a:gd name="connsiteY2" fmla="*/ 29496 h 806228"/>
                    <a:gd name="connsiteX3" fmla="*/ 1169997 w 1199493"/>
                    <a:gd name="connsiteY3" fmla="*/ 58992 h 806228"/>
                    <a:gd name="connsiteX4" fmla="*/ 508006 w 1199493"/>
                    <a:gd name="connsiteY4" fmla="*/ 58992 h 806228"/>
                    <a:gd name="connsiteX5" fmla="*/ 82377 w 1199493"/>
                    <a:gd name="connsiteY5" fmla="*/ 747236 h 806228"/>
                    <a:gd name="connsiteX6" fmla="*/ 107666 w 1199493"/>
                    <a:gd name="connsiteY6" fmla="*/ 747236 h 806228"/>
                    <a:gd name="connsiteX7" fmla="*/ 107666 w 1199493"/>
                    <a:gd name="connsiteY7" fmla="*/ 806228 h 806228"/>
                    <a:gd name="connsiteX8" fmla="*/ 29480 w 1199493"/>
                    <a:gd name="connsiteY8" fmla="*/ 806228 h 806228"/>
                    <a:gd name="connsiteX9" fmla="*/ 3720 w 1199493"/>
                    <a:gd name="connsiteY9" fmla="*/ 791086 h 806228"/>
                    <a:gd name="connsiteX10" fmla="*/ 4409 w 1199493"/>
                    <a:gd name="connsiteY10" fmla="*/ 761198 h 806228"/>
                    <a:gd name="connsiteX11" fmla="*/ 466515 w 1199493"/>
                    <a:gd name="connsiteY11" fmla="*/ 13961 h 806228"/>
                    <a:gd name="connsiteX12" fmla="*/ 491586 w 1199493"/>
                    <a:gd name="connsiteY12" fmla="*/ 0 h 80622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</a:cxnLst>
                  <a:rect l="l" t="t" r="r" b="b"/>
                  <a:pathLst>
                    <a:path w="1199493" h="806228">
                      <a:moveTo>
                        <a:pt x="491586" y="0"/>
                      </a:moveTo>
                      <a:lnTo>
                        <a:pt x="1169997" y="0"/>
                      </a:lnTo>
                      <a:cubicBezTo>
                        <a:pt x="1186319" y="0"/>
                        <a:pt x="1199493" y="13175"/>
                        <a:pt x="1199493" y="29496"/>
                      </a:cubicBezTo>
                      <a:cubicBezTo>
                        <a:pt x="1199493" y="45818"/>
                        <a:pt x="1186319" y="58992"/>
                        <a:pt x="1169997" y="58992"/>
                      </a:cubicBezTo>
                      <a:lnTo>
                        <a:pt x="508006" y="58992"/>
                      </a:lnTo>
                      <a:lnTo>
                        <a:pt x="82377" y="747236"/>
                      </a:lnTo>
                      <a:lnTo>
                        <a:pt x="107666" y="747236"/>
                      </a:lnTo>
                      <a:lnTo>
                        <a:pt x="107666" y="806228"/>
                      </a:lnTo>
                      <a:lnTo>
                        <a:pt x="29480" y="806228"/>
                      </a:lnTo>
                      <a:cubicBezTo>
                        <a:pt x="18763" y="806228"/>
                        <a:pt x="8931" y="800427"/>
                        <a:pt x="3720" y="791086"/>
                      </a:cubicBezTo>
                      <a:cubicBezTo>
                        <a:pt x="-1491" y="781747"/>
                        <a:pt x="-1197" y="770341"/>
                        <a:pt x="4409" y="761198"/>
                      </a:cubicBezTo>
                      <a:lnTo>
                        <a:pt x="466515" y="13961"/>
                      </a:lnTo>
                      <a:cubicBezTo>
                        <a:pt x="471922" y="5309"/>
                        <a:pt x="481361" y="0"/>
                        <a:pt x="491586" y="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wrap="square" rtlCol="0" anchor="ctr"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2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69" name="Freihandform: Form 243">
                  <a:extLst>
                    <a:ext uri="{FF2B5EF4-FFF2-40B4-BE49-F238E27FC236}">
                      <a16:creationId xmlns:a16="http://schemas.microsoft.com/office/drawing/2014/main" id="{E04E3793-BAA0-62B0-81F4-B8EE903414EB}"/>
                    </a:ext>
                  </a:extLst>
                </p:cNvPr>
                <p:cNvSpPr/>
                <p:nvPr/>
              </p:nvSpPr>
              <p:spPr>
                <a:xfrm>
                  <a:off x="851009" y="3680654"/>
                  <a:ext cx="287959" cy="193549"/>
                </a:xfrm>
                <a:custGeom>
                  <a:avLst/>
                  <a:gdLst>
                    <a:gd name="connsiteX0" fmla="*/ 29496 w 1199493"/>
                    <a:gd name="connsiteY0" fmla="*/ 0 h 806228"/>
                    <a:gd name="connsiteX1" fmla="*/ 707907 w 1199493"/>
                    <a:gd name="connsiteY1" fmla="*/ 0 h 806228"/>
                    <a:gd name="connsiteX2" fmla="*/ 732979 w 1199493"/>
                    <a:gd name="connsiteY2" fmla="*/ 13961 h 806228"/>
                    <a:gd name="connsiteX3" fmla="*/ 1195086 w 1199493"/>
                    <a:gd name="connsiteY3" fmla="*/ 761198 h 806228"/>
                    <a:gd name="connsiteX4" fmla="*/ 1195774 w 1199493"/>
                    <a:gd name="connsiteY4" fmla="*/ 791086 h 806228"/>
                    <a:gd name="connsiteX5" fmla="*/ 1170014 w 1199493"/>
                    <a:gd name="connsiteY5" fmla="*/ 806228 h 806228"/>
                    <a:gd name="connsiteX6" fmla="*/ 1086408 w 1199493"/>
                    <a:gd name="connsiteY6" fmla="*/ 806228 h 806228"/>
                    <a:gd name="connsiteX7" fmla="*/ 1086408 w 1199493"/>
                    <a:gd name="connsiteY7" fmla="*/ 747236 h 806228"/>
                    <a:gd name="connsiteX8" fmla="*/ 1117118 w 1199493"/>
                    <a:gd name="connsiteY8" fmla="*/ 747236 h 806228"/>
                    <a:gd name="connsiteX9" fmla="*/ 691488 w 1199493"/>
                    <a:gd name="connsiteY9" fmla="*/ 58992 h 806228"/>
                    <a:gd name="connsiteX10" fmla="*/ 29496 w 1199493"/>
                    <a:gd name="connsiteY10" fmla="*/ 58992 h 806228"/>
                    <a:gd name="connsiteX11" fmla="*/ 0 w 1199493"/>
                    <a:gd name="connsiteY11" fmla="*/ 29496 h 806228"/>
                    <a:gd name="connsiteX12" fmla="*/ 29496 w 1199493"/>
                    <a:gd name="connsiteY12" fmla="*/ 0 h 80622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</a:cxnLst>
                  <a:rect l="l" t="t" r="r" b="b"/>
                  <a:pathLst>
                    <a:path w="1199493" h="806228">
                      <a:moveTo>
                        <a:pt x="29496" y="0"/>
                      </a:moveTo>
                      <a:lnTo>
                        <a:pt x="707907" y="0"/>
                      </a:lnTo>
                      <a:cubicBezTo>
                        <a:pt x="718133" y="0"/>
                        <a:pt x="727572" y="5309"/>
                        <a:pt x="732979" y="13961"/>
                      </a:cubicBezTo>
                      <a:lnTo>
                        <a:pt x="1195086" y="761198"/>
                      </a:lnTo>
                      <a:cubicBezTo>
                        <a:pt x="1200690" y="770341"/>
                        <a:pt x="1200985" y="781747"/>
                        <a:pt x="1195774" y="791086"/>
                      </a:cubicBezTo>
                      <a:cubicBezTo>
                        <a:pt x="1190562" y="800427"/>
                        <a:pt x="1180730" y="806228"/>
                        <a:pt x="1170014" y="806228"/>
                      </a:cubicBezTo>
                      <a:lnTo>
                        <a:pt x="1086408" y="806228"/>
                      </a:lnTo>
                      <a:lnTo>
                        <a:pt x="1086408" y="747236"/>
                      </a:lnTo>
                      <a:lnTo>
                        <a:pt x="1117118" y="747236"/>
                      </a:lnTo>
                      <a:lnTo>
                        <a:pt x="691488" y="58992"/>
                      </a:lnTo>
                      <a:lnTo>
                        <a:pt x="29496" y="58992"/>
                      </a:lnTo>
                      <a:cubicBezTo>
                        <a:pt x="13175" y="58992"/>
                        <a:pt x="0" y="45818"/>
                        <a:pt x="0" y="29496"/>
                      </a:cubicBezTo>
                      <a:cubicBezTo>
                        <a:pt x="0" y="13175"/>
                        <a:pt x="13175" y="0"/>
                        <a:pt x="29496" y="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wrap="square" rtlCol="0" anchor="ctr"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2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</a:endParaRPr>
                </a:p>
              </p:txBody>
            </p:sp>
            <p:grpSp>
              <p:nvGrpSpPr>
                <p:cNvPr id="70" name="Gruppieren 244">
                  <a:extLst>
                    <a:ext uri="{FF2B5EF4-FFF2-40B4-BE49-F238E27FC236}">
                      <a16:creationId xmlns:a16="http://schemas.microsoft.com/office/drawing/2014/main" id="{ED41F30D-67D8-7396-5D8B-E6A70E5F19B5}"/>
                    </a:ext>
                  </a:extLst>
                </p:cNvPr>
                <p:cNvGrpSpPr/>
                <p:nvPr/>
              </p:nvGrpSpPr>
              <p:grpSpPr>
                <a:xfrm>
                  <a:off x="500540" y="3860375"/>
                  <a:ext cx="238474" cy="13828"/>
                  <a:chOff x="500540" y="3860375"/>
                  <a:chExt cx="238474" cy="13828"/>
                </a:xfrm>
                <a:grpFill/>
              </p:grpSpPr>
              <p:sp>
                <p:nvSpPr>
                  <p:cNvPr id="75" name="Rechteck: abgerundete Ecken 249">
                    <a:extLst>
                      <a:ext uri="{FF2B5EF4-FFF2-40B4-BE49-F238E27FC236}">
                        <a16:creationId xmlns:a16="http://schemas.microsoft.com/office/drawing/2014/main" id="{15F1AFC8-EB8D-D839-AE37-D78B1571434A}"/>
                      </a:ext>
                    </a:extLst>
                  </p:cNvPr>
                  <p:cNvSpPr/>
                  <p:nvPr/>
                </p:nvSpPr>
                <p:spPr>
                  <a:xfrm rot="5400000">
                    <a:off x="715639" y="3850828"/>
                    <a:ext cx="13828" cy="32922"/>
                  </a:xfrm>
                  <a:prstGeom prst="roundRect">
                    <a:avLst>
                      <a:gd name="adj" fmla="val 50000"/>
                    </a:avLst>
                  </a:pr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wrap="square" rtlCol="0" anchor="ctr">
                    <a:noAutofit/>
                  </a:bodyPr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2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76" name="Rechteck: abgerundete Ecken 250">
                    <a:extLst>
                      <a:ext uri="{FF2B5EF4-FFF2-40B4-BE49-F238E27FC236}">
                        <a16:creationId xmlns:a16="http://schemas.microsoft.com/office/drawing/2014/main" id="{9E2ABB39-1B33-264B-C647-AE2183916AF6}"/>
                      </a:ext>
                    </a:extLst>
                  </p:cNvPr>
                  <p:cNvSpPr/>
                  <p:nvPr/>
                </p:nvSpPr>
                <p:spPr>
                  <a:xfrm rot="5400000">
                    <a:off x="643278" y="3838706"/>
                    <a:ext cx="13828" cy="57166"/>
                  </a:xfrm>
                  <a:prstGeom prst="roundRect">
                    <a:avLst>
                      <a:gd name="adj" fmla="val 50000"/>
                    </a:avLst>
                  </a:pr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wrap="square" rtlCol="0" anchor="ctr">
                    <a:noAutofit/>
                  </a:bodyPr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2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77" name="Rechteck: abgerundete Ecken 251">
                    <a:extLst>
                      <a:ext uri="{FF2B5EF4-FFF2-40B4-BE49-F238E27FC236}">
                        <a16:creationId xmlns:a16="http://schemas.microsoft.com/office/drawing/2014/main" id="{7983174F-4F68-D9C0-E902-7A9C612A8835}"/>
                      </a:ext>
                    </a:extLst>
                  </p:cNvPr>
                  <p:cNvSpPr/>
                  <p:nvPr/>
                </p:nvSpPr>
                <p:spPr>
                  <a:xfrm rot="5400000">
                    <a:off x="540502" y="3820413"/>
                    <a:ext cx="13828" cy="93752"/>
                  </a:xfrm>
                  <a:prstGeom prst="roundRect">
                    <a:avLst>
                      <a:gd name="adj" fmla="val 50000"/>
                    </a:avLst>
                  </a:pr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wrap="square" rtlCol="0" anchor="ctr">
                    <a:noAutofit/>
                  </a:bodyPr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2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</a:endParaRPr>
                  </a:p>
                </p:txBody>
              </p:sp>
            </p:grpSp>
            <p:grpSp>
              <p:nvGrpSpPr>
                <p:cNvPr id="71" name="Gruppieren 245">
                  <a:extLst>
                    <a:ext uri="{FF2B5EF4-FFF2-40B4-BE49-F238E27FC236}">
                      <a16:creationId xmlns:a16="http://schemas.microsoft.com/office/drawing/2014/main" id="{2FB7473D-5EA7-0931-75F5-0475180D9ED9}"/>
                    </a:ext>
                  </a:extLst>
                </p:cNvPr>
                <p:cNvGrpSpPr/>
                <p:nvPr/>
              </p:nvGrpSpPr>
              <p:grpSpPr>
                <a:xfrm flipH="1">
                  <a:off x="885734" y="3860375"/>
                  <a:ext cx="238474" cy="13828"/>
                  <a:chOff x="500540" y="3860375"/>
                  <a:chExt cx="238474" cy="13828"/>
                </a:xfrm>
                <a:grpFill/>
              </p:grpSpPr>
              <p:sp>
                <p:nvSpPr>
                  <p:cNvPr id="72" name="Rechteck: abgerundete Ecken 246">
                    <a:extLst>
                      <a:ext uri="{FF2B5EF4-FFF2-40B4-BE49-F238E27FC236}">
                        <a16:creationId xmlns:a16="http://schemas.microsoft.com/office/drawing/2014/main" id="{D273698F-ADD3-1BF9-4448-31E83EF86A7B}"/>
                      </a:ext>
                    </a:extLst>
                  </p:cNvPr>
                  <p:cNvSpPr/>
                  <p:nvPr/>
                </p:nvSpPr>
                <p:spPr>
                  <a:xfrm rot="5400000">
                    <a:off x="715639" y="3850828"/>
                    <a:ext cx="13828" cy="32922"/>
                  </a:xfrm>
                  <a:prstGeom prst="roundRect">
                    <a:avLst>
                      <a:gd name="adj" fmla="val 50000"/>
                    </a:avLst>
                  </a:pr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wrap="square" rtlCol="0" anchor="ctr">
                    <a:noAutofit/>
                  </a:bodyPr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2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73" name="Rechteck: abgerundete Ecken 247">
                    <a:extLst>
                      <a:ext uri="{FF2B5EF4-FFF2-40B4-BE49-F238E27FC236}">
                        <a16:creationId xmlns:a16="http://schemas.microsoft.com/office/drawing/2014/main" id="{4C1C6866-8A20-14BE-1F66-E9014B2E442D}"/>
                      </a:ext>
                    </a:extLst>
                  </p:cNvPr>
                  <p:cNvSpPr/>
                  <p:nvPr/>
                </p:nvSpPr>
                <p:spPr>
                  <a:xfrm rot="5400000">
                    <a:off x="643278" y="3838706"/>
                    <a:ext cx="13828" cy="57166"/>
                  </a:xfrm>
                  <a:prstGeom prst="roundRect">
                    <a:avLst>
                      <a:gd name="adj" fmla="val 50000"/>
                    </a:avLst>
                  </a:pr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wrap="square" rtlCol="0" anchor="ctr">
                    <a:noAutofit/>
                  </a:bodyPr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2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74" name="Rechteck: abgerundete Ecken 248">
                    <a:extLst>
                      <a:ext uri="{FF2B5EF4-FFF2-40B4-BE49-F238E27FC236}">
                        <a16:creationId xmlns:a16="http://schemas.microsoft.com/office/drawing/2014/main" id="{8B587996-84C1-4315-5646-E18A4B843EE2}"/>
                      </a:ext>
                    </a:extLst>
                  </p:cNvPr>
                  <p:cNvSpPr/>
                  <p:nvPr/>
                </p:nvSpPr>
                <p:spPr>
                  <a:xfrm rot="5400000">
                    <a:off x="540502" y="3820413"/>
                    <a:ext cx="13828" cy="93752"/>
                  </a:xfrm>
                  <a:prstGeom prst="roundRect">
                    <a:avLst>
                      <a:gd name="adj" fmla="val 50000"/>
                    </a:avLst>
                  </a:pr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wrap="square" rtlCol="0" anchor="ctr">
                    <a:noAutofit/>
                  </a:bodyPr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2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</a:endParaRPr>
                  </a:p>
                </p:txBody>
              </p:sp>
            </p:grpSp>
          </p:grpSp>
        </p:grpSp>
      </p:grpSp>
      <p:sp>
        <p:nvSpPr>
          <p:cNvPr id="85" name="Textfeld 12">
            <a:extLst>
              <a:ext uri="{FF2B5EF4-FFF2-40B4-BE49-F238E27FC236}">
                <a16:creationId xmlns:a16="http://schemas.microsoft.com/office/drawing/2014/main" id="{F2388696-30E8-E072-BDD1-05C86DE623B9}"/>
              </a:ext>
            </a:extLst>
          </p:cNvPr>
          <p:cNvSpPr txBox="1"/>
          <p:nvPr/>
        </p:nvSpPr>
        <p:spPr>
          <a:xfrm>
            <a:off x="1027531" y="1221232"/>
            <a:ext cx="1332000" cy="607859"/>
          </a:xfrm>
          <a:prstGeom prst="rect">
            <a:avLst/>
          </a:prstGeom>
          <a:noFill/>
          <a:effectLst/>
        </p:spPr>
        <p:txBody>
          <a:bodyPr wrap="square" lIns="0" tIns="0" rIns="0" bIns="0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0" cap="none" spc="0" normalizeH="0" baseline="0" noProof="0" dirty="0">
                <a:ln>
                  <a:noFill/>
                </a:ln>
                <a:solidFill>
                  <a:srgbClr val="BF1528"/>
                </a:solidFill>
                <a:effectLst/>
                <a:uLnTx/>
                <a:uFillTx/>
              </a:rPr>
              <a:t>Germany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rPr>
              <a:t>Top player position </a:t>
            </a:r>
            <a:br>
              <a:rPr kumimoji="0" lang="en-GB" sz="900" b="0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rPr>
            </a:br>
            <a:r>
              <a:rPr kumimoji="0" lang="en-GB" sz="900" b="0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rPr>
              <a:t>with market </a:t>
            </a:r>
            <a:br>
              <a:rPr kumimoji="0" lang="en-GB" sz="900" b="0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rPr>
            </a:br>
            <a:r>
              <a:rPr kumimoji="0" lang="en-GB" sz="900" b="0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rPr>
              <a:t>leading profitability.</a:t>
            </a:r>
          </a:p>
        </p:txBody>
      </p:sp>
      <p:sp>
        <p:nvSpPr>
          <p:cNvPr id="86" name="Textfeld 12">
            <a:extLst>
              <a:ext uri="{FF2B5EF4-FFF2-40B4-BE49-F238E27FC236}">
                <a16:creationId xmlns:a16="http://schemas.microsoft.com/office/drawing/2014/main" id="{C585E3B2-7671-F478-C2EC-09871F9DB45A}"/>
              </a:ext>
            </a:extLst>
          </p:cNvPr>
          <p:cNvSpPr txBox="1"/>
          <p:nvPr/>
        </p:nvSpPr>
        <p:spPr>
          <a:xfrm>
            <a:off x="1027531" y="1983102"/>
            <a:ext cx="1332000" cy="523220"/>
          </a:xfrm>
          <a:prstGeom prst="rect">
            <a:avLst/>
          </a:prstGeom>
          <a:noFill/>
          <a:effectLst/>
        </p:spPr>
        <p:txBody>
          <a:bodyPr wrap="square" lIns="0" tIns="0" rIns="0" bIns="0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0" cap="none" spc="0" normalizeH="0" baseline="0" noProof="0" dirty="0">
                <a:ln>
                  <a:noFill/>
                </a:ln>
                <a:solidFill>
                  <a:srgbClr val="BF1528"/>
                </a:solidFill>
                <a:effectLst/>
                <a:uLnTx/>
                <a:uFillTx/>
              </a:rPr>
              <a:t>Secure</a:t>
            </a:r>
            <a:r>
              <a:rPr kumimoji="0" lang="en-GB" sz="1000" b="0" i="0" u="none" strike="noStrike" kern="0" cap="none" spc="0" normalizeH="0" baseline="0" noProof="0" dirty="0">
                <a:ln>
                  <a:noFill/>
                </a:ln>
                <a:solidFill>
                  <a:srgbClr val="0066FF"/>
                </a:solidFill>
                <a:effectLst/>
                <a:uLnTx/>
                <a:uFillTx/>
              </a:rPr>
              <a:t> </a:t>
            </a: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rPr>
              <a:t>profitability</a:t>
            </a:r>
            <a:b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rPr>
            </a:b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rPr>
              <a:t>and market position</a:t>
            </a:r>
            <a:b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rPr>
            </a:b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rPr>
              <a:t>through first-rate</a:t>
            </a:r>
            <a:b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rPr>
            </a:b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rPr>
              <a:t>customer experience.</a:t>
            </a:r>
          </a:p>
        </p:txBody>
      </p:sp>
      <p:sp>
        <p:nvSpPr>
          <p:cNvPr id="87" name="Textfeld 12">
            <a:extLst>
              <a:ext uri="{FF2B5EF4-FFF2-40B4-BE49-F238E27FC236}">
                <a16:creationId xmlns:a16="http://schemas.microsoft.com/office/drawing/2014/main" id="{E1F7E756-B7E9-C5AA-BCF1-B638C557D479}"/>
              </a:ext>
            </a:extLst>
          </p:cNvPr>
          <p:cNvSpPr txBox="1"/>
          <p:nvPr/>
        </p:nvSpPr>
        <p:spPr>
          <a:xfrm>
            <a:off x="1027531" y="3151030"/>
            <a:ext cx="1332000" cy="400110"/>
          </a:xfrm>
          <a:prstGeom prst="rect">
            <a:avLst/>
          </a:prstGeom>
          <a:noFill/>
          <a:effectLst/>
        </p:spPr>
        <p:txBody>
          <a:bodyPr wrap="square" lIns="0" tIns="0" rIns="0" bIns="0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0" cap="none" spc="0" normalizeH="0" baseline="0" noProof="0" dirty="0">
                <a:ln>
                  <a:noFill/>
                </a:ln>
                <a:solidFill>
                  <a:srgbClr val="BF1528"/>
                </a:solidFill>
                <a:effectLst/>
                <a:uLnTx/>
                <a:uFillTx/>
              </a:rPr>
              <a:t>Strengthen</a:t>
            </a:r>
            <a:r>
              <a:rPr kumimoji="0" lang="en-GB" sz="1000" b="0" i="0" u="none" strike="noStrike" kern="0" cap="none" spc="0" normalizeH="0" baseline="0" noProof="0" dirty="0">
                <a:ln>
                  <a:noFill/>
                </a:ln>
                <a:solidFill>
                  <a:srgbClr val="0066FF"/>
                </a:solidFill>
                <a:effectLst/>
                <a:uLnTx/>
                <a:uFillTx/>
              </a:rPr>
              <a:t> </a:t>
            </a: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rPr>
              <a:t>Hybrid</a:t>
            </a:r>
            <a:b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rPr>
            </a:b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rPr>
              <a:t>Customer-centric</a:t>
            </a:r>
            <a:b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rPr>
            </a:b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rPr>
              <a:t>business model.</a:t>
            </a:r>
          </a:p>
        </p:txBody>
      </p:sp>
      <p:sp>
        <p:nvSpPr>
          <p:cNvPr id="88" name="Textfeld 12">
            <a:extLst>
              <a:ext uri="{FF2B5EF4-FFF2-40B4-BE49-F238E27FC236}">
                <a16:creationId xmlns:a16="http://schemas.microsoft.com/office/drawing/2014/main" id="{0BA29528-4775-38D1-33BF-97723CAB5A17}"/>
              </a:ext>
            </a:extLst>
          </p:cNvPr>
          <p:cNvSpPr txBox="1"/>
          <p:nvPr/>
        </p:nvSpPr>
        <p:spPr>
          <a:xfrm>
            <a:off x="2496540" y="1221232"/>
            <a:ext cx="1332000" cy="484748"/>
          </a:xfrm>
          <a:prstGeom prst="rect">
            <a:avLst/>
          </a:prstGeom>
          <a:noFill/>
          <a:effectLst/>
        </p:spPr>
        <p:txBody>
          <a:bodyPr wrap="square" lIns="0" tIns="0" rIns="0" bIns="0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0" cap="none" spc="0" normalizeH="0" baseline="0" noProof="0" dirty="0">
                <a:ln>
                  <a:noFill/>
                </a:ln>
                <a:solidFill>
                  <a:srgbClr val="BF1528"/>
                </a:solidFill>
                <a:effectLst/>
                <a:uLnTx/>
                <a:uFillTx/>
              </a:rPr>
              <a:t>International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rPr>
              <a:t>Top peer profitability</a:t>
            </a:r>
            <a:br>
              <a:rPr kumimoji="0" lang="en-GB" sz="900" b="0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rPr>
            </a:br>
            <a:r>
              <a:rPr kumimoji="0" lang="en-GB" sz="900" b="0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rPr>
              <a:t>in European markets.</a:t>
            </a:r>
          </a:p>
        </p:txBody>
      </p:sp>
      <p:sp>
        <p:nvSpPr>
          <p:cNvPr id="89" name="Textfeld 12">
            <a:extLst>
              <a:ext uri="{FF2B5EF4-FFF2-40B4-BE49-F238E27FC236}">
                <a16:creationId xmlns:a16="http://schemas.microsoft.com/office/drawing/2014/main" id="{0F483C2F-D756-653E-7C2B-65A8C11E24B9}"/>
              </a:ext>
            </a:extLst>
          </p:cNvPr>
          <p:cNvSpPr txBox="1"/>
          <p:nvPr/>
        </p:nvSpPr>
        <p:spPr>
          <a:xfrm>
            <a:off x="2496540" y="1983102"/>
            <a:ext cx="1332000" cy="400110"/>
          </a:xfrm>
          <a:prstGeom prst="rect">
            <a:avLst/>
          </a:prstGeom>
          <a:noFill/>
          <a:effectLst/>
        </p:spPr>
        <p:txBody>
          <a:bodyPr wrap="square" lIns="0" tIns="0" rIns="0" bIns="0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0" cap="none" spc="0" normalizeH="0" baseline="0" noProof="0" dirty="0">
                <a:ln>
                  <a:noFill/>
                </a:ln>
                <a:solidFill>
                  <a:srgbClr val="BF1528"/>
                </a:solidFill>
                <a:effectLst/>
                <a:uLnTx/>
                <a:uFillTx/>
              </a:rPr>
              <a:t>Increase</a:t>
            </a:r>
            <a:r>
              <a:rPr kumimoji="0" lang="en-GB" sz="1000" b="0" i="0" u="none" strike="noStrike" kern="0" cap="none" spc="0" normalizeH="0" baseline="0" noProof="0" dirty="0">
                <a:ln>
                  <a:noFill/>
                </a:ln>
                <a:solidFill>
                  <a:srgbClr val="0066FF"/>
                </a:solidFill>
                <a:effectLst/>
                <a:uLnTx/>
                <a:uFillTx/>
              </a:rPr>
              <a:t> </a:t>
            </a: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rPr>
              <a:t>net profit contribution of the international portfolio.</a:t>
            </a:r>
          </a:p>
        </p:txBody>
      </p:sp>
      <p:sp>
        <p:nvSpPr>
          <p:cNvPr id="90" name="Textfeld 12">
            <a:extLst>
              <a:ext uri="{FF2B5EF4-FFF2-40B4-BE49-F238E27FC236}">
                <a16:creationId xmlns:a16="http://schemas.microsoft.com/office/drawing/2014/main" id="{AE9D43AE-F9DD-53DE-55D3-64A98388717C}"/>
              </a:ext>
            </a:extLst>
          </p:cNvPr>
          <p:cNvSpPr txBox="1"/>
          <p:nvPr/>
        </p:nvSpPr>
        <p:spPr>
          <a:xfrm>
            <a:off x="2496540" y="3151030"/>
            <a:ext cx="1332000" cy="400110"/>
          </a:xfrm>
          <a:prstGeom prst="rect">
            <a:avLst/>
          </a:prstGeom>
          <a:noFill/>
          <a:effectLst/>
        </p:spPr>
        <p:txBody>
          <a:bodyPr wrap="square" lIns="0" tIns="0" rIns="0" bIns="0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0" cap="none" spc="0" normalizeH="0" baseline="0" noProof="0" dirty="0">
                <a:ln>
                  <a:noFill/>
                </a:ln>
                <a:solidFill>
                  <a:srgbClr val="BF1528"/>
                </a:solidFill>
                <a:effectLst/>
                <a:uLnTx/>
                <a:uFillTx/>
              </a:rPr>
              <a:t>Expand</a:t>
            </a:r>
            <a:r>
              <a:rPr kumimoji="0" lang="en-GB" sz="900" b="0" i="0" u="none" strike="noStrike" kern="0" cap="none" spc="0" normalizeH="0" baseline="0" noProof="0" dirty="0">
                <a:ln>
                  <a:noFill/>
                </a:ln>
                <a:solidFill>
                  <a:srgbClr val="435363"/>
                </a:solidFill>
                <a:effectLst/>
                <a:uLnTx/>
                <a:uFillTx/>
              </a:rPr>
              <a:t> </a:t>
            </a: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rPr>
              <a:t>cross-border synergies and utilization</a:t>
            </a:r>
            <a:b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rPr>
            </a:b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rPr>
              <a:t>of technological solutions.</a:t>
            </a:r>
          </a:p>
        </p:txBody>
      </p:sp>
      <p:sp>
        <p:nvSpPr>
          <p:cNvPr id="91" name="Textfeld 12">
            <a:extLst>
              <a:ext uri="{FF2B5EF4-FFF2-40B4-BE49-F238E27FC236}">
                <a16:creationId xmlns:a16="http://schemas.microsoft.com/office/drawing/2014/main" id="{74E2A7A5-03E6-2D19-5D24-3DDFF28DB8FC}"/>
              </a:ext>
            </a:extLst>
          </p:cNvPr>
          <p:cNvSpPr txBox="1"/>
          <p:nvPr/>
        </p:nvSpPr>
        <p:spPr>
          <a:xfrm>
            <a:off x="3965553" y="3151030"/>
            <a:ext cx="1365231" cy="807913"/>
          </a:xfrm>
          <a:prstGeom prst="rect">
            <a:avLst/>
          </a:prstGeom>
          <a:noFill/>
          <a:effectLst/>
        </p:spPr>
        <p:txBody>
          <a:bodyPr wrap="square" lIns="0" tIns="0" rIns="0" bIns="0" rtlCol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0" cap="none" spc="0" normalizeH="0" baseline="0" noProof="0" dirty="0">
                <a:ln>
                  <a:noFill/>
                </a:ln>
                <a:solidFill>
                  <a:srgbClr val="BF1528"/>
                </a:solidFill>
                <a:effectLst/>
                <a:uLnTx/>
                <a:uFillTx/>
              </a:rPr>
              <a:t>Explore</a:t>
            </a:r>
            <a:r>
              <a:rPr kumimoji="0" lang="en-GB" sz="1000" b="0" i="0" u="none" strike="noStrike" kern="0" cap="none" spc="0" normalizeH="0" baseline="0" noProof="0" dirty="0">
                <a:ln>
                  <a:noFill/>
                </a:ln>
                <a:solidFill>
                  <a:srgbClr val="0066FF"/>
                </a:solidFill>
                <a:effectLst/>
                <a:uLnTx/>
                <a:uFillTx/>
              </a:rPr>
              <a:t> </a:t>
            </a: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rPr>
              <a:t>emerging</a:t>
            </a:r>
            <a:b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rPr>
            </a:b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rPr>
              <a:t>ecosystems in Mobility </a:t>
            </a:r>
            <a:b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rPr>
            </a:b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rPr>
              <a:t>and Travel; enhanced digital footprint in all segments.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rPr>
              <a:t>“Digital first” in all customer- facing applications.</a:t>
            </a:r>
          </a:p>
        </p:txBody>
      </p:sp>
      <p:grpSp>
        <p:nvGrpSpPr>
          <p:cNvPr id="92" name="Gruppieren 7">
            <a:extLst>
              <a:ext uri="{FF2B5EF4-FFF2-40B4-BE49-F238E27FC236}">
                <a16:creationId xmlns:a16="http://schemas.microsoft.com/office/drawing/2014/main" id="{52E87FEC-30D2-2682-596E-794CDBFA8047}"/>
              </a:ext>
            </a:extLst>
          </p:cNvPr>
          <p:cNvGrpSpPr/>
          <p:nvPr/>
        </p:nvGrpSpPr>
        <p:grpSpPr>
          <a:xfrm>
            <a:off x="6727433" y="1495997"/>
            <a:ext cx="596317" cy="662870"/>
            <a:chOff x="6941092" y="2307210"/>
            <a:chExt cx="596317" cy="662870"/>
          </a:xfrm>
        </p:grpSpPr>
        <p:sp>
          <p:nvSpPr>
            <p:cNvPr id="93" name="Textfeld 136">
              <a:extLst>
                <a:ext uri="{FF2B5EF4-FFF2-40B4-BE49-F238E27FC236}">
                  <a16:creationId xmlns:a16="http://schemas.microsoft.com/office/drawing/2014/main" id="{A711F5A3-D144-0931-4262-1F5C1CB9BDED}"/>
                </a:ext>
              </a:extLst>
            </p:cNvPr>
            <p:cNvSpPr txBox="1"/>
            <p:nvPr/>
          </p:nvSpPr>
          <p:spPr>
            <a:xfrm>
              <a:off x="6941092" y="2785414"/>
              <a:ext cx="596317" cy="184666"/>
            </a:xfrm>
            <a:prstGeom prst="rect">
              <a:avLst/>
            </a:prstGeom>
            <a:noFill/>
            <a:effectLst/>
          </p:spPr>
          <p:txBody>
            <a:bodyPr wrap="none" lIns="0" tIns="0" rIns="0" bIns="0" rtlCol="0" anchor="ctr">
              <a:spAutoFit/>
            </a:bodyPr>
            <a:lstStyle>
              <a:defPPr>
                <a:defRPr lang="x-none"/>
              </a:defPPr>
              <a:lvl1pPr algn="ctr">
                <a:lnSpc>
                  <a:spcPct val="110000"/>
                </a:lnSpc>
                <a:defRPr sz="2000">
                  <a:solidFill>
                    <a:schemeClr val="tx2"/>
                  </a:solidFill>
                  <a:latin typeface="MunichRe Medium" pitchFamily="2" charset="0"/>
                </a:defRPr>
              </a:lvl1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BF1528"/>
                  </a:solidFill>
                  <a:effectLst/>
                  <a:uLnTx/>
                  <a:uFillTx/>
                  <a:latin typeface="Arial"/>
                </a:rPr>
                <a:t>Succeed</a:t>
              </a:r>
            </a:p>
          </p:txBody>
        </p:sp>
        <p:sp>
          <p:nvSpPr>
            <p:cNvPr id="94" name="Freihandform: Form 119">
              <a:extLst>
                <a:ext uri="{FF2B5EF4-FFF2-40B4-BE49-F238E27FC236}">
                  <a16:creationId xmlns:a16="http://schemas.microsoft.com/office/drawing/2014/main" id="{ABE751CE-C985-C427-2991-45A3C06EB865}"/>
                </a:ext>
              </a:extLst>
            </p:cNvPr>
            <p:cNvSpPr/>
            <p:nvPr/>
          </p:nvSpPr>
          <p:spPr>
            <a:xfrm>
              <a:off x="7273302" y="2525294"/>
              <a:ext cx="93156" cy="201254"/>
            </a:xfrm>
            <a:custGeom>
              <a:avLst/>
              <a:gdLst>
                <a:gd name="connsiteX0" fmla="*/ 332203 w 526947"/>
                <a:gd name="connsiteY0" fmla="*/ 1138425 h 1138425"/>
                <a:gd name="connsiteX1" fmla="*/ 370589 w 526947"/>
                <a:gd name="connsiteY1" fmla="*/ 1110803 h 1138425"/>
                <a:gd name="connsiteX2" fmla="*/ 345062 w 526947"/>
                <a:gd name="connsiteY2" fmla="*/ 1059749 h 1138425"/>
                <a:gd name="connsiteX3" fmla="*/ 106080 w 526947"/>
                <a:gd name="connsiteY3" fmla="*/ 980120 h 1138425"/>
                <a:gd name="connsiteX4" fmla="*/ 80934 w 526947"/>
                <a:gd name="connsiteY4" fmla="*/ 944020 h 1138425"/>
                <a:gd name="connsiteX5" fmla="*/ 108366 w 526947"/>
                <a:gd name="connsiteY5" fmla="*/ 909539 h 1138425"/>
                <a:gd name="connsiteX6" fmla="*/ 372589 w 526947"/>
                <a:gd name="connsiteY6" fmla="*/ 840007 h 1138425"/>
                <a:gd name="connsiteX7" fmla="*/ 516988 w 526947"/>
                <a:gd name="connsiteY7" fmla="*/ 702942 h 1138425"/>
                <a:gd name="connsiteX8" fmla="*/ 478888 w 526947"/>
                <a:gd name="connsiteY8" fmla="*/ 507489 h 1138425"/>
                <a:gd name="connsiteX9" fmla="*/ 313534 w 526947"/>
                <a:gd name="connsiteY9" fmla="*/ 309179 h 1138425"/>
                <a:gd name="connsiteX10" fmla="*/ 251431 w 526947"/>
                <a:gd name="connsiteY10" fmla="*/ 137729 h 1138425"/>
                <a:gd name="connsiteX11" fmla="*/ 256480 w 526947"/>
                <a:gd name="connsiteY11" fmla="*/ 42574 h 1138425"/>
                <a:gd name="connsiteX12" fmla="*/ 218189 w 526947"/>
                <a:gd name="connsiteY12" fmla="*/ 92 h 1138425"/>
                <a:gd name="connsiteX13" fmla="*/ 175708 w 526947"/>
                <a:gd name="connsiteY13" fmla="*/ 38288 h 1138425"/>
                <a:gd name="connsiteX14" fmla="*/ 170659 w 526947"/>
                <a:gd name="connsiteY14" fmla="*/ 135538 h 1138425"/>
                <a:gd name="connsiteX15" fmla="*/ 251431 w 526947"/>
                <a:gd name="connsiteY15" fmla="*/ 360804 h 1138425"/>
                <a:gd name="connsiteX16" fmla="*/ 416785 w 526947"/>
                <a:gd name="connsiteY16" fmla="*/ 559210 h 1138425"/>
                <a:gd name="connsiteX17" fmla="*/ 440026 w 526947"/>
                <a:gd name="connsiteY17" fmla="*/ 678177 h 1138425"/>
                <a:gd name="connsiteX18" fmla="*/ 352015 w 526947"/>
                <a:gd name="connsiteY18" fmla="*/ 761711 h 1138425"/>
                <a:gd name="connsiteX19" fmla="*/ 87792 w 526947"/>
                <a:gd name="connsiteY19" fmla="*/ 831244 h 1138425"/>
                <a:gd name="connsiteX20" fmla="*/ 67 w 526947"/>
                <a:gd name="connsiteY20" fmla="*/ 941258 h 1138425"/>
                <a:gd name="connsiteX21" fmla="*/ 80458 w 526947"/>
                <a:gd name="connsiteY21" fmla="*/ 1056701 h 1138425"/>
                <a:gd name="connsiteX22" fmla="*/ 319440 w 526947"/>
                <a:gd name="connsiteY22" fmla="*/ 1136330 h 1138425"/>
                <a:gd name="connsiteX23" fmla="*/ 332203 w 526947"/>
                <a:gd name="connsiteY23" fmla="*/ 1138425 h 1138425"/>
                <a:gd name="connsiteX24" fmla="*/ 332203 w 526947"/>
                <a:gd name="connsiteY24" fmla="*/ 1138425 h 11384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526947" h="1138425">
                  <a:moveTo>
                    <a:pt x="332203" y="1138425"/>
                  </a:moveTo>
                  <a:cubicBezTo>
                    <a:pt x="349158" y="1138425"/>
                    <a:pt x="364874" y="1127757"/>
                    <a:pt x="370589" y="1110803"/>
                  </a:cubicBezTo>
                  <a:cubicBezTo>
                    <a:pt x="377638" y="1089562"/>
                    <a:pt x="366208" y="1066702"/>
                    <a:pt x="345062" y="1059749"/>
                  </a:cubicBezTo>
                  <a:lnTo>
                    <a:pt x="106080" y="980120"/>
                  </a:lnTo>
                  <a:cubicBezTo>
                    <a:pt x="81886" y="972023"/>
                    <a:pt x="80648" y="950402"/>
                    <a:pt x="80934" y="944020"/>
                  </a:cubicBezTo>
                  <a:cubicBezTo>
                    <a:pt x="81124" y="937543"/>
                    <a:pt x="83696" y="916016"/>
                    <a:pt x="108366" y="909539"/>
                  </a:cubicBezTo>
                  <a:lnTo>
                    <a:pt x="372589" y="840007"/>
                  </a:lnTo>
                  <a:cubicBezTo>
                    <a:pt x="441360" y="821909"/>
                    <a:pt x="495367" y="770665"/>
                    <a:pt x="516988" y="702942"/>
                  </a:cubicBezTo>
                  <a:cubicBezTo>
                    <a:pt x="538705" y="635219"/>
                    <a:pt x="524418" y="562163"/>
                    <a:pt x="478888" y="507489"/>
                  </a:cubicBezTo>
                  <a:lnTo>
                    <a:pt x="313534" y="309179"/>
                  </a:lnTo>
                  <a:cubicBezTo>
                    <a:pt x="273529" y="261173"/>
                    <a:pt x="251431" y="200213"/>
                    <a:pt x="251431" y="137729"/>
                  </a:cubicBezTo>
                  <a:lnTo>
                    <a:pt x="256480" y="42574"/>
                  </a:lnTo>
                  <a:cubicBezTo>
                    <a:pt x="257623" y="20285"/>
                    <a:pt x="240477" y="1235"/>
                    <a:pt x="218189" y="92"/>
                  </a:cubicBezTo>
                  <a:cubicBezTo>
                    <a:pt x="195329" y="-1432"/>
                    <a:pt x="176851" y="16094"/>
                    <a:pt x="175708" y="38288"/>
                  </a:cubicBezTo>
                  <a:lnTo>
                    <a:pt x="170659" y="135538"/>
                  </a:lnTo>
                  <a:cubicBezTo>
                    <a:pt x="170659" y="219072"/>
                    <a:pt x="199330" y="298320"/>
                    <a:pt x="251431" y="360804"/>
                  </a:cubicBezTo>
                  <a:lnTo>
                    <a:pt x="416785" y="559210"/>
                  </a:lnTo>
                  <a:cubicBezTo>
                    <a:pt x="444503" y="592452"/>
                    <a:pt x="453266" y="636934"/>
                    <a:pt x="440026" y="678177"/>
                  </a:cubicBezTo>
                  <a:cubicBezTo>
                    <a:pt x="426786" y="719420"/>
                    <a:pt x="393925" y="750662"/>
                    <a:pt x="352015" y="761711"/>
                  </a:cubicBezTo>
                  <a:lnTo>
                    <a:pt x="87792" y="831244"/>
                  </a:lnTo>
                  <a:cubicBezTo>
                    <a:pt x="36261" y="844769"/>
                    <a:pt x="1781" y="888013"/>
                    <a:pt x="67" y="941258"/>
                  </a:cubicBezTo>
                  <a:cubicBezTo>
                    <a:pt x="-1648" y="994502"/>
                    <a:pt x="29880" y="1039841"/>
                    <a:pt x="80458" y="1056701"/>
                  </a:cubicBezTo>
                  <a:lnTo>
                    <a:pt x="319440" y="1136330"/>
                  </a:lnTo>
                  <a:cubicBezTo>
                    <a:pt x="323726" y="1137663"/>
                    <a:pt x="328012" y="1138425"/>
                    <a:pt x="332203" y="1138425"/>
                  </a:cubicBezTo>
                  <a:lnTo>
                    <a:pt x="332203" y="1138425"/>
                  </a:lnTo>
                  <a:close/>
                </a:path>
              </a:pathLst>
            </a:custGeom>
            <a:solidFill>
              <a:srgbClr val="BF1528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1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grpSp>
          <p:nvGrpSpPr>
            <p:cNvPr id="95" name="Gruppieren 139">
              <a:extLst>
                <a:ext uri="{FF2B5EF4-FFF2-40B4-BE49-F238E27FC236}">
                  <a16:creationId xmlns:a16="http://schemas.microsoft.com/office/drawing/2014/main" id="{870F3513-A4A2-6C9C-74E3-FBCFF45094A1}"/>
                </a:ext>
              </a:extLst>
            </p:cNvPr>
            <p:cNvGrpSpPr/>
            <p:nvPr/>
          </p:nvGrpSpPr>
          <p:grpSpPr>
            <a:xfrm rot="21372989">
              <a:off x="7176569" y="2307210"/>
              <a:ext cx="145456" cy="167251"/>
              <a:chOff x="3687821" y="3219301"/>
              <a:chExt cx="187471" cy="215563"/>
            </a:xfrm>
            <a:solidFill>
              <a:srgbClr val="BF1528"/>
            </a:solidFill>
          </p:grpSpPr>
          <p:sp>
            <p:nvSpPr>
              <p:cNvPr id="99" name="Freihandform: Form 124">
                <a:extLst>
                  <a:ext uri="{FF2B5EF4-FFF2-40B4-BE49-F238E27FC236}">
                    <a16:creationId xmlns:a16="http://schemas.microsoft.com/office/drawing/2014/main" id="{E0C1D156-EEB8-2B07-5937-766A659BD323}"/>
                  </a:ext>
                </a:extLst>
              </p:cNvPr>
              <p:cNvSpPr/>
              <p:nvPr/>
            </p:nvSpPr>
            <p:spPr>
              <a:xfrm>
                <a:off x="3849965" y="3257370"/>
                <a:ext cx="25327" cy="177494"/>
              </a:xfrm>
              <a:custGeom>
                <a:avLst/>
                <a:gdLst>
                  <a:gd name="connsiteX0" fmla="*/ 6652 w 25327"/>
                  <a:gd name="connsiteY0" fmla="*/ 177494 h 177494"/>
                  <a:gd name="connsiteX1" fmla="*/ 6161 w 25327"/>
                  <a:gd name="connsiteY1" fmla="*/ 177468 h 177494"/>
                  <a:gd name="connsiteX2" fmla="*/ 20 w 25327"/>
                  <a:gd name="connsiteY2" fmla="*/ 170347 h 177494"/>
                  <a:gd name="connsiteX3" fmla="*/ 12044 w 25327"/>
                  <a:gd name="connsiteY3" fmla="*/ 6161 h 177494"/>
                  <a:gd name="connsiteX4" fmla="*/ 19166 w 25327"/>
                  <a:gd name="connsiteY4" fmla="*/ 20 h 177494"/>
                  <a:gd name="connsiteX5" fmla="*/ 25307 w 25327"/>
                  <a:gd name="connsiteY5" fmla="*/ 7142 h 177494"/>
                  <a:gd name="connsiteX6" fmla="*/ 13283 w 25327"/>
                  <a:gd name="connsiteY6" fmla="*/ 171302 h 177494"/>
                  <a:gd name="connsiteX7" fmla="*/ 6652 w 25327"/>
                  <a:gd name="connsiteY7" fmla="*/ 177494 h 1774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5327" h="177494">
                    <a:moveTo>
                      <a:pt x="6652" y="177494"/>
                    </a:moveTo>
                    <a:cubicBezTo>
                      <a:pt x="6497" y="177494"/>
                      <a:pt x="6316" y="177494"/>
                      <a:pt x="6161" y="177468"/>
                    </a:cubicBezTo>
                    <a:cubicBezTo>
                      <a:pt x="2497" y="177210"/>
                      <a:pt x="-264" y="174011"/>
                      <a:pt x="20" y="170347"/>
                    </a:cubicBezTo>
                    <a:lnTo>
                      <a:pt x="12044" y="6161"/>
                    </a:lnTo>
                    <a:cubicBezTo>
                      <a:pt x="12302" y="2497"/>
                      <a:pt x="15425" y="-264"/>
                      <a:pt x="19166" y="20"/>
                    </a:cubicBezTo>
                    <a:cubicBezTo>
                      <a:pt x="22830" y="278"/>
                      <a:pt x="25591" y="3478"/>
                      <a:pt x="25307" y="7142"/>
                    </a:cubicBezTo>
                    <a:lnTo>
                      <a:pt x="13283" y="171302"/>
                    </a:lnTo>
                    <a:cubicBezTo>
                      <a:pt x="13025" y="174837"/>
                      <a:pt x="10109" y="177494"/>
                      <a:pt x="6652" y="177494"/>
                    </a:cubicBezTo>
                    <a:close/>
                  </a:path>
                </a:pathLst>
              </a:custGeom>
              <a:grpFill/>
              <a:ln w="25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1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00" name="Freihandform: Form 125">
                <a:extLst>
                  <a:ext uri="{FF2B5EF4-FFF2-40B4-BE49-F238E27FC236}">
                    <a16:creationId xmlns:a16="http://schemas.microsoft.com/office/drawing/2014/main" id="{465D06EB-8A98-07D8-4FCA-9904E8D85DCA}"/>
                  </a:ext>
                </a:extLst>
              </p:cNvPr>
              <p:cNvSpPr/>
              <p:nvPr/>
            </p:nvSpPr>
            <p:spPr>
              <a:xfrm>
                <a:off x="3740062" y="3254035"/>
                <a:ext cx="135214" cy="97071"/>
              </a:xfrm>
              <a:custGeom>
                <a:avLst/>
                <a:gdLst>
                  <a:gd name="connsiteX0" fmla="*/ 121870 w 135214"/>
                  <a:gd name="connsiteY0" fmla="*/ 97072 h 97071"/>
                  <a:gd name="connsiteX1" fmla="*/ 121638 w 135214"/>
                  <a:gd name="connsiteY1" fmla="*/ 97072 h 97071"/>
                  <a:gd name="connsiteX2" fmla="*/ 6427 w 135214"/>
                  <a:gd name="connsiteY2" fmla="*/ 93072 h 97071"/>
                  <a:gd name="connsiteX3" fmla="*/ 2 w 135214"/>
                  <a:gd name="connsiteY3" fmla="*/ 86234 h 97071"/>
                  <a:gd name="connsiteX4" fmla="*/ 2246 w 135214"/>
                  <a:gd name="connsiteY4" fmla="*/ 6451 h 97071"/>
                  <a:gd name="connsiteX5" fmla="*/ 9084 w 135214"/>
                  <a:gd name="connsiteY5" fmla="*/ 0 h 97071"/>
                  <a:gd name="connsiteX6" fmla="*/ 128760 w 135214"/>
                  <a:gd name="connsiteY6" fmla="*/ 3380 h 97071"/>
                  <a:gd name="connsiteX7" fmla="*/ 135210 w 135214"/>
                  <a:gd name="connsiteY7" fmla="*/ 10218 h 97071"/>
                  <a:gd name="connsiteX8" fmla="*/ 128372 w 135214"/>
                  <a:gd name="connsiteY8" fmla="*/ 16669 h 97071"/>
                  <a:gd name="connsiteX9" fmla="*/ 15354 w 135214"/>
                  <a:gd name="connsiteY9" fmla="*/ 13469 h 97071"/>
                  <a:gd name="connsiteX10" fmla="*/ 13471 w 135214"/>
                  <a:gd name="connsiteY10" fmla="*/ 79990 h 97071"/>
                  <a:gd name="connsiteX11" fmla="*/ 122077 w 135214"/>
                  <a:gd name="connsiteY11" fmla="*/ 83783 h 97071"/>
                  <a:gd name="connsiteX12" fmla="*/ 128476 w 135214"/>
                  <a:gd name="connsiteY12" fmla="*/ 90672 h 97071"/>
                  <a:gd name="connsiteX13" fmla="*/ 121870 w 135214"/>
                  <a:gd name="connsiteY13" fmla="*/ 97072 h 970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35214" h="97071">
                    <a:moveTo>
                      <a:pt x="121870" y="97072"/>
                    </a:moveTo>
                    <a:cubicBezTo>
                      <a:pt x="121792" y="97072"/>
                      <a:pt x="121715" y="97072"/>
                      <a:pt x="121638" y="97072"/>
                    </a:cubicBezTo>
                    <a:lnTo>
                      <a:pt x="6427" y="93072"/>
                    </a:lnTo>
                    <a:cubicBezTo>
                      <a:pt x="2763" y="92943"/>
                      <a:pt x="-76" y="89898"/>
                      <a:pt x="2" y="86234"/>
                    </a:cubicBezTo>
                    <a:lnTo>
                      <a:pt x="2246" y="6451"/>
                    </a:lnTo>
                    <a:cubicBezTo>
                      <a:pt x="2350" y="2787"/>
                      <a:pt x="5368" y="-26"/>
                      <a:pt x="9084" y="0"/>
                    </a:cubicBezTo>
                    <a:lnTo>
                      <a:pt x="128760" y="3380"/>
                    </a:lnTo>
                    <a:cubicBezTo>
                      <a:pt x="132424" y="3484"/>
                      <a:pt x="135339" y="6554"/>
                      <a:pt x="135210" y="10218"/>
                    </a:cubicBezTo>
                    <a:cubicBezTo>
                      <a:pt x="135107" y="13882"/>
                      <a:pt x="132011" y="16772"/>
                      <a:pt x="128372" y="16669"/>
                    </a:cubicBezTo>
                    <a:lnTo>
                      <a:pt x="15354" y="13469"/>
                    </a:lnTo>
                    <a:lnTo>
                      <a:pt x="13471" y="79990"/>
                    </a:lnTo>
                    <a:lnTo>
                      <a:pt x="122077" y="83783"/>
                    </a:lnTo>
                    <a:cubicBezTo>
                      <a:pt x="125740" y="83912"/>
                      <a:pt x="128605" y="86983"/>
                      <a:pt x="128476" y="90672"/>
                    </a:cubicBezTo>
                    <a:cubicBezTo>
                      <a:pt x="128372" y="94259"/>
                      <a:pt x="125431" y="97072"/>
                      <a:pt x="121870" y="97072"/>
                    </a:cubicBezTo>
                    <a:close/>
                  </a:path>
                </a:pathLst>
              </a:custGeom>
              <a:grpFill/>
              <a:ln w="25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1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01" name="Freihandform: Form 126">
                <a:extLst>
                  <a:ext uri="{FF2B5EF4-FFF2-40B4-BE49-F238E27FC236}">
                    <a16:creationId xmlns:a16="http://schemas.microsoft.com/office/drawing/2014/main" id="{D0A097EB-F76C-B56E-46B3-5295BC560C4D}"/>
                  </a:ext>
                </a:extLst>
              </p:cNvPr>
              <p:cNvSpPr/>
              <p:nvPr/>
            </p:nvSpPr>
            <p:spPr>
              <a:xfrm>
                <a:off x="3687821" y="3219301"/>
                <a:ext cx="101993" cy="94675"/>
              </a:xfrm>
              <a:custGeom>
                <a:avLst/>
                <a:gdLst>
                  <a:gd name="connsiteX0" fmla="*/ 57429 w 101993"/>
                  <a:gd name="connsiteY0" fmla="*/ 94676 h 94675"/>
                  <a:gd name="connsiteX1" fmla="*/ 57223 w 101993"/>
                  <a:gd name="connsiteY1" fmla="*/ 94676 h 94675"/>
                  <a:gd name="connsiteX2" fmla="*/ 6442 w 101993"/>
                  <a:gd name="connsiteY2" fmla="*/ 93076 h 94675"/>
                  <a:gd name="connsiteX3" fmla="*/ 894 w 101993"/>
                  <a:gd name="connsiteY3" fmla="*/ 89747 h 94675"/>
                  <a:gd name="connsiteX4" fmla="*/ 791 w 101993"/>
                  <a:gd name="connsiteY4" fmla="*/ 83296 h 94675"/>
                  <a:gd name="connsiteX5" fmla="*/ 20298 w 101993"/>
                  <a:gd name="connsiteY5" fmla="*/ 46888 h 94675"/>
                  <a:gd name="connsiteX6" fmla="*/ 2881 w 101993"/>
                  <a:gd name="connsiteY6" fmla="*/ 9448 h 94675"/>
                  <a:gd name="connsiteX7" fmla="*/ 3346 w 101993"/>
                  <a:gd name="connsiteY7" fmla="*/ 2997 h 94675"/>
                  <a:gd name="connsiteX8" fmla="*/ 9100 w 101993"/>
                  <a:gd name="connsiteY8" fmla="*/ 4 h 94675"/>
                  <a:gd name="connsiteX9" fmla="*/ 95540 w 101993"/>
                  <a:gd name="connsiteY9" fmla="*/ 2429 h 94675"/>
                  <a:gd name="connsiteX10" fmla="*/ 100185 w 101993"/>
                  <a:gd name="connsiteY10" fmla="*/ 4519 h 94675"/>
                  <a:gd name="connsiteX11" fmla="*/ 101991 w 101993"/>
                  <a:gd name="connsiteY11" fmla="*/ 9267 h 94675"/>
                  <a:gd name="connsiteX12" fmla="*/ 101088 w 101993"/>
                  <a:gd name="connsiteY12" fmla="*/ 41702 h 94675"/>
                  <a:gd name="connsiteX13" fmla="*/ 94250 w 101993"/>
                  <a:gd name="connsiteY13" fmla="*/ 48152 h 94675"/>
                  <a:gd name="connsiteX14" fmla="*/ 87799 w 101993"/>
                  <a:gd name="connsiteY14" fmla="*/ 41315 h 94675"/>
                  <a:gd name="connsiteX15" fmla="*/ 88522 w 101993"/>
                  <a:gd name="connsiteY15" fmla="*/ 15537 h 94675"/>
                  <a:gd name="connsiteX16" fmla="*/ 19498 w 101993"/>
                  <a:gd name="connsiteY16" fmla="*/ 13602 h 94675"/>
                  <a:gd name="connsiteX17" fmla="*/ 33793 w 101993"/>
                  <a:gd name="connsiteY17" fmla="*/ 44308 h 94675"/>
                  <a:gd name="connsiteX18" fmla="*/ 33638 w 101993"/>
                  <a:gd name="connsiteY18" fmla="*/ 50242 h 94675"/>
                  <a:gd name="connsiteX19" fmla="*/ 17640 w 101993"/>
                  <a:gd name="connsiteY19" fmla="*/ 80123 h 94675"/>
                  <a:gd name="connsiteX20" fmla="*/ 57713 w 101993"/>
                  <a:gd name="connsiteY20" fmla="*/ 81387 h 94675"/>
                  <a:gd name="connsiteX21" fmla="*/ 64138 w 101993"/>
                  <a:gd name="connsiteY21" fmla="*/ 88251 h 94675"/>
                  <a:gd name="connsiteX22" fmla="*/ 57429 w 101993"/>
                  <a:gd name="connsiteY22" fmla="*/ 94676 h 946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101993" h="94675">
                    <a:moveTo>
                      <a:pt x="57429" y="94676"/>
                    </a:moveTo>
                    <a:cubicBezTo>
                      <a:pt x="57351" y="94676"/>
                      <a:pt x="57274" y="94676"/>
                      <a:pt x="57223" y="94676"/>
                    </a:cubicBezTo>
                    <a:lnTo>
                      <a:pt x="6442" y="93076"/>
                    </a:lnTo>
                    <a:cubicBezTo>
                      <a:pt x="4145" y="92998"/>
                      <a:pt x="2030" y="91760"/>
                      <a:pt x="894" y="89747"/>
                    </a:cubicBezTo>
                    <a:cubicBezTo>
                      <a:pt x="-267" y="87760"/>
                      <a:pt x="-293" y="85309"/>
                      <a:pt x="791" y="83296"/>
                    </a:cubicBezTo>
                    <a:lnTo>
                      <a:pt x="20298" y="46888"/>
                    </a:lnTo>
                    <a:lnTo>
                      <a:pt x="2881" y="9448"/>
                    </a:lnTo>
                    <a:cubicBezTo>
                      <a:pt x="1900" y="7358"/>
                      <a:pt x="2081" y="4906"/>
                      <a:pt x="3346" y="2997"/>
                    </a:cubicBezTo>
                    <a:cubicBezTo>
                      <a:pt x="4610" y="1062"/>
                      <a:pt x="6777" y="-74"/>
                      <a:pt x="9100" y="4"/>
                    </a:cubicBezTo>
                    <a:lnTo>
                      <a:pt x="95540" y="2429"/>
                    </a:lnTo>
                    <a:cubicBezTo>
                      <a:pt x="97295" y="2481"/>
                      <a:pt x="98972" y="3229"/>
                      <a:pt x="100185" y="4519"/>
                    </a:cubicBezTo>
                    <a:cubicBezTo>
                      <a:pt x="101398" y="5809"/>
                      <a:pt x="102043" y="7512"/>
                      <a:pt x="101991" y="9267"/>
                    </a:cubicBezTo>
                    <a:lnTo>
                      <a:pt x="101088" y="41702"/>
                    </a:lnTo>
                    <a:cubicBezTo>
                      <a:pt x="100985" y="45366"/>
                      <a:pt x="97811" y="48230"/>
                      <a:pt x="94250" y="48152"/>
                    </a:cubicBezTo>
                    <a:cubicBezTo>
                      <a:pt x="90586" y="48049"/>
                      <a:pt x="87670" y="44979"/>
                      <a:pt x="87799" y="41315"/>
                    </a:cubicBezTo>
                    <a:lnTo>
                      <a:pt x="88522" y="15537"/>
                    </a:lnTo>
                    <a:lnTo>
                      <a:pt x="19498" y="13602"/>
                    </a:lnTo>
                    <a:lnTo>
                      <a:pt x="33793" y="44308"/>
                    </a:lnTo>
                    <a:cubicBezTo>
                      <a:pt x="34671" y="46217"/>
                      <a:pt x="34619" y="48411"/>
                      <a:pt x="33638" y="50242"/>
                    </a:cubicBezTo>
                    <a:lnTo>
                      <a:pt x="17640" y="80123"/>
                    </a:lnTo>
                    <a:lnTo>
                      <a:pt x="57713" y="81387"/>
                    </a:lnTo>
                    <a:cubicBezTo>
                      <a:pt x="61377" y="81490"/>
                      <a:pt x="64267" y="84561"/>
                      <a:pt x="64138" y="88251"/>
                    </a:cubicBezTo>
                    <a:cubicBezTo>
                      <a:pt x="63957" y="91837"/>
                      <a:pt x="61016" y="94676"/>
                      <a:pt x="57429" y="94676"/>
                    </a:cubicBezTo>
                    <a:close/>
                  </a:path>
                </a:pathLst>
              </a:custGeom>
              <a:grpFill/>
              <a:ln w="25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1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02" name="Freihandform: Form 127">
                <a:extLst>
                  <a:ext uri="{FF2B5EF4-FFF2-40B4-BE49-F238E27FC236}">
                    <a16:creationId xmlns:a16="http://schemas.microsoft.com/office/drawing/2014/main" id="{A9DE213B-5C0F-41C4-D70E-4ED39F14B8DE}"/>
                  </a:ext>
                </a:extLst>
              </p:cNvPr>
              <p:cNvSpPr/>
              <p:nvPr/>
            </p:nvSpPr>
            <p:spPr>
              <a:xfrm>
                <a:off x="3742322" y="3221708"/>
                <a:ext cx="47476" cy="45615"/>
              </a:xfrm>
              <a:custGeom>
                <a:avLst/>
                <a:gdLst>
                  <a:gd name="connsiteX0" fmla="*/ 6644 w 47476"/>
                  <a:gd name="connsiteY0" fmla="*/ 45616 h 45615"/>
                  <a:gd name="connsiteX1" fmla="*/ 1818 w 47476"/>
                  <a:gd name="connsiteY1" fmla="*/ 43526 h 45615"/>
                  <a:gd name="connsiteX2" fmla="*/ 2077 w 47476"/>
                  <a:gd name="connsiteY2" fmla="*/ 34133 h 45615"/>
                  <a:gd name="connsiteX3" fmla="*/ 36266 w 47476"/>
                  <a:gd name="connsiteY3" fmla="*/ 1828 h 45615"/>
                  <a:gd name="connsiteX4" fmla="*/ 45658 w 47476"/>
                  <a:gd name="connsiteY4" fmla="*/ 2086 h 45615"/>
                  <a:gd name="connsiteX5" fmla="*/ 45400 w 47476"/>
                  <a:gd name="connsiteY5" fmla="*/ 11478 h 45615"/>
                  <a:gd name="connsiteX6" fmla="*/ 11211 w 47476"/>
                  <a:gd name="connsiteY6" fmla="*/ 43784 h 45615"/>
                  <a:gd name="connsiteX7" fmla="*/ 6644 w 47476"/>
                  <a:gd name="connsiteY7" fmla="*/ 45616 h 456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7476" h="45615">
                    <a:moveTo>
                      <a:pt x="6644" y="45616"/>
                    </a:moveTo>
                    <a:cubicBezTo>
                      <a:pt x="4889" y="45616"/>
                      <a:pt x="3109" y="44919"/>
                      <a:pt x="1818" y="43526"/>
                    </a:cubicBezTo>
                    <a:cubicBezTo>
                      <a:pt x="-710" y="40868"/>
                      <a:pt x="-581" y="36636"/>
                      <a:pt x="2077" y="34133"/>
                    </a:cubicBezTo>
                    <a:lnTo>
                      <a:pt x="36266" y="1828"/>
                    </a:lnTo>
                    <a:cubicBezTo>
                      <a:pt x="38923" y="-701"/>
                      <a:pt x="43155" y="-598"/>
                      <a:pt x="45658" y="2086"/>
                    </a:cubicBezTo>
                    <a:cubicBezTo>
                      <a:pt x="48187" y="4744"/>
                      <a:pt x="48058" y="8975"/>
                      <a:pt x="45400" y="11478"/>
                    </a:cubicBezTo>
                    <a:lnTo>
                      <a:pt x="11211" y="43784"/>
                    </a:lnTo>
                    <a:cubicBezTo>
                      <a:pt x="9921" y="45022"/>
                      <a:pt x="8295" y="45616"/>
                      <a:pt x="6644" y="45616"/>
                    </a:cubicBezTo>
                    <a:close/>
                  </a:path>
                </a:pathLst>
              </a:custGeom>
              <a:grpFill/>
              <a:ln w="25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1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</p:grpSp>
        <p:grpSp>
          <p:nvGrpSpPr>
            <p:cNvPr id="96" name="Gruppieren 140">
              <a:extLst>
                <a:ext uri="{FF2B5EF4-FFF2-40B4-BE49-F238E27FC236}">
                  <a16:creationId xmlns:a16="http://schemas.microsoft.com/office/drawing/2014/main" id="{BBBC9BE5-229A-4795-D0F5-274FE7F1CB8A}"/>
                </a:ext>
              </a:extLst>
            </p:cNvPr>
            <p:cNvGrpSpPr/>
            <p:nvPr/>
          </p:nvGrpSpPr>
          <p:grpSpPr>
            <a:xfrm>
              <a:off x="6975052" y="2462251"/>
              <a:ext cx="528397" cy="280057"/>
              <a:chOff x="6395920" y="1517065"/>
              <a:chExt cx="725252" cy="384392"/>
            </a:xfrm>
          </p:grpSpPr>
          <p:sp>
            <p:nvSpPr>
              <p:cNvPr id="97" name="Freihandform: Form 122">
                <a:extLst>
                  <a:ext uri="{FF2B5EF4-FFF2-40B4-BE49-F238E27FC236}">
                    <a16:creationId xmlns:a16="http://schemas.microsoft.com/office/drawing/2014/main" id="{999CADED-49BA-B95E-B995-7AEC7ED676CD}"/>
                  </a:ext>
                </a:extLst>
              </p:cNvPr>
              <p:cNvSpPr/>
              <p:nvPr/>
            </p:nvSpPr>
            <p:spPr>
              <a:xfrm>
                <a:off x="6593659" y="1517065"/>
                <a:ext cx="527513" cy="384392"/>
              </a:xfrm>
              <a:custGeom>
                <a:avLst/>
                <a:gdLst>
                  <a:gd name="connsiteX0" fmla="*/ 40402 w 2174033"/>
                  <a:gd name="connsiteY0" fmla="*/ 1584198 h 1584197"/>
                  <a:gd name="connsiteX1" fmla="*/ 73549 w 2174033"/>
                  <a:gd name="connsiteY1" fmla="*/ 1567053 h 1584197"/>
                  <a:gd name="connsiteX2" fmla="*/ 1095962 w 2174033"/>
                  <a:gd name="connsiteY2" fmla="*/ 110871 h 1584197"/>
                  <a:gd name="connsiteX3" fmla="*/ 2100469 w 2174033"/>
                  <a:gd name="connsiteY3" fmla="*/ 1548955 h 1584197"/>
                  <a:gd name="connsiteX4" fmla="*/ 2156761 w 2174033"/>
                  <a:gd name="connsiteY4" fmla="*/ 1558957 h 1584197"/>
                  <a:gd name="connsiteX5" fmla="*/ 2166763 w 2174033"/>
                  <a:gd name="connsiteY5" fmla="*/ 1502759 h 1584197"/>
                  <a:gd name="connsiteX6" fmla="*/ 1129109 w 2174033"/>
                  <a:gd name="connsiteY6" fmla="*/ 17240 h 1584197"/>
                  <a:gd name="connsiteX7" fmla="*/ 1096057 w 2174033"/>
                  <a:gd name="connsiteY7" fmla="*/ 0 h 1584197"/>
                  <a:gd name="connsiteX8" fmla="*/ 1096057 w 2174033"/>
                  <a:gd name="connsiteY8" fmla="*/ 0 h 1584197"/>
                  <a:gd name="connsiteX9" fmla="*/ 1063006 w 2174033"/>
                  <a:gd name="connsiteY9" fmla="*/ 17240 h 1584197"/>
                  <a:gd name="connsiteX10" fmla="*/ 7350 w 2174033"/>
                  <a:gd name="connsiteY10" fmla="*/ 1520571 h 1584197"/>
                  <a:gd name="connsiteX11" fmla="*/ 17161 w 2174033"/>
                  <a:gd name="connsiteY11" fmla="*/ 1576769 h 1584197"/>
                  <a:gd name="connsiteX12" fmla="*/ 40402 w 2174033"/>
                  <a:gd name="connsiteY12" fmla="*/ 1584198 h 1584197"/>
                  <a:gd name="connsiteX13" fmla="*/ 40402 w 2174033"/>
                  <a:gd name="connsiteY13" fmla="*/ 1584198 h 15841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174033" h="1584197">
                    <a:moveTo>
                      <a:pt x="40402" y="1584198"/>
                    </a:moveTo>
                    <a:cubicBezTo>
                      <a:pt x="53165" y="1584198"/>
                      <a:pt x="65643" y="1578197"/>
                      <a:pt x="73549" y="1567053"/>
                    </a:cubicBezTo>
                    <a:lnTo>
                      <a:pt x="1095962" y="110871"/>
                    </a:lnTo>
                    <a:lnTo>
                      <a:pt x="2100469" y="1548955"/>
                    </a:lnTo>
                    <a:cubicBezTo>
                      <a:pt x="2113327" y="1567244"/>
                      <a:pt x="2138474" y="1571625"/>
                      <a:pt x="2156761" y="1558957"/>
                    </a:cubicBezTo>
                    <a:cubicBezTo>
                      <a:pt x="2175049" y="1546193"/>
                      <a:pt x="2179526" y="1520952"/>
                      <a:pt x="2166763" y="1502759"/>
                    </a:cubicBezTo>
                    <a:lnTo>
                      <a:pt x="1129109" y="17240"/>
                    </a:lnTo>
                    <a:cubicBezTo>
                      <a:pt x="1121584" y="6477"/>
                      <a:pt x="1109202" y="0"/>
                      <a:pt x="1096057" y="0"/>
                    </a:cubicBezTo>
                    <a:lnTo>
                      <a:pt x="1096057" y="0"/>
                    </a:lnTo>
                    <a:cubicBezTo>
                      <a:pt x="1082913" y="0"/>
                      <a:pt x="1070530" y="6477"/>
                      <a:pt x="1063006" y="17240"/>
                    </a:cubicBezTo>
                    <a:lnTo>
                      <a:pt x="7350" y="1520571"/>
                    </a:lnTo>
                    <a:cubicBezTo>
                      <a:pt x="-5509" y="1538859"/>
                      <a:pt x="-1032" y="1564005"/>
                      <a:pt x="17161" y="1576769"/>
                    </a:cubicBezTo>
                    <a:cubicBezTo>
                      <a:pt x="24304" y="1581817"/>
                      <a:pt x="32401" y="1584198"/>
                      <a:pt x="40402" y="1584198"/>
                    </a:cubicBezTo>
                    <a:lnTo>
                      <a:pt x="40402" y="1584198"/>
                    </a:lnTo>
                    <a:close/>
                  </a:path>
                </a:pathLst>
              </a:custGeom>
              <a:solidFill>
                <a:srgbClr val="4D4E53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1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98" name="Freihandform: Form 123">
                <a:extLst>
                  <a:ext uri="{FF2B5EF4-FFF2-40B4-BE49-F238E27FC236}">
                    <a16:creationId xmlns:a16="http://schemas.microsoft.com/office/drawing/2014/main" id="{CD771F8B-F1D3-A475-07FA-5E4F5590D214}"/>
                  </a:ext>
                </a:extLst>
              </p:cNvPr>
              <p:cNvSpPr/>
              <p:nvPr/>
            </p:nvSpPr>
            <p:spPr>
              <a:xfrm>
                <a:off x="6395920" y="1620778"/>
                <a:ext cx="321456" cy="237691"/>
              </a:xfrm>
              <a:custGeom>
                <a:avLst/>
                <a:gdLst>
                  <a:gd name="connsiteX0" fmla="*/ 40385 w 1324812"/>
                  <a:gd name="connsiteY0" fmla="*/ 979590 h 979589"/>
                  <a:gd name="connsiteX1" fmla="*/ 71055 w 1324812"/>
                  <a:gd name="connsiteY1" fmla="*/ 965493 h 979589"/>
                  <a:gd name="connsiteX2" fmla="*/ 812957 w 1324812"/>
                  <a:gd name="connsiteY2" fmla="*/ 99004 h 979589"/>
                  <a:gd name="connsiteX3" fmla="*/ 1256632 w 1324812"/>
                  <a:gd name="connsiteY3" fmla="*/ 519247 h 979589"/>
                  <a:gd name="connsiteX4" fmla="*/ 1313782 w 1324812"/>
                  <a:gd name="connsiteY4" fmla="*/ 517627 h 979589"/>
                  <a:gd name="connsiteX5" fmla="*/ 1312163 w 1324812"/>
                  <a:gd name="connsiteY5" fmla="*/ 460477 h 979589"/>
                  <a:gd name="connsiteX6" fmla="*/ 837722 w 1324812"/>
                  <a:gd name="connsiteY6" fmla="*/ 11088 h 979589"/>
                  <a:gd name="connsiteX7" fmla="*/ 807909 w 1324812"/>
                  <a:gd name="connsiteY7" fmla="*/ 39 h 979589"/>
                  <a:gd name="connsiteX8" fmla="*/ 779334 w 1324812"/>
                  <a:gd name="connsiteY8" fmla="*/ 14136 h 979589"/>
                  <a:gd name="connsiteX9" fmla="*/ 9714 w 1324812"/>
                  <a:gd name="connsiteY9" fmla="*/ 912915 h 979589"/>
                  <a:gd name="connsiteX10" fmla="*/ 14096 w 1324812"/>
                  <a:gd name="connsiteY10" fmla="*/ 969875 h 979589"/>
                  <a:gd name="connsiteX11" fmla="*/ 40385 w 1324812"/>
                  <a:gd name="connsiteY11" fmla="*/ 979590 h 979589"/>
                  <a:gd name="connsiteX12" fmla="*/ 40385 w 1324812"/>
                  <a:gd name="connsiteY12" fmla="*/ 979590 h 9795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324812" h="979589">
                    <a:moveTo>
                      <a:pt x="40385" y="979590"/>
                    </a:moveTo>
                    <a:cubicBezTo>
                      <a:pt x="51719" y="979590"/>
                      <a:pt x="63054" y="974827"/>
                      <a:pt x="71055" y="965493"/>
                    </a:cubicBezTo>
                    <a:lnTo>
                      <a:pt x="812957" y="99004"/>
                    </a:lnTo>
                    <a:lnTo>
                      <a:pt x="1256632" y="519247"/>
                    </a:lnTo>
                    <a:cubicBezTo>
                      <a:pt x="1272825" y="534582"/>
                      <a:pt x="1298351" y="533915"/>
                      <a:pt x="1313782" y="517627"/>
                    </a:cubicBezTo>
                    <a:cubicBezTo>
                      <a:pt x="1329117" y="501435"/>
                      <a:pt x="1328355" y="475813"/>
                      <a:pt x="1312163" y="460477"/>
                    </a:cubicBezTo>
                    <a:lnTo>
                      <a:pt x="837722" y="11088"/>
                    </a:lnTo>
                    <a:cubicBezTo>
                      <a:pt x="829721" y="3468"/>
                      <a:pt x="818387" y="-437"/>
                      <a:pt x="807909" y="39"/>
                    </a:cubicBezTo>
                    <a:cubicBezTo>
                      <a:pt x="796860" y="610"/>
                      <a:pt x="786573" y="5754"/>
                      <a:pt x="779334" y="14136"/>
                    </a:cubicBezTo>
                    <a:lnTo>
                      <a:pt x="9714" y="912915"/>
                    </a:lnTo>
                    <a:cubicBezTo>
                      <a:pt x="-4764" y="929869"/>
                      <a:pt x="-2859" y="955396"/>
                      <a:pt x="14096" y="969875"/>
                    </a:cubicBezTo>
                    <a:cubicBezTo>
                      <a:pt x="21716" y="976351"/>
                      <a:pt x="31050" y="979590"/>
                      <a:pt x="40385" y="979590"/>
                    </a:cubicBezTo>
                    <a:lnTo>
                      <a:pt x="40385" y="979590"/>
                    </a:lnTo>
                    <a:close/>
                  </a:path>
                </a:pathLst>
              </a:custGeom>
              <a:solidFill>
                <a:srgbClr val="4D4E53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1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1316752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1A6A978A-E65B-DC67-6740-5ABB58A2C05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899653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5" imgH="426" progId="TCLayout.ActiveDocument.1">
                  <p:embed/>
                </p:oleObj>
              </mc:Choice>
              <mc:Fallback>
                <p:oleObj name="think-cell Folie" r:id="rId4" imgW="425" imgH="42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1A6A978A-E65B-DC67-6740-5ABB58A2C05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FDFE70A-A851-830B-B70B-96D334E362F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4B183E2-4D59-4B30-B688-4EE1869878F2}" type="datetime4">
              <a:rPr lang="en-GB" noProof="0" smtClean="0"/>
              <a:pPr/>
              <a:t>14 March 2024</a:t>
            </a:fld>
            <a:endParaRPr lang="en-GB" noProof="0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22DF4CD-80EB-9199-B899-9FA2E996762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94909C6-CC71-4962-A18E-AF0515723D95}" type="slidenum">
              <a:rPr lang="en-GB" noProof="0" smtClean="0"/>
              <a:pPr/>
              <a:t>14</a:t>
            </a:fld>
            <a:endParaRPr lang="en-GB" noProof="0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6BBEB53-973A-69D6-041B-57D44C4055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GB" noProof="0" dirty="0"/>
              <a:t>Munich Re Group – Company Presentation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108A6CCA-BB9F-76AC-65A3-74B18AD4E3B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>
                <a:solidFill>
                  <a:srgbClr val="9CB40D"/>
                </a:solidFill>
              </a:rPr>
              <a:t>MEAG Munich ERGO Asset Management GmbH</a:t>
            </a:r>
            <a:br>
              <a:rPr lang="en-GB" dirty="0">
                <a:solidFill>
                  <a:srgbClr val="9CB40D"/>
                </a:solidFill>
              </a:rPr>
            </a:br>
            <a:r>
              <a:rPr lang="en-GB" sz="1400" dirty="0">
                <a:solidFill>
                  <a:schemeClr val="tx2"/>
                </a:solidFill>
              </a:rPr>
              <a:t>One of the most important players in the international asset management</a:t>
            </a:r>
            <a:endParaRPr lang="en-GB" sz="1600" dirty="0">
              <a:solidFill>
                <a:schemeClr val="tx2"/>
              </a:solidFill>
            </a:endParaRPr>
          </a:p>
        </p:txBody>
      </p:sp>
      <p:sp>
        <p:nvSpPr>
          <p:cNvPr id="8" name="Rechteck 18">
            <a:extLst>
              <a:ext uri="{FF2B5EF4-FFF2-40B4-BE49-F238E27FC236}">
                <a16:creationId xmlns:a16="http://schemas.microsoft.com/office/drawing/2014/main" id="{4A68F924-D42A-276E-6F58-EE1F45D9BA09}"/>
              </a:ext>
            </a:extLst>
          </p:cNvPr>
          <p:cNvSpPr/>
          <p:nvPr/>
        </p:nvSpPr>
        <p:spPr>
          <a:xfrm>
            <a:off x="0" y="3038400"/>
            <a:ext cx="2986414" cy="1821600"/>
          </a:xfrm>
          <a:prstGeom prst="rect">
            <a:avLst/>
          </a:prstGeom>
          <a:solidFill>
            <a:srgbClr val="9CB40D">
              <a:alpha val="1000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52000" tIns="108000" rIns="108000" bIns="108000" rtlCol="0" anchor="t" anchorCtr="0"/>
          <a:lstStyle>
            <a:defPPr>
              <a:defRPr lang="x-none"/>
            </a:defPPr>
            <a:lvl1pPr marL="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6858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-1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t>Offices in </a:t>
            </a:r>
            <a:r>
              <a:rPr kumimoji="0" lang="en-GB" sz="1200" b="1" i="0" u="none" strike="noStrike" kern="1200" cap="none" spc="-10" normalizeH="0" baseline="0" noProof="0" dirty="0">
                <a:ln>
                  <a:noFill/>
                </a:ln>
                <a:solidFill>
                  <a:srgbClr val="9CB40D"/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t>Europe</a:t>
            </a:r>
            <a:r>
              <a:rPr kumimoji="0" lang="en-GB" sz="1200" b="0" i="0" u="none" strike="noStrike" kern="1200" cap="none" spc="-1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t>,</a:t>
            </a:r>
            <a:r>
              <a:rPr kumimoji="0" lang="en-GB" sz="1200" b="0" i="0" u="none" strike="noStrike" kern="1200" cap="none" spc="-10" normalizeH="0" baseline="0" noProof="0" dirty="0">
                <a:ln>
                  <a:noFill/>
                </a:ln>
                <a:solidFill>
                  <a:srgbClr val="4D4E53"/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t> </a:t>
            </a:r>
            <a:r>
              <a:rPr kumimoji="0" lang="en-GB" sz="1200" b="1" i="0" u="none" strike="noStrike" kern="1200" cap="none" spc="-10" normalizeH="0" baseline="0" noProof="0" dirty="0">
                <a:ln>
                  <a:noFill/>
                </a:ln>
                <a:solidFill>
                  <a:srgbClr val="9CB40D"/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t>Asia</a:t>
            </a:r>
            <a:br>
              <a:rPr kumimoji="0" lang="en-GB" sz="1200" b="1" i="0" u="none" strike="noStrike" kern="1200" cap="none" spc="-10" normalizeH="0" baseline="0" noProof="0" dirty="0">
                <a:ln>
                  <a:noFill/>
                </a:ln>
                <a:solidFill>
                  <a:srgbClr val="4D4E53"/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</a:br>
            <a:r>
              <a:rPr kumimoji="0" lang="en-GB" sz="1200" b="0" i="0" u="none" strike="noStrike" kern="1200" cap="none" spc="-1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t>and</a:t>
            </a:r>
            <a:r>
              <a:rPr kumimoji="0" lang="en-GB" sz="1200" b="0" i="0" u="none" strike="noStrike" kern="1200" cap="none" spc="-10" normalizeH="0" baseline="0" noProof="0" dirty="0">
                <a:ln>
                  <a:noFill/>
                </a:ln>
                <a:solidFill>
                  <a:srgbClr val="4D4E53"/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t> </a:t>
            </a:r>
            <a:r>
              <a:rPr kumimoji="0" lang="en-GB" sz="1200" b="1" i="0" u="none" strike="noStrike" kern="1200" cap="none" spc="-10" normalizeH="0" baseline="0" noProof="0" dirty="0">
                <a:ln>
                  <a:noFill/>
                </a:ln>
                <a:solidFill>
                  <a:srgbClr val="9CB40D"/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t>North</a:t>
            </a:r>
            <a:r>
              <a:rPr kumimoji="0" lang="en-GB" sz="1200" b="1" i="0" u="none" strike="noStrike" kern="1200" cap="none" spc="-10" normalizeH="0" baseline="0" noProof="0" dirty="0">
                <a:ln>
                  <a:noFill/>
                </a:ln>
                <a:solidFill>
                  <a:srgbClr val="00975D"/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t> </a:t>
            </a:r>
            <a:r>
              <a:rPr kumimoji="0" lang="en-GB" sz="1200" b="1" i="0" u="none" strike="noStrike" kern="1200" cap="none" spc="-10" normalizeH="0" baseline="0" noProof="0" dirty="0">
                <a:ln>
                  <a:noFill/>
                </a:ln>
                <a:solidFill>
                  <a:srgbClr val="9CB40D"/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t>America</a:t>
            </a:r>
            <a:r>
              <a:rPr kumimoji="0" lang="en-GB" sz="1200" b="0" i="0" u="none" strike="noStrike" kern="1200" cap="none" spc="-1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t>.</a:t>
            </a:r>
          </a:p>
        </p:txBody>
      </p:sp>
      <p:sp>
        <p:nvSpPr>
          <p:cNvPr id="10" name="Rechteck 18">
            <a:extLst>
              <a:ext uri="{FF2B5EF4-FFF2-40B4-BE49-F238E27FC236}">
                <a16:creationId xmlns:a16="http://schemas.microsoft.com/office/drawing/2014/main" id="{B466DC94-B102-5425-C14D-D20081421D26}"/>
              </a:ext>
            </a:extLst>
          </p:cNvPr>
          <p:cNvSpPr/>
          <p:nvPr/>
        </p:nvSpPr>
        <p:spPr>
          <a:xfrm>
            <a:off x="3078793" y="3038400"/>
            <a:ext cx="2986414" cy="1821600"/>
          </a:xfrm>
          <a:prstGeom prst="rect">
            <a:avLst/>
          </a:prstGeom>
          <a:solidFill>
            <a:srgbClr val="9CB40D">
              <a:alpha val="1000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t" anchorCtr="0"/>
          <a:lstStyle>
            <a:defPPr>
              <a:defRPr lang="x-none"/>
            </a:defPPr>
            <a:lvl1pPr marL="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6858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-1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t>Investment in </a:t>
            </a:r>
            <a:r>
              <a:rPr kumimoji="0" lang="en-GB" sz="1200" b="1" i="0" u="none" strike="noStrike" kern="1200" cap="none" spc="-10" normalizeH="0" baseline="0" noProof="0" dirty="0">
                <a:ln>
                  <a:noFill/>
                </a:ln>
                <a:solidFill>
                  <a:srgbClr val="9CB40D"/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t>all</a:t>
            </a:r>
            <a:r>
              <a:rPr kumimoji="0" lang="en-GB" sz="1200" b="1" i="0" u="none" strike="noStrike" kern="1200" cap="none" spc="-10" normalizeH="0" baseline="0" noProof="0" dirty="0">
                <a:ln>
                  <a:noFill/>
                </a:ln>
                <a:solidFill>
                  <a:srgbClr val="00975D"/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t> </a:t>
            </a:r>
            <a:r>
              <a:rPr kumimoji="0" lang="en-GB" sz="1200" b="1" i="0" u="none" strike="noStrike" kern="1200" cap="none" spc="-10" normalizeH="0" baseline="0" noProof="0" dirty="0">
                <a:ln>
                  <a:noFill/>
                </a:ln>
                <a:solidFill>
                  <a:srgbClr val="9CB40D"/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t>main</a:t>
            </a:r>
            <a:r>
              <a:rPr kumimoji="0" lang="en-GB" sz="1200" b="1" i="0" u="none" strike="noStrike" kern="1200" cap="none" spc="-10" normalizeH="0" baseline="0" noProof="0" dirty="0">
                <a:ln>
                  <a:noFill/>
                </a:ln>
                <a:solidFill>
                  <a:srgbClr val="00975D"/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t> </a:t>
            </a:r>
            <a:r>
              <a:rPr kumimoji="0" lang="en-GB" sz="1200" b="1" i="0" u="none" strike="noStrike" kern="1200" cap="none" spc="-10" normalizeH="0" baseline="0" noProof="0" dirty="0">
                <a:ln>
                  <a:noFill/>
                </a:ln>
                <a:solidFill>
                  <a:srgbClr val="9CB40D"/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t>asset</a:t>
            </a:r>
            <a:r>
              <a:rPr kumimoji="0" lang="en-GB" sz="1200" b="1" i="0" u="none" strike="noStrike" kern="1200" cap="none" spc="-10" normalizeH="0" baseline="0" noProof="0" dirty="0">
                <a:ln>
                  <a:noFill/>
                </a:ln>
                <a:solidFill>
                  <a:srgbClr val="00975D"/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t> </a:t>
            </a:r>
            <a:r>
              <a:rPr kumimoji="0" lang="en-GB" sz="1200" b="1" i="0" u="none" strike="noStrike" kern="1200" cap="none" spc="-10" normalizeH="0" baseline="0" noProof="0" dirty="0">
                <a:ln>
                  <a:noFill/>
                </a:ln>
                <a:solidFill>
                  <a:srgbClr val="9CB40D"/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t>classes</a:t>
            </a:r>
            <a:r>
              <a:rPr kumimoji="0" lang="en-GB" sz="1200" b="0" i="0" u="none" strike="noStrike" kern="1200" cap="none" spc="-1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t>,</a:t>
            </a:r>
            <a:r>
              <a:rPr kumimoji="0" lang="en-GB" sz="1200" b="0" i="0" u="none" strike="noStrike" kern="1200" cap="none" spc="-10" normalizeH="0" baseline="0" noProof="0" dirty="0">
                <a:ln>
                  <a:noFill/>
                </a:ln>
                <a:solidFill>
                  <a:srgbClr val="4D4E53"/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t> </a:t>
            </a:r>
            <a:r>
              <a:rPr kumimoji="0" lang="en-GB" sz="1200" b="0" i="0" u="none" strike="noStrike" kern="1200" cap="none" spc="-1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t>including interest-bearing securities, equities, real estate, renewable energies and infrastructure.</a:t>
            </a:r>
          </a:p>
        </p:txBody>
      </p:sp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B80340A6-D618-DC75-38C1-70C1CE22BFDC}"/>
              </a:ext>
            </a:extLst>
          </p:cNvPr>
          <p:cNvSpPr/>
          <p:nvPr/>
        </p:nvSpPr>
        <p:spPr>
          <a:xfrm>
            <a:off x="0" y="4112568"/>
            <a:ext cx="2986415" cy="747432"/>
          </a:xfrm>
          <a:custGeom>
            <a:avLst/>
            <a:gdLst>
              <a:gd name="connsiteX0" fmla="*/ 0 w 2986415"/>
              <a:gd name="connsiteY0" fmla="*/ 0 h 747432"/>
              <a:gd name="connsiteX1" fmla="*/ 1375679 w 2986415"/>
              <a:gd name="connsiteY1" fmla="*/ 0 h 747432"/>
              <a:gd name="connsiteX2" fmla="*/ 1493208 w 2986415"/>
              <a:gd name="connsiteY2" fmla="*/ 98931 h 747432"/>
              <a:gd name="connsiteX3" fmla="*/ 1610737 w 2986415"/>
              <a:gd name="connsiteY3" fmla="*/ 0 h 747432"/>
              <a:gd name="connsiteX4" fmla="*/ 2986415 w 2986415"/>
              <a:gd name="connsiteY4" fmla="*/ 0 h 747432"/>
              <a:gd name="connsiteX5" fmla="*/ 2986415 w 2986415"/>
              <a:gd name="connsiteY5" fmla="*/ 747432 h 747432"/>
              <a:gd name="connsiteX6" fmla="*/ 0 w 2986415"/>
              <a:gd name="connsiteY6" fmla="*/ 747432 h 7474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986415" h="747432">
                <a:moveTo>
                  <a:pt x="0" y="0"/>
                </a:moveTo>
                <a:lnTo>
                  <a:pt x="1375679" y="0"/>
                </a:lnTo>
                <a:lnTo>
                  <a:pt x="1493208" y="98931"/>
                </a:lnTo>
                <a:lnTo>
                  <a:pt x="1610737" y="0"/>
                </a:lnTo>
                <a:lnTo>
                  <a:pt x="2986415" y="0"/>
                </a:lnTo>
                <a:lnTo>
                  <a:pt x="2986415" y="747432"/>
                </a:lnTo>
                <a:lnTo>
                  <a:pt x="0" y="747432"/>
                </a:lnTo>
                <a:close/>
              </a:path>
            </a:pathLst>
          </a:custGeom>
          <a:solidFill>
            <a:srgbClr val="9CB40D">
              <a:alpha val="1000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t" anchorCtr="0"/>
          <a:lstStyle/>
          <a:p>
            <a:pPr>
              <a:lnSpc>
                <a:spcPct val="110000"/>
              </a:lnSpc>
            </a:pPr>
            <a:endParaRPr lang="en-GB" sz="1200" b="1" spc="-10" dirty="0">
              <a:solidFill>
                <a:srgbClr val="00975D"/>
              </a:solidFill>
              <a:latin typeface="Arial"/>
              <a:ea typeface="Arial Unicode MS"/>
              <a:cs typeface="Arial"/>
            </a:endParaRPr>
          </a:p>
        </p:txBody>
      </p:sp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09F4BD81-93CF-601C-C9DE-93756AAC2957}"/>
              </a:ext>
            </a:extLst>
          </p:cNvPr>
          <p:cNvSpPr/>
          <p:nvPr/>
        </p:nvSpPr>
        <p:spPr>
          <a:xfrm>
            <a:off x="1" y="1116000"/>
            <a:ext cx="2986414" cy="1821600"/>
          </a:xfrm>
          <a:custGeom>
            <a:avLst/>
            <a:gdLst>
              <a:gd name="connsiteX0" fmla="*/ 0 w 2986414"/>
              <a:gd name="connsiteY0" fmla="*/ 0 h 1821600"/>
              <a:gd name="connsiteX1" fmla="*/ 2986414 w 2986414"/>
              <a:gd name="connsiteY1" fmla="*/ 0 h 1821600"/>
              <a:gd name="connsiteX2" fmla="*/ 2986414 w 2986414"/>
              <a:gd name="connsiteY2" fmla="*/ 1821600 h 1821600"/>
              <a:gd name="connsiteX3" fmla="*/ 0 w 2986414"/>
              <a:gd name="connsiteY3" fmla="*/ 1821600 h 1821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986414" h="1821600">
                <a:moveTo>
                  <a:pt x="0" y="0"/>
                </a:moveTo>
                <a:lnTo>
                  <a:pt x="2986414" y="0"/>
                </a:lnTo>
                <a:lnTo>
                  <a:pt x="2986414" y="1821600"/>
                </a:lnTo>
                <a:lnTo>
                  <a:pt x="0" y="1821600"/>
                </a:lnTo>
                <a:close/>
              </a:path>
            </a:pathLst>
          </a:custGeom>
          <a:solidFill>
            <a:srgbClr val="9CB40D">
              <a:alpha val="1000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52000" tIns="108000" rIns="108000" bIns="108000" rtlCol="0" anchor="t" anchorCtr="0">
            <a:noAutofit/>
          </a:bodyPr>
          <a:lstStyle>
            <a:defPPr>
              <a:defRPr lang="x-none"/>
            </a:defPPr>
            <a:lvl1pPr marL="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6858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-10" normalizeH="0" baseline="0" noProof="0" dirty="0">
                <a:ln>
                  <a:noFill/>
                </a:ln>
                <a:solidFill>
                  <a:srgbClr val="9CB40D"/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t>Primary asset manager</a:t>
            </a:r>
            <a:br>
              <a:rPr kumimoji="0" lang="en-GB" sz="1200" b="1" i="0" u="none" strike="noStrike" kern="1200" cap="none" spc="-10" normalizeH="0" baseline="0" noProof="0" dirty="0">
                <a:ln>
                  <a:noFill/>
                </a:ln>
                <a:solidFill>
                  <a:srgbClr val="9CB40D"/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</a:br>
            <a:r>
              <a:rPr kumimoji="0" lang="en-GB" sz="1200" b="0" i="0" u="none" strike="noStrike" kern="1200" cap="none" spc="-1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t>for Munich Re Group.</a:t>
            </a:r>
          </a:p>
        </p:txBody>
      </p:sp>
      <p:sp>
        <p:nvSpPr>
          <p:cNvPr id="13" name="Rechteck 18">
            <a:extLst>
              <a:ext uri="{FF2B5EF4-FFF2-40B4-BE49-F238E27FC236}">
                <a16:creationId xmlns:a16="http://schemas.microsoft.com/office/drawing/2014/main" id="{F1C8CDFE-1F29-8374-A9B5-62DC1CCFBEB8}"/>
              </a:ext>
            </a:extLst>
          </p:cNvPr>
          <p:cNvSpPr/>
          <p:nvPr/>
        </p:nvSpPr>
        <p:spPr>
          <a:xfrm>
            <a:off x="6157585" y="3038400"/>
            <a:ext cx="2986414" cy="1821600"/>
          </a:xfrm>
          <a:prstGeom prst="rect">
            <a:avLst/>
          </a:prstGeom>
          <a:solidFill>
            <a:srgbClr val="9CB40D">
              <a:alpha val="1000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306000" bIns="108000" rtlCol="0" anchor="t" anchorCtr="0"/>
          <a:lstStyle>
            <a:defPPr>
              <a:defRPr lang="x-none"/>
            </a:defPPr>
            <a:lvl1pPr marL="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6858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-1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t>Award winning expertise</a:t>
            </a:r>
            <a:br>
              <a:rPr kumimoji="0" lang="en-GB" sz="1200" b="0" i="0" u="none" strike="noStrike" kern="1200" cap="none" spc="-1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</a:br>
            <a:r>
              <a:rPr kumimoji="0" lang="en-GB" sz="1200" b="0" i="0" u="none" strike="noStrike" kern="1200" cap="none" spc="-1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t>and quality.</a:t>
            </a:r>
          </a:p>
        </p:txBody>
      </p:sp>
      <p:sp>
        <p:nvSpPr>
          <p:cNvPr id="14" name="Rechteck 18">
            <a:extLst>
              <a:ext uri="{FF2B5EF4-FFF2-40B4-BE49-F238E27FC236}">
                <a16:creationId xmlns:a16="http://schemas.microsoft.com/office/drawing/2014/main" id="{AEBCDB3C-F637-D749-043B-351D8D7158B6}"/>
              </a:ext>
            </a:extLst>
          </p:cNvPr>
          <p:cNvSpPr/>
          <p:nvPr/>
        </p:nvSpPr>
        <p:spPr>
          <a:xfrm>
            <a:off x="6157586" y="1116000"/>
            <a:ext cx="2986414" cy="1821600"/>
          </a:xfrm>
          <a:prstGeom prst="rect">
            <a:avLst/>
          </a:prstGeom>
          <a:solidFill>
            <a:srgbClr val="9CB40D">
              <a:alpha val="1000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306000" bIns="108000" rtlCol="0" anchor="t" anchorCtr="0"/>
          <a:lstStyle>
            <a:defPPr>
              <a:defRPr lang="x-none"/>
            </a:defPPr>
            <a:lvl1pPr marL="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6858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-10" normalizeH="0" baseline="0" noProof="0" dirty="0">
                <a:ln>
                  <a:noFill/>
                </a:ln>
                <a:solidFill>
                  <a:srgbClr val="9CB40D"/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t>Highly</a:t>
            </a:r>
            <a:r>
              <a:rPr kumimoji="0" lang="en-GB" sz="1200" b="1" i="0" u="none" strike="noStrike" kern="1200" cap="none" spc="-10" normalizeH="0" baseline="0" noProof="0" dirty="0">
                <a:ln>
                  <a:noFill/>
                </a:ln>
                <a:solidFill>
                  <a:srgbClr val="00975D"/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t> </a:t>
            </a:r>
            <a:r>
              <a:rPr kumimoji="0" lang="en-GB" sz="1200" b="1" i="0" u="none" strike="noStrike" kern="1200" cap="none" spc="-10" normalizeH="0" baseline="0" noProof="0" dirty="0">
                <a:ln>
                  <a:noFill/>
                </a:ln>
                <a:solidFill>
                  <a:srgbClr val="9CB40D"/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t>experienced</a:t>
            </a:r>
            <a:r>
              <a:rPr kumimoji="0" lang="en-GB" sz="1200" b="0" i="0" u="none" strike="noStrike" kern="1200" cap="none" spc="-10" normalizeH="0" baseline="0" noProof="0" dirty="0">
                <a:ln>
                  <a:noFill/>
                </a:ln>
                <a:solidFill>
                  <a:srgbClr val="00975D"/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t> </a:t>
            </a:r>
            <a:r>
              <a:rPr kumimoji="0" lang="en-GB" sz="1200" b="0" i="0" u="none" strike="noStrike" kern="1200" cap="none" spc="-1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t>investment managers pursuing a rigorous risk-controlled investment approach.</a:t>
            </a:r>
          </a:p>
        </p:txBody>
      </p:sp>
      <p:sp>
        <p:nvSpPr>
          <p:cNvPr id="15" name="Rechteck 18">
            <a:extLst>
              <a:ext uri="{FF2B5EF4-FFF2-40B4-BE49-F238E27FC236}">
                <a16:creationId xmlns:a16="http://schemas.microsoft.com/office/drawing/2014/main" id="{63A236E4-BA21-5C9C-D9E7-4FA0CEAD52CD}"/>
              </a:ext>
            </a:extLst>
          </p:cNvPr>
          <p:cNvSpPr/>
          <p:nvPr/>
        </p:nvSpPr>
        <p:spPr>
          <a:xfrm>
            <a:off x="3078793" y="1116000"/>
            <a:ext cx="2986414" cy="1821600"/>
          </a:xfrm>
          <a:prstGeom prst="rect">
            <a:avLst/>
          </a:prstGeom>
          <a:solidFill>
            <a:srgbClr val="9CB40D">
              <a:alpha val="1000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t" anchorCtr="0"/>
          <a:lstStyle>
            <a:defPPr>
              <a:defRPr lang="x-none"/>
            </a:defPPr>
            <a:lvl1pPr marL="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6858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-10" normalizeH="0" baseline="0" noProof="0" dirty="0">
                <a:ln>
                  <a:noFill/>
                </a:ln>
                <a:solidFill>
                  <a:srgbClr val="9CB40D"/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t>€340bn</a:t>
            </a:r>
            <a:r>
              <a:rPr kumimoji="0" lang="en-GB" sz="1200" b="1" i="0" u="none" strike="noStrike" kern="1200" cap="none" spc="-10" normalizeH="0" baseline="0" noProof="0" dirty="0">
                <a:ln>
                  <a:noFill/>
                </a:ln>
                <a:solidFill>
                  <a:srgbClr val="00975D"/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t> </a:t>
            </a:r>
            <a:r>
              <a:rPr kumimoji="0" lang="en-GB" sz="1200" b="0" i="0" u="none" strike="noStrike" kern="1200" cap="none" spc="-1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t>in assets</a:t>
            </a:r>
            <a:br>
              <a:rPr kumimoji="0" lang="en-GB" sz="1200" b="0" i="0" u="none" strike="noStrike" kern="1200" cap="none" spc="-1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</a:br>
            <a:r>
              <a:rPr kumimoji="0" lang="en-GB" sz="1200" b="0" i="0" u="none" strike="noStrike" kern="1200" cap="none" spc="-1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t>under management.</a:t>
            </a:r>
            <a:endParaRPr kumimoji="0" lang="en-GB" sz="1000" b="0" i="0" u="none" strike="noStrike" kern="1200" cap="none" spc="-1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rial"/>
              <a:ea typeface="Arial Unicode MS"/>
              <a:cs typeface="Arial"/>
            </a:endParaRPr>
          </a:p>
        </p:txBody>
      </p:sp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CBA3FE3A-7C4D-082C-71FF-86E4D51EF84B}"/>
              </a:ext>
            </a:extLst>
          </p:cNvPr>
          <p:cNvSpPr/>
          <p:nvPr/>
        </p:nvSpPr>
        <p:spPr>
          <a:xfrm>
            <a:off x="0" y="2190168"/>
            <a:ext cx="2986415" cy="747432"/>
          </a:xfrm>
          <a:custGeom>
            <a:avLst/>
            <a:gdLst>
              <a:gd name="connsiteX0" fmla="*/ 0 w 2986415"/>
              <a:gd name="connsiteY0" fmla="*/ 0 h 747432"/>
              <a:gd name="connsiteX1" fmla="*/ 1375679 w 2986415"/>
              <a:gd name="connsiteY1" fmla="*/ 0 h 747432"/>
              <a:gd name="connsiteX2" fmla="*/ 1493208 w 2986415"/>
              <a:gd name="connsiteY2" fmla="*/ 98931 h 747432"/>
              <a:gd name="connsiteX3" fmla="*/ 1610737 w 2986415"/>
              <a:gd name="connsiteY3" fmla="*/ 0 h 747432"/>
              <a:gd name="connsiteX4" fmla="*/ 2986415 w 2986415"/>
              <a:gd name="connsiteY4" fmla="*/ 0 h 747432"/>
              <a:gd name="connsiteX5" fmla="*/ 2986415 w 2986415"/>
              <a:gd name="connsiteY5" fmla="*/ 747432 h 747432"/>
              <a:gd name="connsiteX6" fmla="*/ 0 w 2986415"/>
              <a:gd name="connsiteY6" fmla="*/ 747432 h 7474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986415" h="747432">
                <a:moveTo>
                  <a:pt x="0" y="0"/>
                </a:moveTo>
                <a:lnTo>
                  <a:pt x="1375679" y="0"/>
                </a:lnTo>
                <a:lnTo>
                  <a:pt x="1493208" y="98931"/>
                </a:lnTo>
                <a:lnTo>
                  <a:pt x="1610737" y="0"/>
                </a:lnTo>
                <a:lnTo>
                  <a:pt x="2986415" y="0"/>
                </a:lnTo>
                <a:lnTo>
                  <a:pt x="2986415" y="747432"/>
                </a:lnTo>
                <a:lnTo>
                  <a:pt x="0" y="747432"/>
                </a:lnTo>
                <a:close/>
              </a:path>
            </a:pathLst>
          </a:custGeom>
          <a:solidFill>
            <a:srgbClr val="9CB40D">
              <a:alpha val="1000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t" anchorCtr="0"/>
          <a:lstStyle/>
          <a:p>
            <a:pPr>
              <a:lnSpc>
                <a:spcPct val="110000"/>
              </a:lnSpc>
            </a:pPr>
            <a:endParaRPr lang="en-GB" sz="1200" b="1" spc="-10" dirty="0">
              <a:solidFill>
                <a:srgbClr val="00975D"/>
              </a:solidFill>
              <a:latin typeface="Arial"/>
              <a:ea typeface="Arial Unicode MS"/>
              <a:cs typeface="Arial"/>
            </a:endParaRPr>
          </a:p>
        </p:txBody>
      </p:sp>
      <p:sp>
        <p:nvSpPr>
          <p:cNvPr id="17" name="Freeform: Shape 16">
            <a:extLst>
              <a:ext uri="{FF2B5EF4-FFF2-40B4-BE49-F238E27FC236}">
                <a16:creationId xmlns:a16="http://schemas.microsoft.com/office/drawing/2014/main" id="{A8BB3A63-5DA8-89B0-B355-A1EA894F34C2}"/>
              </a:ext>
            </a:extLst>
          </p:cNvPr>
          <p:cNvSpPr/>
          <p:nvPr/>
        </p:nvSpPr>
        <p:spPr>
          <a:xfrm flipH="1">
            <a:off x="6157585" y="4112568"/>
            <a:ext cx="2986415" cy="747432"/>
          </a:xfrm>
          <a:custGeom>
            <a:avLst/>
            <a:gdLst>
              <a:gd name="connsiteX0" fmla="*/ 0 w 2986415"/>
              <a:gd name="connsiteY0" fmla="*/ 0 h 747432"/>
              <a:gd name="connsiteX1" fmla="*/ 1375679 w 2986415"/>
              <a:gd name="connsiteY1" fmla="*/ 0 h 747432"/>
              <a:gd name="connsiteX2" fmla="*/ 1493208 w 2986415"/>
              <a:gd name="connsiteY2" fmla="*/ 98931 h 747432"/>
              <a:gd name="connsiteX3" fmla="*/ 1610737 w 2986415"/>
              <a:gd name="connsiteY3" fmla="*/ 0 h 747432"/>
              <a:gd name="connsiteX4" fmla="*/ 2986415 w 2986415"/>
              <a:gd name="connsiteY4" fmla="*/ 0 h 747432"/>
              <a:gd name="connsiteX5" fmla="*/ 2986415 w 2986415"/>
              <a:gd name="connsiteY5" fmla="*/ 747432 h 747432"/>
              <a:gd name="connsiteX6" fmla="*/ 0 w 2986415"/>
              <a:gd name="connsiteY6" fmla="*/ 747432 h 7474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986415" h="747432">
                <a:moveTo>
                  <a:pt x="0" y="0"/>
                </a:moveTo>
                <a:lnTo>
                  <a:pt x="1375679" y="0"/>
                </a:lnTo>
                <a:lnTo>
                  <a:pt x="1493208" y="98931"/>
                </a:lnTo>
                <a:lnTo>
                  <a:pt x="1610737" y="0"/>
                </a:lnTo>
                <a:lnTo>
                  <a:pt x="2986415" y="0"/>
                </a:lnTo>
                <a:lnTo>
                  <a:pt x="2986415" y="747432"/>
                </a:lnTo>
                <a:lnTo>
                  <a:pt x="0" y="747432"/>
                </a:lnTo>
                <a:close/>
              </a:path>
            </a:pathLst>
          </a:custGeom>
          <a:solidFill>
            <a:srgbClr val="9CB40D">
              <a:alpha val="1000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t" anchorCtr="0"/>
          <a:lstStyle/>
          <a:p>
            <a:pPr>
              <a:lnSpc>
                <a:spcPct val="110000"/>
              </a:lnSpc>
            </a:pPr>
            <a:endParaRPr lang="en-GB" sz="1200" b="1" spc="-10" dirty="0">
              <a:solidFill>
                <a:srgbClr val="00975D"/>
              </a:solidFill>
              <a:latin typeface="Arial"/>
              <a:ea typeface="Arial Unicode MS"/>
              <a:cs typeface="Arial"/>
            </a:endParaRPr>
          </a:p>
        </p:txBody>
      </p:sp>
      <p:sp>
        <p:nvSpPr>
          <p:cNvPr id="18" name="Freeform: Shape 17">
            <a:extLst>
              <a:ext uri="{FF2B5EF4-FFF2-40B4-BE49-F238E27FC236}">
                <a16:creationId xmlns:a16="http://schemas.microsoft.com/office/drawing/2014/main" id="{5A7BB62F-9C42-403F-A23E-8E584A64181E}"/>
              </a:ext>
            </a:extLst>
          </p:cNvPr>
          <p:cNvSpPr/>
          <p:nvPr/>
        </p:nvSpPr>
        <p:spPr>
          <a:xfrm flipH="1">
            <a:off x="6157585" y="2190168"/>
            <a:ext cx="2986415" cy="747432"/>
          </a:xfrm>
          <a:custGeom>
            <a:avLst/>
            <a:gdLst>
              <a:gd name="connsiteX0" fmla="*/ 0 w 2986415"/>
              <a:gd name="connsiteY0" fmla="*/ 0 h 747432"/>
              <a:gd name="connsiteX1" fmla="*/ 1375679 w 2986415"/>
              <a:gd name="connsiteY1" fmla="*/ 0 h 747432"/>
              <a:gd name="connsiteX2" fmla="*/ 1493208 w 2986415"/>
              <a:gd name="connsiteY2" fmla="*/ 98931 h 747432"/>
              <a:gd name="connsiteX3" fmla="*/ 1610737 w 2986415"/>
              <a:gd name="connsiteY3" fmla="*/ 0 h 747432"/>
              <a:gd name="connsiteX4" fmla="*/ 2986415 w 2986415"/>
              <a:gd name="connsiteY4" fmla="*/ 0 h 747432"/>
              <a:gd name="connsiteX5" fmla="*/ 2986415 w 2986415"/>
              <a:gd name="connsiteY5" fmla="*/ 747432 h 747432"/>
              <a:gd name="connsiteX6" fmla="*/ 0 w 2986415"/>
              <a:gd name="connsiteY6" fmla="*/ 747432 h 7474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986415" h="747432">
                <a:moveTo>
                  <a:pt x="0" y="0"/>
                </a:moveTo>
                <a:lnTo>
                  <a:pt x="1375679" y="0"/>
                </a:lnTo>
                <a:lnTo>
                  <a:pt x="1493208" y="98931"/>
                </a:lnTo>
                <a:lnTo>
                  <a:pt x="1610737" y="0"/>
                </a:lnTo>
                <a:lnTo>
                  <a:pt x="2986415" y="0"/>
                </a:lnTo>
                <a:lnTo>
                  <a:pt x="2986415" y="747432"/>
                </a:lnTo>
                <a:lnTo>
                  <a:pt x="0" y="747432"/>
                </a:lnTo>
                <a:close/>
              </a:path>
            </a:pathLst>
          </a:custGeom>
          <a:solidFill>
            <a:srgbClr val="9CB40D">
              <a:alpha val="1000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t" anchorCtr="0"/>
          <a:lstStyle/>
          <a:p>
            <a:pPr>
              <a:lnSpc>
                <a:spcPct val="110000"/>
              </a:lnSpc>
            </a:pPr>
            <a:endParaRPr lang="en-GB" sz="1200" b="1" spc="-10" dirty="0">
              <a:solidFill>
                <a:srgbClr val="00975D"/>
              </a:solidFill>
              <a:latin typeface="Arial"/>
              <a:ea typeface="Arial Unicode MS"/>
              <a:cs typeface="Arial"/>
            </a:endParaRPr>
          </a:p>
        </p:txBody>
      </p:sp>
      <p:sp>
        <p:nvSpPr>
          <p:cNvPr id="19" name="Freeform: Shape 18">
            <a:extLst>
              <a:ext uri="{FF2B5EF4-FFF2-40B4-BE49-F238E27FC236}">
                <a16:creationId xmlns:a16="http://schemas.microsoft.com/office/drawing/2014/main" id="{097DDCD6-2900-66FE-C701-95F67BECAC5A}"/>
              </a:ext>
            </a:extLst>
          </p:cNvPr>
          <p:cNvSpPr/>
          <p:nvPr/>
        </p:nvSpPr>
        <p:spPr>
          <a:xfrm>
            <a:off x="3078793" y="2190168"/>
            <a:ext cx="2986414" cy="747432"/>
          </a:xfrm>
          <a:custGeom>
            <a:avLst/>
            <a:gdLst>
              <a:gd name="connsiteX0" fmla="*/ 0 w 2986414"/>
              <a:gd name="connsiteY0" fmla="*/ 0 h 747432"/>
              <a:gd name="connsiteX1" fmla="*/ 106805 w 2986414"/>
              <a:gd name="connsiteY1" fmla="*/ 0 h 747432"/>
              <a:gd name="connsiteX2" fmla="*/ 647908 w 2986414"/>
              <a:gd name="connsiteY2" fmla="*/ 0 h 747432"/>
              <a:gd name="connsiteX3" fmla="*/ 1375678 w 2986414"/>
              <a:gd name="connsiteY3" fmla="*/ 0 h 747432"/>
              <a:gd name="connsiteX4" fmla="*/ 1493207 w 2986414"/>
              <a:gd name="connsiteY4" fmla="*/ 98931 h 747432"/>
              <a:gd name="connsiteX5" fmla="*/ 1610736 w 2986414"/>
              <a:gd name="connsiteY5" fmla="*/ 0 h 747432"/>
              <a:gd name="connsiteX6" fmla="*/ 2338506 w 2986414"/>
              <a:gd name="connsiteY6" fmla="*/ 0 h 747432"/>
              <a:gd name="connsiteX7" fmla="*/ 2879609 w 2986414"/>
              <a:gd name="connsiteY7" fmla="*/ 0 h 747432"/>
              <a:gd name="connsiteX8" fmla="*/ 2986414 w 2986414"/>
              <a:gd name="connsiteY8" fmla="*/ 0 h 747432"/>
              <a:gd name="connsiteX9" fmla="*/ 2986414 w 2986414"/>
              <a:gd name="connsiteY9" fmla="*/ 747432 h 747432"/>
              <a:gd name="connsiteX10" fmla="*/ 2879609 w 2986414"/>
              <a:gd name="connsiteY10" fmla="*/ 747432 h 747432"/>
              <a:gd name="connsiteX11" fmla="*/ 2338506 w 2986414"/>
              <a:gd name="connsiteY11" fmla="*/ 747432 h 747432"/>
              <a:gd name="connsiteX12" fmla="*/ 647908 w 2986414"/>
              <a:gd name="connsiteY12" fmla="*/ 747432 h 747432"/>
              <a:gd name="connsiteX13" fmla="*/ 106805 w 2986414"/>
              <a:gd name="connsiteY13" fmla="*/ 747432 h 747432"/>
              <a:gd name="connsiteX14" fmla="*/ 0 w 2986414"/>
              <a:gd name="connsiteY14" fmla="*/ 747432 h 7474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2986414" h="747432">
                <a:moveTo>
                  <a:pt x="0" y="0"/>
                </a:moveTo>
                <a:lnTo>
                  <a:pt x="106805" y="0"/>
                </a:lnTo>
                <a:lnTo>
                  <a:pt x="647908" y="0"/>
                </a:lnTo>
                <a:lnTo>
                  <a:pt x="1375678" y="0"/>
                </a:lnTo>
                <a:lnTo>
                  <a:pt x="1493207" y="98931"/>
                </a:lnTo>
                <a:lnTo>
                  <a:pt x="1610736" y="0"/>
                </a:lnTo>
                <a:lnTo>
                  <a:pt x="2338506" y="0"/>
                </a:lnTo>
                <a:lnTo>
                  <a:pt x="2879609" y="0"/>
                </a:lnTo>
                <a:lnTo>
                  <a:pt x="2986414" y="0"/>
                </a:lnTo>
                <a:lnTo>
                  <a:pt x="2986414" y="747432"/>
                </a:lnTo>
                <a:lnTo>
                  <a:pt x="2879609" y="747432"/>
                </a:lnTo>
                <a:lnTo>
                  <a:pt x="2338506" y="747432"/>
                </a:lnTo>
                <a:lnTo>
                  <a:pt x="647908" y="747432"/>
                </a:lnTo>
                <a:lnTo>
                  <a:pt x="106805" y="747432"/>
                </a:lnTo>
                <a:lnTo>
                  <a:pt x="0" y="747432"/>
                </a:lnTo>
                <a:close/>
              </a:path>
            </a:pathLst>
          </a:custGeom>
          <a:solidFill>
            <a:srgbClr val="9CB40D">
              <a:alpha val="1000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t" anchorCtr="0"/>
          <a:lstStyle/>
          <a:p>
            <a:pPr>
              <a:lnSpc>
                <a:spcPct val="110000"/>
              </a:lnSpc>
            </a:pPr>
            <a:endParaRPr lang="en-GB" sz="1200" b="1" spc="-10" dirty="0">
              <a:solidFill>
                <a:srgbClr val="00975D"/>
              </a:solidFill>
              <a:latin typeface="Arial"/>
              <a:ea typeface="Arial Unicode MS"/>
              <a:cs typeface="Arial"/>
            </a:endParaRPr>
          </a:p>
        </p:txBody>
      </p:sp>
      <p:sp>
        <p:nvSpPr>
          <p:cNvPr id="20" name="Freeform: Shape 19">
            <a:extLst>
              <a:ext uri="{FF2B5EF4-FFF2-40B4-BE49-F238E27FC236}">
                <a16:creationId xmlns:a16="http://schemas.microsoft.com/office/drawing/2014/main" id="{A0675C35-5B0A-3AB7-2AC8-2F6863F12587}"/>
              </a:ext>
            </a:extLst>
          </p:cNvPr>
          <p:cNvSpPr/>
          <p:nvPr/>
        </p:nvSpPr>
        <p:spPr>
          <a:xfrm>
            <a:off x="3078793" y="4112568"/>
            <a:ext cx="2986414" cy="747432"/>
          </a:xfrm>
          <a:custGeom>
            <a:avLst/>
            <a:gdLst>
              <a:gd name="connsiteX0" fmla="*/ 0 w 2986414"/>
              <a:gd name="connsiteY0" fmla="*/ 0 h 747432"/>
              <a:gd name="connsiteX1" fmla="*/ 106805 w 2986414"/>
              <a:gd name="connsiteY1" fmla="*/ 0 h 747432"/>
              <a:gd name="connsiteX2" fmla="*/ 647908 w 2986414"/>
              <a:gd name="connsiteY2" fmla="*/ 0 h 747432"/>
              <a:gd name="connsiteX3" fmla="*/ 1375678 w 2986414"/>
              <a:gd name="connsiteY3" fmla="*/ 0 h 747432"/>
              <a:gd name="connsiteX4" fmla="*/ 1493207 w 2986414"/>
              <a:gd name="connsiteY4" fmla="*/ 98931 h 747432"/>
              <a:gd name="connsiteX5" fmla="*/ 1610736 w 2986414"/>
              <a:gd name="connsiteY5" fmla="*/ 0 h 747432"/>
              <a:gd name="connsiteX6" fmla="*/ 2338506 w 2986414"/>
              <a:gd name="connsiteY6" fmla="*/ 0 h 747432"/>
              <a:gd name="connsiteX7" fmla="*/ 2879609 w 2986414"/>
              <a:gd name="connsiteY7" fmla="*/ 0 h 747432"/>
              <a:gd name="connsiteX8" fmla="*/ 2986414 w 2986414"/>
              <a:gd name="connsiteY8" fmla="*/ 0 h 747432"/>
              <a:gd name="connsiteX9" fmla="*/ 2986414 w 2986414"/>
              <a:gd name="connsiteY9" fmla="*/ 747432 h 747432"/>
              <a:gd name="connsiteX10" fmla="*/ 2879609 w 2986414"/>
              <a:gd name="connsiteY10" fmla="*/ 747432 h 747432"/>
              <a:gd name="connsiteX11" fmla="*/ 2338506 w 2986414"/>
              <a:gd name="connsiteY11" fmla="*/ 747432 h 747432"/>
              <a:gd name="connsiteX12" fmla="*/ 647908 w 2986414"/>
              <a:gd name="connsiteY12" fmla="*/ 747432 h 747432"/>
              <a:gd name="connsiteX13" fmla="*/ 106805 w 2986414"/>
              <a:gd name="connsiteY13" fmla="*/ 747432 h 747432"/>
              <a:gd name="connsiteX14" fmla="*/ 0 w 2986414"/>
              <a:gd name="connsiteY14" fmla="*/ 747432 h 7474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2986414" h="747432">
                <a:moveTo>
                  <a:pt x="0" y="0"/>
                </a:moveTo>
                <a:lnTo>
                  <a:pt x="106805" y="0"/>
                </a:lnTo>
                <a:lnTo>
                  <a:pt x="647908" y="0"/>
                </a:lnTo>
                <a:lnTo>
                  <a:pt x="1375678" y="0"/>
                </a:lnTo>
                <a:lnTo>
                  <a:pt x="1493207" y="98931"/>
                </a:lnTo>
                <a:lnTo>
                  <a:pt x="1610736" y="0"/>
                </a:lnTo>
                <a:lnTo>
                  <a:pt x="2338506" y="0"/>
                </a:lnTo>
                <a:lnTo>
                  <a:pt x="2879609" y="0"/>
                </a:lnTo>
                <a:lnTo>
                  <a:pt x="2986414" y="0"/>
                </a:lnTo>
                <a:lnTo>
                  <a:pt x="2986414" y="747432"/>
                </a:lnTo>
                <a:lnTo>
                  <a:pt x="2879609" y="747432"/>
                </a:lnTo>
                <a:lnTo>
                  <a:pt x="2338506" y="747432"/>
                </a:lnTo>
                <a:lnTo>
                  <a:pt x="647908" y="747432"/>
                </a:lnTo>
                <a:lnTo>
                  <a:pt x="106805" y="747432"/>
                </a:lnTo>
                <a:lnTo>
                  <a:pt x="0" y="747432"/>
                </a:lnTo>
                <a:close/>
              </a:path>
            </a:pathLst>
          </a:custGeom>
          <a:solidFill>
            <a:srgbClr val="9CB40D">
              <a:alpha val="1000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t" anchorCtr="0"/>
          <a:lstStyle/>
          <a:p>
            <a:pPr>
              <a:lnSpc>
                <a:spcPct val="110000"/>
              </a:lnSpc>
            </a:pPr>
            <a:endParaRPr lang="en-GB" sz="1200" b="1" spc="-10" dirty="0">
              <a:solidFill>
                <a:srgbClr val="00975D"/>
              </a:solidFill>
              <a:latin typeface="Arial"/>
              <a:ea typeface="Arial Unicode MS"/>
              <a:cs typeface="Arial"/>
            </a:endParaRPr>
          </a:p>
        </p:txBody>
      </p:sp>
      <p:sp>
        <p:nvSpPr>
          <p:cNvPr id="106" name="TextBox 105">
            <a:extLst>
              <a:ext uri="{FF2B5EF4-FFF2-40B4-BE49-F238E27FC236}">
                <a16:creationId xmlns:a16="http://schemas.microsoft.com/office/drawing/2014/main" id="{CC4145DC-9CC2-0726-09FF-FE10B8EA5F23}"/>
              </a:ext>
            </a:extLst>
          </p:cNvPr>
          <p:cNvSpPr txBox="1"/>
          <p:nvPr/>
        </p:nvSpPr>
        <p:spPr>
          <a:xfrm>
            <a:off x="4824431" y="2010353"/>
            <a:ext cx="1240776" cy="123111"/>
          </a:xfrm>
          <a:prstGeom prst="rect">
            <a:avLst/>
          </a:prstGeom>
          <a:noFill/>
          <a:effectLst/>
        </p:spPr>
        <p:txBody>
          <a:bodyPr wrap="none" lIns="0" tIns="0" rIns="108000" bIns="0">
            <a:spAutoFit/>
          </a:bodyPr>
          <a:lstStyle/>
          <a:p>
            <a:pPr algn="r"/>
            <a:r>
              <a:rPr lang="en-GB" sz="800" dirty="0">
                <a:solidFill>
                  <a:srgbClr val="9CB40D"/>
                </a:solidFill>
              </a:rPr>
              <a:t>as of 31 December 2023</a:t>
            </a:r>
          </a:p>
        </p:txBody>
      </p:sp>
      <p:grpSp>
        <p:nvGrpSpPr>
          <p:cNvPr id="143" name="Gruppieren 1317">
            <a:extLst>
              <a:ext uri="{FF2B5EF4-FFF2-40B4-BE49-F238E27FC236}">
                <a16:creationId xmlns:a16="http://schemas.microsoft.com/office/drawing/2014/main" id="{A8C0BB93-5364-114F-008E-842BF6116156}"/>
              </a:ext>
            </a:extLst>
          </p:cNvPr>
          <p:cNvGrpSpPr/>
          <p:nvPr/>
        </p:nvGrpSpPr>
        <p:grpSpPr>
          <a:xfrm>
            <a:off x="1285755" y="2636441"/>
            <a:ext cx="414905" cy="154723"/>
            <a:chOff x="860720" y="3517087"/>
            <a:chExt cx="488386" cy="182125"/>
          </a:xfrm>
          <a:solidFill>
            <a:schemeClr val="tx2"/>
          </a:solidFill>
        </p:grpSpPr>
        <p:grpSp>
          <p:nvGrpSpPr>
            <p:cNvPr id="154" name="Grafik 319">
              <a:extLst>
                <a:ext uri="{FF2B5EF4-FFF2-40B4-BE49-F238E27FC236}">
                  <a16:creationId xmlns:a16="http://schemas.microsoft.com/office/drawing/2014/main" id="{701EB56D-4912-8337-9937-2D1A32526E9D}"/>
                </a:ext>
              </a:extLst>
            </p:cNvPr>
            <p:cNvGrpSpPr/>
            <p:nvPr/>
          </p:nvGrpSpPr>
          <p:grpSpPr>
            <a:xfrm>
              <a:off x="1121330" y="3517103"/>
              <a:ext cx="227776" cy="182109"/>
              <a:chOff x="1121330" y="3517103"/>
              <a:chExt cx="227776" cy="182109"/>
            </a:xfrm>
            <a:grpFill/>
          </p:grpSpPr>
          <p:sp>
            <p:nvSpPr>
              <p:cNvPr id="163" name="Freihandform: Form 407">
                <a:extLst>
                  <a:ext uri="{FF2B5EF4-FFF2-40B4-BE49-F238E27FC236}">
                    <a16:creationId xmlns:a16="http://schemas.microsoft.com/office/drawing/2014/main" id="{6A16D362-AF2E-359A-BA39-80F60AE644E6}"/>
                  </a:ext>
                </a:extLst>
              </p:cNvPr>
              <p:cNvSpPr/>
              <p:nvPr/>
            </p:nvSpPr>
            <p:spPr>
              <a:xfrm>
                <a:off x="1121330" y="3525478"/>
                <a:ext cx="103360" cy="107820"/>
              </a:xfrm>
              <a:custGeom>
                <a:avLst/>
                <a:gdLst>
                  <a:gd name="connsiteX0" fmla="*/ 10947 w 103360"/>
                  <a:gd name="connsiteY0" fmla="*/ 107821 h 107820"/>
                  <a:gd name="connsiteX1" fmla="*/ 4545 w 103360"/>
                  <a:gd name="connsiteY1" fmla="*/ 102831 h 107820"/>
                  <a:gd name="connsiteX2" fmla="*/ 15937 w 103360"/>
                  <a:gd name="connsiteY2" fmla="*/ 23255 h 107820"/>
                  <a:gd name="connsiteX3" fmla="*/ 97762 w 103360"/>
                  <a:gd name="connsiteY3" fmla="*/ 1091 h 107820"/>
                  <a:gd name="connsiteX4" fmla="*/ 103287 w 103360"/>
                  <a:gd name="connsiteY4" fmla="*/ 8607 h 107820"/>
                  <a:gd name="connsiteX5" fmla="*/ 95770 w 103360"/>
                  <a:gd name="connsiteY5" fmla="*/ 14132 h 107820"/>
                  <a:gd name="connsiteX6" fmla="*/ 25659 w 103360"/>
                  <a:gd name="connsiteY6" fmla="*/ 32163 h 107820"/>
                  <a:gd name="connsiteX7" fmla="*/ 17350 w 103360"/>
                  <a:gd name="connsiteY7" fmla="*/ 99619 h 107820"/>
                  <a:gd name="connsiteX8" fmla="*/ 12554 w 103360"/>
                  <a:gd name="connsiteY8" fmla="*/ 107628 h 107820"/>
                  <a:gd name="connsiteX9" fmla="*/ 10947 w 103360"/>
                  <a:gd name="connsiteY9" fmla="*/ 107821 h 1078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03360" h="107820">
                    <a:moveTo>
                      <a:pt x="10947" y="107821"/>
                    </a:moveTo>
                    <a:cubicBezTo>
                      <a:pt x="7992" y="107821"/>
                      <a:pt x="5294" y="105808"/>
                      <a:pt x="4545" y="102831"/>
                    </a:cubicBezTo>
                    <a:cubicBezTo>
                      <a:pt x="-4171" y="67861"/>
                      <a:pt x="-338" y="41093"/>
                      <a:pt x="15937" y="23255"/>
                    </a:cubicBezTo>
                    <a:cubicBezTo>
                      <a:pt x="43391" y="-6854"/>
                      <a:pt x="95556" y="769"/>
                      <a:pt x="97762" y="1091"/>
                    </a:cubicBezTo>
                    <a:cubicBezTo>
                      <a:pt x="101360" y="1647"/>
                      <a:pt x="103822" y="5009"/>
                      <a:pt x="103287" y="8607"/>
                    </a:cubicBezTo>
                    <a:cubicBezTo>
                      <a:pt x="102730" y="12205"/>
                      <a:pt x="99347" y="14710"/>
                      <a:pt x="95770" y="14132"/>
                    </a:cubicBezTo>
                    <a:cubicBezTo>
                      <a:pt x="95299" y="14068"/>
                      <a:pt x="48316" y="7279"/>
                      <a:pt x="25659" y="32163"/>
                    </a:cubicBezTo>
                    <a:cubicBezTo>
                      <a:pt x="12575" y="46532"/>
                      <a:pt x="9770" y="69232"/>
                      <a:pt x="17350" y="99619"/>
                    </a:cubicBezTo>
                    <a:cubicBezTo>
                      <a:pt x="18228" y="103152"/>
                      <a:pt x="16087" y="106729"/>
                      <a:pt x="12554" y="107628"/>
                    </a:cubicBezTo>
                    <a:cubicBezTo>
                      <a:pt x="12018" y="107756"/>
                      <a:pt x="11483" y="107821"/>
                      <a:pt x="10947" y="107821"/>
                    </a:cubicBezTo>
                    <a:close/>
                  </a:path>
                </a:pathLst>
              </a:custGeom>
              <a:grpFill/>
              <a:ln w="213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64" name="Freihandform: Form 408">
                <a:extLst>
                  <a:ext uri="{FF2B5EF4-FFF2-40B4-BE49-F238E27FC236}">
                    <a16:creationId xmlns:a16="http://schemas.microsoft.com/office/drawing/2014/main" id="{6CA3A9A5-16F1-C774-C471-DD6C4F8F2794}"/>
                  </a:ext>
                </a:extLst>
              </p:cNvPr>
              <p:cNvSpPr/>
              <p:nvPr/>
            </p:nvSpPr>
            <p:spPr>
              <a:xfrm>
                <a:off x="1283988" y="3589042"/>
                <a:ext cx="24900" cy="23334"/>
              </a:xfrm>
              <a:custGeom>
                <a:avLst/>
                <a:gdLst>
                  <a:gd name="connsiteX0" fmla="*/ 18300 w 24900"/>
                  <a:gd name="connsiteY0" fmla="*/ 23335 h 23334"/>
                  <a:gd name="connsiteX1" fmla="*/ 14381 w 24900"/>
                  <a:gd name="connsiteY1" fmla="*/ 22050 h 23334"/>
                  <a:gd name="connsiteX2" fmla="*/ 1661 w 24900"/>
                  <a:gd name="connsiteY2" fmla="*/ 10978 h 23334"/>
                  <a:gd name="connsiteX3" fmla="*/ 2218 w 24900"/>
                  <a:gd name="connsiteY3" fmla="*/ 1663 h 23334"/>
                  <a:gd name="connsiteX4" fmla="*/ 11512 w 24900"/>
                  <a:gd name="connsiteY4" fmla="*/ 2198 h 23334"/>
                  <a:gd name="connsiteX5" fmla="*/ 22219 w 24900"/>
                  <a:gd name="connsiteY5" fmla="*/ 11428 h 23334"/>
                  <a:gd name="connsiteX6" fmla="*/ 23611 w 24900"/>
                  <a:gd name="connsiteY6" fmla="*/ 20658 h 23334"/>
                  <a:gd name="connsiteX7" fmla="*/ 18300 w 24900"/>
                  <a:gd name="connsiteY7" fmla="*/ 23335 h 233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4900" h="23334">
                    <a:moveTo>
                      <a:pt x="18300" y="23335"/>
                    </a:moveTo>
                    <a:cubicBezTo>
                      <a:pt x="16951" y="23335"/>
                      <a:pt x="15559" y="22906"/>
                      <a:pt x="14381" y="22050"/>
                    </a:cubicBezTo>
                    <a:cubicBezTo>
                      <a:pt x="6094" y="15947"/>
                      <a:pt x="1832" y="11171"/>
                      <a:pt x="1661" y="10978"/>
                    </a:cubicBezTo>
                    <a:cubicBezTo>
                      <a:pt x="-759" y="8259"/>
                      <a:pt x="-502" y="4083"/>
                      <a:pt x="2218" y="1663"/>
                    </a:cubicBezTo>
                    <a:cubicBezTo>
                      <a:pt x="4937" y="-757"/>
                      <a:pt x="9092" y="-500"/>
                      <a:pt x="11512" y="2198"/>
                    </a:cubicBezTo>
                    <a:cubicBezTo>
                      <a:pt x="11597" y="2284"/>
                      <a:pt x="15195" y="6246"/>
                      <a:pt x="22219" y="11428"/>
                    </a:cubicBezTo>
                    <a:cubicBezTo>
                      <a:pt x="25153" y="13591"/>
                      <a:pt x="25774" y="17724"/>
                      <a:pt x="23611" y="20658"/>
                    </a:cubicBezTo>
                    <a:cubicBezTo>
                      <a:pt x="22326" y="22414"/>
                      <a:pt x="20334" y="23335"/>
                      <a:pt x="18300" y="23335"/>
                    </a:cubicBezTo>
                    <a:close/>
                  </a:path>
                </a:pathLst>
              </a:custGeom>
              <a:grpFill/>
              <a:ln w="213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65" name="Freihandform: Form 409">
                <a:extLst>
                  <a:ext uri="{FF2B5EF4-FFF2-40B4-BE49-F238E27FC236}">
                    <a16:creationId xmlns:a16="http://schemas.microsoft.com/office/drawing/2014/main" id="{A5C65A7D-CF4B-F38D-60BD-EBA96C5E4BFD}"/>
                  </a:ext>
                </a:extLst>
              </p:cNvPr>
              <p:cNvSpPr/>
              <p:nvPr/>
            </p:nvSpPr>
            <p:spPr>
              <a:xfrm>
                <a:off x="1121651" y="3617560"/>
                <a:ext cx="69203" cy="81652"/>
              </a:xfrm>
              <a:custGeom>
                <a:avLst/>
                <a:gdLst>
                  <a:gd name="connsiteX0" fmla="*/ 46667 w 69203"/>
                  <a:gd name="connsiteY0" fmla="*/ 81652 h 81652"/>
                  <a:gd name="connsiteX1" fmla="*/ 42898 w 69203"/>
                  <a:gd name="connsiteY1" fmla="*/ 81310 h 81652"/>
                  <a:gd name="connsiteX2" fmla="*/ 29814 w 69203"/>
                  <a:gd name="connsiteY2" fmla="*/ 72829 h 81652"/>
                  <a:gd name="connsiteX3" fmla="*/ 4459 w 69203"/>
                  <a:gd name="connsiteY3" fmla="*/ 35847 h 81652"/>
                  <a:gd name="connsiteX4" fmla="*/ 5 w 69203"/>
                  <a:gd name="connsiteY4" fmla="*/ 20064 h 81652"/>
                  <a:gd name="connsiteX5" fmla="*/ 7479 w 69203"/>
                  <a:gd name="connsiteY5" fmla="*/ 4303 h 81652"/>
                  <a:gd name="connsiteX6" fmla="*/ 9663 w 69203"/>
                  <a:gd name="connsiteY6" fmla="*/ 2804 h 81652"/>
                  <a:gd name="connsiteX7" fmla="*/ 26944 w 69203"/>
                  <a:gd name="connsiteY7" fmla="*/ 1391 h 81652"/>
                  <a:gd name="connsiteX8" fmla="*/ 40029 w 69203"/>
                  <a:gd name="connsiteY8" fmla="*/ 11134 h 81652"/>
                  <a:gd name="connsiteX9" fmla="*/ 65619 w 69203"/>
                  <a:gd name="connsiteY9" fmla="*/ 48224 h 81652"/>
                  <a:gd name="connsiteX10" fmla="*/ 60372 w 69203"/>
                  <a:gd name="connsiteY10" fmla="*/ 76598 h 81652"/>
                  <a:gd name="connsiteX11" fmla="*/ 58188 w 69203"/>
                  <a:gd name="connsiteY11" fmla="*/ 78097 h 81652"/>
                  <a:gd name="connsiteX12" fmla="*/ 46667 w 69203"/>
                  <a:gd name="connsiteY12" fmla="*/ 81652 h 81652"/>
                  <a:gd name="connsiteX13" fmla="*/ 17094 w 69203"/>
                  <a:gd name="connsiteY13" fmla="*/ 13661 h 81652"/>
                  <a:gd name="connsiteX14" fmla="*/ 14909 w 69203"/>
                  <a:gd name="connsiteY14" fmla="*/ 15160 h 81652"/>
                  <a:gd name="connsiteX15" fmla="*/ 13153 w 69203"/>
                  <a:gd name="connsiteY15" fmla="*/ 20300 h 81652"/>
                  <a:gd name="connsiteX16" fmla="*/ 15295 w 69203"/>
                  <a:gd name="connsiteY16" fmla="*/ 28352 h 81652"/>
                  <a:gd name="connsiteX17" fmla="*/ 40650 w 69203"/>
                  <a:gd name="connsiteY17" fmla="*/ 65334 h 81652"/>
                  <a:gd name="connsiteX18" fmla="*/ 45275 w 69203"/>
                  <a:gd name="connsiteY18" fmla="*/ 68311 h 81652"/>
                  <a:gd name="connsiteX19" fmla="*/ 50650 w 69203"/>
                  <a:gd name="connsiteY19" fmla="*/ 67176 h 81652"/>
                  <a:gd name="connsiteX20" fmla="*/ 52835 w 69203"/>
                  <a:gd name="connsiteY20" fmla="*/ 65677 h 81652"/>
                  <a:gd name="connsiteX21" fmla="*/ 54676 w 69203"/>
                  <a:gd name="connsiteY21" fmla="*/ 55676 h 81652"/>
                  <a:gd name="connsiteX22" fmla="*/ 29086 w 69203"/>
                  <a:gd name="connsiteY22" fmla="*/ 18587 h 81652"/>
                  <a:gd name="connsiteX23" fmla="*/ 22447 w 69203"/>
                  <a:gd name="connsiteY23" fmla="*/ 13790 h 81652"/>
                  <a:gd name="connsiteX24" fmla="*/ 17094 w 69203"/>
                  <a:gd name="connsiteY24" fmla="*/ 13661 h 81652"/>
                  <a:gd name="connsiteX25" fmla="*/ 17094 w 69203"/>
                  <a:gd name="connsiteY25" fmla="*/ 13661 h 816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</a:cxnLst>
                <a:rect l="l" t="t" r="r" b="b"/>
                <a:pathLst>
                  <a:path w="69203" h="81652">
                    <a:moveTo>
                      <a:pt x="46667" y="81652"/>
                    </a:moveTo>
                    <a:cubicBezTo>
                      <a:pt x="45425" y="81652"/>
                      <a:pt x="44140" y="81545"/>
                      <a:pt x="42898" y="81310"/>
                    </a:cubicBezTo>
                    <a:cubicBezTo>
                      <a:pt x="37523" y="80325"/>
                      <a:pt x="32876" y="77305"/>
                      <a:pt x="29814" y="72829"/>
                    </a:cubicBezTo>
                    <a:lnTo>
                      <a:pt x="4459" y="35847"/>
                    </a:lnTo>
                    <a:cubicBezTo>
                      <a:pt x="1568" y="31628"/>
                      <a:pt x="-102" y="25739"/>
                      <a:pt x="5" y="20064"/>
                    </a:cubicBezTo>
                    <a:cubicBezTo>
                      <a:pt x="133" y="13126"/>
                      <a:pt x="2789" y="7515"/>
                      <a:pt x="7479" y="4303"/>
                    </a:cubicBezTo>
                    <a:lnTo>
                      <a:pt x="9663" y="2804"/>
                    </a:lnTo>
                    <a:cubicBezTo>
                      <a:pt x="14267" y="-344"/>
                      <a:pt x="20584" y="-879"/>
                      <a:pt x="26944" y="1391"/>
                    </a:cubicBezTo>
                    <a:cubicBezTo>
                      <a:pt x="32234" y="3275"/>
                      <a:pt x="37138" y="6916"/>
                      <a:pt x="40029" y="11134"/>
                    </a:cubicBezTo>
                    <a:lnTo>
                      <a:pt x="65619" y="48224"/>
                    </a:lnTo>
                    <a:cubicBezTo>
                      <a:pt x="72001" y="57497"/>
                      <a:pt x="69624" y="70217"/>
                      <a:pt x="60372" y="76598"/>
                    </a:cubicBezTo>
                    <a:lnTo>
                      <a:pt x="58188" y="78097"/>
                    </a:lnTo>
                    <a:cubicBezTo>
                      <a:pt x="54719" y="80432"/>
                      <a:pt x="50736" y="81652"/>
                      <a:pt x="46667" y="81652"/>
                    </a:cubicBezTo>
                    <a:close/>
                    <a:moveTo>
                      <a:pt x="17094" y="13661"/>
                    </a:moveTo>
                    <a:lnTo>
                      <a:pt x="14909" y="15160"/>
                    </a:lnTo>
                    <a:cubicBezTo>
                      <a:pt x="13881" y="15867"/>
                      <a:pt x="13196" y="17880"/>
                      <a:pt x="13153" y="20300"/>
                    </a:cubicBezTo>
                    <a:cubicBezTo>
                      <a:pt x="13089" y="23212"/>
                      <a:pt x="13946" y="26381"/>
                      <a:pt x="15295" y="28352"/>
                    </a:cubicBezTo>
                    <a:lnTo>
                      <a:pt x="40650" y="65334"/>
                    </a:lnTo>
                    <a:cubicBezTo>
                      <a:pt x="41720" y="66898"/>
                      <a:pt x="43369" y="67968"/>
                      <a:pt x="45275" y="68311"/>
                    </a:cubicBezTo>
                    <a:cubicBezTo>
                      <a:pt x="47160" y="68654"/>
                      <a:pt x="49087" y="68268"/>
                      <a:pt x="50650" y="67176"/>
                    </a:cubicBezTo>
                    <a:lnTo>
                      <a:pt x="52835" y="65677"/>
                    </a:lnTo>
                    <a:cubicBezTo>
                      <a:pt x="56090" y="63429"/>
                      <a:pt x="56925" y="58953"/>
                      <a:pt x="54676" y="55676"/>
                    </a:cubicBezTo>
                    <a:lnTo>
                      <a:pt x="29086" y="18587"/>
                    </a:lnTo>
                    <a:cubicBezTo>
                      <a:pt x="27737" y="16616"/>
                      <a:pt x="25124" y="14732"/>
                      <a:pt x="22447" y="13790"/>
                    </a:cubicBezTo>
                    <a:cubicBezTo>
                      <a:pt x="20199" y="12997"/>
                      <a:pt x="18143" y="12954"/>
                      <a:pt x="17094" y="13661"/>
                    </a:cubicBezTo>
                    <a:lnTo>
                      <a:pt x="17094" y="13661"/>
                    </a:lnTo>
                    <a:close/>
                  </a:path>
                </a:pathLst>
              </a:custGeom>
              <a:grpFill/>
              <a:ln w="213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66" name="Freihandform: Form 410">
                <a:extLst>
                  <a:ext uri="{FF2B5EF4-FFF2-40B4-BE49-F238E27FC236}">
                    <a16:creationId xmlns:a16="http://schemas.microsoft.com/office/drawing/2014/main" id="{0942DE2F-66AF-4436-A9CB-33C6E67DF9BC}"/>
                  </a:ext>
                </a:extLst>
              </p:cNvPr>
              <p:cNvSpPr/>
              <p:nvPr/>
            </p:nvSpPr>
            <p:spPr>
              <a:xfrm>
                <a:off x="1246510" y="3576379"/>
                <a:ext cx="51427" cy="104717"/>
              </a:xfrm>
              <a:custGeom>
                <a:avLst/>
                <a:gdLst>
                  <a:gd name="connsiteX0" fmla="*/ 26311 w 51427"/>
                  <a:gd name="connsiteY0" fmla="*/ 104717 h 104717"/>
                  <a:gd name="connsiteX1" fmla="*/ 25455 w 51427"/>
                  <a:gd name="connsiteY1" fmla="*/ 104696 h 104717"/>
                  <a:gd name="connsiteX2" fmla="*/ 22286 w 51427"/>
                  <a:gd name="connsiteY2" fmla="*/ 104589 h 104717"/>
                  <a:gd name="connsiteX3" fmla="*/ 6203 w 51427"/>
                  <a:gd name="connsiteY3" fmla="*/ 97222 h 104717"/>
                  <a:gd name="connsiteX4" fmla="*/ 14 w 51427"/>
                  <a:gd name="connsiteY4" fmla="*/ 80647 h 104717"/>
                  <a:gd name="connsiteX5" fmla="*/ 1813 w 51427"/>
                  <a:gd name="connsiteY5" fmla="*/ 26147 h 104717"/>
                  <a:gd name="connsiteX6" fmla="*/ 25433 w 51427"/>
                  <a:gd name="connsiteY6" fmla="*/ 0 h 104717"/>
                  <a:gd name="connsiteX7" fmla="*/ 26076 w 51427"/>
                  <a:gd name="connsiteY7" fmla="*/ 21 h 104717"/>
                  <a:gd name="connsiteX8" fmla="*/ 29245 w 51427"/>
                  <a:gd name="connsiteY8" fmla="*/ 128 h 104717"/>
                  <a:gd name="connsiteX9" fmla="*/ 45713 w 51427"/>
                  <a:gd name="connsiteY9" fmla="*/ 9401 h 104717"/>
                  <a:gd name="connsiteX10" fmla="*/ 51409 w 51427"/>
                  <a:gd name="connsiteY10" fmla="*/ 26832 h 104717"/>
                  <a:gd name="connsiteX11" fmla="*/ 49375 w 51427"/>
                  <a:gd name="connsiteY11" fmla="*/ 82403 h 104717"/>
                  <a:gd name="connsiteX12" fmla="*/ 26311 w 51427"/>
                  <a:gd name="connsiteY12" fmla="*/ 104717 h 104717"/>
                  <a:gd name="connsiteX13" fmla="*/ 25455 w 51427"/>
                  <a:gd name="connsiteY13" fmla="*/ 13213 h 104717"/>
                  <a:gd name="connsiteX14" fmla="*/ 15005 w 51427"/>
                  <a:gd name="connsiteY14" fmla="*/ 26618 h 104717"/>
                  <a:gd name="connsiteX15" fmla="*/ 13206 w 51427"/>
                  <a:gd name="connsiteY15" fmla="*/ 81118 h 104717"/>
                  <a:gd name="connsiteX16" fmla="*/ 15861 w 51427"/>
                  <a:gd name="connsiteY16" fmla="*/ 88249 h 104717"/>
                  <a:gd name="connsiteX17" fmla="*/ 22757 w 51427"/>
                  <a:gd name="connsiteY17" fmla="*/ 91419 h 104717"/>
                  <a:gd name="connsiteX18" fmla="*/ 25926 w 51427"/>
                  <a:gd name="connsiteY18" fmla="*/ 91526 h 104717"/>
                  <a:gd name="connsiteX19" fmla="*/ 36205 w 51427"/>
                  <a:gd name="connsiteY19" fmla="*/ 81975 h 104717"/>
                  <a:gd name="connsiteX20" fmla="*/ 38239 w 51427"/>
                  <a:gd name="connsiteY20" fmla="*/ 26404 h 104717"/>
                  <a:gd name="connsiteX21" fmla="*/ 35177 w 51427"/>
                  <a:gd name="connsiteY21" fmla="*/ 17389 h 104717"/>
                  <a:gd name="connsiteX22" fmla="*/ 28774 w 51427"/>
                  <a:gd name="connsiteY22" fmla="*/ 13341 h 104717"/>
                  <a:gd name="connsiteX23" fmla="*/ 25605 w 51427"/>
                  <a:gd name="connsiteY23" fmla="*/ 13234 h 104717"/>
                  <a:gd name="connsiteX24" fmla="*/ 25455 w 51427"/>
                  <a:gd name="connsiteY24" fmla="*/ 13213 h 1047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51427" h="104717">
                    <a:moveTo>
                      <a:pt x="26311" y="104717"/>
                    </a:moveTo>
                    <a:cubicBezTo>
                      <a:pt x="26033" y="104717"/>
                      <a:pt x="25755" y="104717"/>
                      <a:pt x="25455" y="104696"/>
                    </a:cubicBezTo>
                    <a:lnTo>
                      <a:pt x="22286" y="104589"/>
                    </a:lnTo>
                    <a:cubicBezTo>
                      <a:pt x="16140" y="104374"/>
                      <a:pt x="10422" y="101740"/>
                      <a:pt x="6203" y="97222"/>
                    </a:cubicBezTo>
                    <a:cubicBezTo>
                      <a:pt x="1985" y="92704"/>
                      <a:pt x="-200" y="86815"/>
                      <a:pt x="14" y="80647"/>
                    </a:cubicBezTo>
                    <a:lnTo>
                      <a:pt x="1813" y="26147"/>
                    </a:lnTo>
                    <a:cubicBezTo>
                      <a:pt x="2263" y="13877"/>
                      <a:pt x="12628" y="0"/>
                      <a:pt x="25433" y="0"/>
                    </a:cubicBezTo>
                    <a:cubicBezTo>
                      <a:pt x="25648" y="0"/>
                      <a:pt x="25862" y="0"/>
                      <a:pt x="26076" y="21"/>
                    </a:cubicBezTo>
                    <a:lnTo>
                      <a:pt x="29245" y="128"/>
                    </a:lnTo>
                    <a:cubicBezTo>
                      <a:pt x="35434" y="343"/>
                      <a:pt x="41430" y="3726"/>
                      <a:pt x="45713" y="9401"/>
                    </a:cubicBezTo>
                    <a:cubicBezTo>
                      <a:pt x="49546" y="14498"/>
                      <a:pt x="51645" y="20858"/>
                      <a:pt x="51409" y="26832"/>
                    </a:cubicBezTo>
                    <a:lnTo>
                      <a:pt x="49375" y="82403"/>
                    </a:lnTo>
                    <a:cubicBezTo>
                      <a:pt x="48947" y="94888"/>
                      <a:pt x="38668" y="104717"/>
                      <a:pt x="26311" y="104717"/>
                    </a:cubicBezTo>
                    <a:close/>
                    <a:moveTo>
                      <a:pt x="25455" y="13213"/>
                    </a:moveTo>
                    <a:cubicBezTo>
                      <a:pt x="20851" y="13213"/>
                      <a:pt x="15240" y="20387"/>
                      <a:pt x="15005" y="26618"/>
                    </a:cubicBezTo>
                    <a:lnTo>
                      <a:pt x="13206" y="81118"/>
                    </a:lnTo>
                    <a:cubicBezTo>
                      <a:pt x="13099" y="83774"/>
                      <a:pt x="14062" y="86301"/>
                      <a:pt x="15861" y="88249"/>
                    </a:cubicBezTo>
                    <a:cubicBezTo>
                      <a:pt x="17681" y="90198"/>
                      <a:pt x="20123" y="91333"/>
                      <a:pt x="22757" y="91419"/>
                    </a:cubicBezTo>
                    <a:lnTo>
                      <a:pt x="25926" y="91526"/>
                    </a:lnTo>
                    <a:cubicBezTo>
                      <a:pt x="31429" y="91547"/>
                      <a:pt x="36012" y="87436"/>
                      <a:pt x="36205" y="81975"/>
                    </a:cubicBezTo>
                    <a:lnTo>
                      <a:pt x="38239" y="26404"/>
                    </a:lnTo>
                    <a:cubicBezTo>
                      <a:pt x="38346" y="23492"/>
                      <a:pt x="37169" y="20044"/>
                      <a:pt x="35177" y="17389"/>
                    </a:cubicBezTo>
                    <a:cubicBezTo>
                      <a:pt x="33293" y="14905"/>
                      <a:pt x="30958" y="13427"/>
                      <a:pt x="28774" y="13341"/>
                    </a:cubicBezTo>
                    <a:lnTo>
                      <a:pt x="25605" y="13234"/>
                    </a:lnTo>
                    <a:cubicBezTo>
                      <a:pt x="25562" y="13213"/>
                      <a:pt x="25498" y="13213"/>
                      <a:pt x="25455" y="13213"/>
                    </a:cubicBezTo>
                    <a:close/>
                  </a:path>
                </a:pathLst>
              </a:custGeom>
              <a:grpFill/>
              <a:ln w="213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67" name="Freihandform: Form 411">
                <a:extLst>
                  <a:ext uri="{FF2B5EF4-FFF2-40B4-BE49-F238E27FC236}">
                    <a16:creationId xmlns:a16="http://schemas.microsoft.com/office/drawing/2014/main" id="{C2669BB3-DD2F-64E5-7378-04FEF2F8A1EF}"/>
                  </a:ext>
                </a:extLst>
              </p:cNvPr>
              <p:cNvSpPr/>
              <p:nvPr/>
            </p:nvSpPr>
            <p:spPr>
              <a:xfrm>
                <a:off x="1203742" y="3591832"/>
                <a:ext cx="55100" cy="95838"/>
              </a:xfrm>
              <a:custGeom>
                <a:avLst/>
                <a:gdLst>
                  <a:gd name="connsiteX0" fmla="*/ 30619 w 55100"/>
                  <a:gd name="connsiteY0" fmla="*/ 95838 h 95838"/>
                  <a:gd name="connsiteX1" fmla="*/ 9397 w 55100"/>
                  <a:gd name="connsiteY1" fmla="*/ 78278 h 95838"/>
                  <a:gd name="connsiteX2" fmla="*/ 424 w 55100"/>
                  <a:gd name="connsiteY2" fmla="*/ 29132 h 95838"/>
                  <a:gd name="connsiteX3" fmla="*/ 2802 w 55100"/>
                  <a:gd name="connsiteY3" fmla="*/ 12300 h 95838"/>
                  <a:gd name="connsiteX4" fmla="*/ 16571 w 55100"/>
                  <a:gd name="connsiteY4" fmla="*/ 822 h 95838"/>
                  <a:gd name="connsiteX5" fmla="*/ 19398 w 55100"/>
                  <a:gd name="connsiteY5" fmla="*/ 287 h 95838"/>
                  <a:gd name="connsiteX6" fmla="*/ 36765 w 55100"/>
                  <a:gd name="connsiteY6" fmla="*/ 5983 h 95838"/>
                  <a:gd name="connsiteX7" fmla="*/ 45652 w 55100"/>
                  <a:gd name="connsiteY7" fmla="*/ 21059 h 95838"/>
                  <a:gd name="connsiteX8" fmla="*/ 54710 w 55100"/>
                  <a:gd name="connsiteY8" fmla="*/ 69648 h 95838"/>
                  <a:gd name="connsiteX9" fmla="*/ 37536 w 55100"/>
                  <a:gd name="connsiteY9" fmla="*/ 94939 h 95838"/>
                  <a:gd name="connsiteX10" fmla="*/ 34709 w 55100"/>
                  <a:gd name="connsiteY10" fmla="*/ 95474 h 95838"/>
                  <a:gd name="connsiteX11" fmla="*/ 30619 w 55100"/>
                  <a:gd name="connsiteY11" fmla="*/ 95838 h 95838"/>
                  <a:gd name="connsiteX12" fmla="*/ 22503 w 55100"/>
                  <a:gd name="connsiteY12" fmla="*/ 13178 h 95838"/>
                  <a:gd name="connsiteX13" fmla="*/ 21882 w 55100"/>
                  <a:gd name="connsiteY13" fmla="*/ 13242 h 95838"/>
                  <a:gd name="connsiteX14" fmla="*/ 21882 w 55100"/>
                  <a:gd name="connsiteY14" fmla="*/ 13242 h 95838"/>
                  <a:gd name="connsiteX15" fmla="*/ 19055 w 55100"/>
                  <a:gd name="connsiteY15" fmla="*/ 13778 h 95838"/>
                  <a:gd name="connsiteX16" fmla="*/ 14687 w 55100"/>
                  <a:gd name="connsiteY16" fmla="*/ 18018 h 95838"/>
                  <a:gd name="connsiteX17" fmla="*/ 13402 w 55100"/>
                  <a:gd name="connsiteY17" fmla="*/ 26712 h 95838"/>
                  <a:gd name="connsiteX18" fmla="*/ 22374 w 55100"/>
                  <a:gd name="connsiteY18" fmla="*/ 75859 h 95838"/>
                  <a:gd name="connsiteX19" fmla="*/ 32225 w 55100"/>
                  <a:gd name="connsiteY19" fmla="*/ 82497 h 95838"/>
                  <a:gd name="connsiteX20" fmla="*/ 35052 w 55100"/>
                  <a:gd name="connsiteY20" fmla="*/ 81962 h 95838"/>
                  <a:gd name="connsiteX21" fmla="*/ 41733 w 55100"/>
                  <a:gd name="connsiteY21" fmla="*/ 72090 h 95838"/>
                  <a:gd name="connsiteX22" fmla="*/ 32675 w 55100"/>
                  <a:gd name="connsiteY22" fmla="*/ 23500 h 95838"/>
                  <a:gd name="connsiteX23" fmla="*/ 27964 w 55100"/>
                  <a:gd name="connsiteY23" fmla="*/ 15812 h 95838"/>
                  <a:gd name="connsiteX24" fmla="*/ 22503 w 55100"/>
                  <a:gd name="connsiteY24" fmla="*/ 13178 h 95838"/>
                  <a:gd name="connsiteX25" fmla="*/ 20618 w 55100"/>
                  <a:gd name="connsiteY25" fmla="*/ 6754 h 95838"/>
                  <a:gd name="connsiteX26" fmla="*/ 20683 w 55100"/>
                  <a:gd name="connsiteY26" fmla="*/ 6754 h 95838"/>
                  <a:gd name="connsiteX27" fmla="*/ 20618 w 55100"/>
                  <a:gd name="connsiteY27" fmla="*/ 6754 h 958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</a:cxnLst>
                <a:rect l="l" t="t" r="r" b="b"/>
                <a:pathLst>
                  <a:path w="55100" h="95838">
                    <a:moveTo>
                      <a:pt x="30619" y="95838"/>
                    </a:moveTo>
                    <a:cubicBezTo>
                      <a:pt x="20468" y="95838"/>
                      <a:pt x="11389" y="88622"/>
                      <a:pt x="9397" y="78278"/>
                    </a:cubicBezTo>
                    <a:lnTo>
                      <a:pt x="424" y="29132"/>
                    </a:lnTo>
                    <a:cubicBezTo>
                      <a:pt x="-603" y="23736"/>
                      <a:pt x="253" y="17568"/>
                      <a:pt x="2802" y="12300"/>
                    </a:cubicBezTo>
                    <a:cubicBezTo>
                      <a:pt x="5821" y="6004"/>
                      <a:pt x="10725" y="1936"/>
                      <a:pt x="16571" y="822"/>
                    </a:cubicBezTo>
                    <a:lnTo>
                      <a:pt x="19398" y="287"/>
                    </a:lnTo>
                    <a:cubicBezTo>
                      <a:pt x="25137" y="-805"/>
                      <a:pt x="31476" y="1250"/>
                      <a:pt x="36765" y="5983"/>
                    </a:cubicBezTo>
                    <a:cubicBezTo>
                      <a:pt x="41305" y="10030"/>
                      <a:pt x="44624" y="15662"/>
                      <a:pt x="45652" y="21059"/>
                    </a:cubicBezTo>
                    <a:lnTo>
                      <a:pt x="54710" y="69648"/>
                    </a:lnTo>
                    <a:cubicBezTo>
                      <a:pt x="56959" y="81319"/>
                      <a:pt x="49250" y="92690"/>
                      <a:pt x="37536" y="94939"/>
                    </a:cubicBezTo>
                    <a:lnTo>
                      <a:pt x="34709" y="95474"/>
                    </a:lnTo>
                    <a:cubicBezTo>
                      <a:pt x="33317" y="95731"/>
                      <a:pt x="31947" y="95838"/>
                      <a:pt x="30619" y="95838"/>
                    </a:cubicBezTo>
                    <a:close/>
                    <a:moveTo>
                      <a:pt x="22503" y="13178"/>
                    </a:moveTo>
                    <a:cubicBezTo>
                      <a:pt x="22289" y="13178"/>
                      <a:pt x="22075" y="13200"/>
                      <a:pt x="21882" y="13242"/>
                    </a:cubicBezTo>
                    <a:lnTo>
                      <a:pt x="21882" y="13242"/>
                    </a:lnTo>
                    <a:lnTo>
                      <a:pt x="19055" y="13778"/>
                    </a:lnTo>
                    <a:cubicBezTo>
                      <a:pt x="16742" y="14206"/>
                      <a:pt x="15222" y="16904"/>
                      <a:pt x="14687" y="18018"/>
                    </a:cubicBezTo>
                    <a:cubicBezTo>
                      <a:pt x="13380" y="20716"/>
                      <a:pt x="12888" y="24057"/>
                      <a:pt x="13402" y="26712"/>
                    </a:cubicBezTo>
                    <a:lnTo>
                      <a:pt x="22374" y="75859"/>
                    </a:lnTo>
                    <a:cubicBezTo>
                      <a:pt x="23231" y="80377"/>
                      <a:pt x="27685" y="83396"/>
                      <a:pt x="32225" y="82497"/>
                    </a:cubicBezTo>
                    <a:lnTo>
                      <a:pt x="35052" y="81962"/>
                    </a:lnTo>
                    <a:cubicBezTo>
                      <a:pt x="39613" y="81084"/>
                      <a:pt x="42611" y="76651"/>
                      <a:pt x="41733" y="72090"/>
                    </a:cubicBezTo>
                    <a:lnTo>
                      <a:pt x="32675" y="23500"/>
                    </a:lnTo>
                    <a:cubicBezTo>
                      <a:pt x="32182" y="20973"/>
                      <a:pt x="30341" y="17954"/>
                      <a:pt x="27964" y="15812"/>
                    </a:cubicBezTo>
                    <a:cubicBezTo>
                      <a:pt x="26101" y="14142"/>
                      <a:pt x="24066" y="13178"/>
                      <a:pt x="22503" y="13178"/>
                    </a:cubicBezTo>
                    <a:close/>
                    <a:moveTo>
                      <a:pt x="20618" y="6754"/>
                    </a:moveTo>
                    <a:lnTo>
                      <a:pt x="20683" y="6754"/>
                    </a:lnTo>
                    <a:lnTo>
                      <a:pt x="20618" y="6754"/>
                    </a:lnTo>
                    <a:close/>
                  </a:path>
                </a:pathLst>
              </a:custGeom>
              <a:grpFill/>
              <a:ln w="213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68" name="Freihandform: Form 412">
                <a:extLst>
                  <a:ext uri="{FF2B5EF4-FFF2-40B4-BE49-F238E27FC236}">
                    <a16:creationId xmlns:a16="http://schemas.microsoft.com/office/drawing/2014/main" id="{9FC435BA-9AF1-8809-E9BB-FF92558ADA82}"/>
                  </a:ext>
                </a:extLst>
              </p:cNvPr>
              <p:cNvSpPr/>
              <p:nvPr/>
            </p:nvSpPr>
            <p:spPr>
              <a:xfrm>
                <a:off x="1161709" y="3604421"/>
                <a:ext cx="64311" cy="93592"/>
              </a:xfrm>
              <a:custGeom>
                <a:avLst/>
                <a:gdLst>
                  <a:gd name="connsiteX0" fmla="*/ 40016 w 64311"/>
                  <a:gd name="connsiteY0" fmla="*/ 93592 h 93592"/>
                  <a:gd name="connsiteX1" fmla="*/ 19779 w 64311"/>
                  <a:gd name="connsiteY1" fmla="*/ 79652 h 93592"/>
                  <a:gd name="connsiteX2" fmla="*/ 1491 w 64311"/>
                  <a:gd name="connsiteY2" fmla="*/ 31340 h 93592"/>
                  <a:gd name="connsiteX3" fmla="*/ 1512 w 64311"/>
                  <a:gd name="connsiteY3" fmla="*/ 14551 h 93592"/>
                  <a:gd name="connsiteX4" fmla="*/ 13397 w 64311"/>
                  <a:gd name="connsiteY4" fmla="*/ 2109 h 93592"/>
                  <a:gd name="connsiteX5" fmla="*/ 16096 w 64311"/>
                  <a:gd name="connsiteY5" fmla="*/ 1082 h 93592"/>
                  <a:gd name="connsiteX6" fmla="*/ 34041 w 64311"/>
                  <a:gd name="connsiteY6" fmla="*/ 3673 h 93592"/>
                  <a:gd name="connsiteX7" fmla="*/ 45155 w 64311"/>
                  <a:gd name="connsiteY7" fmla="*/ 16907 h 93592"/>
                  <a:gd name="connsiteX8" fmla="*/ 62886 w 64311"/>
                  <a:gd name="connsiteY8" fmla="*/ 63226 h 93592"/>
                  <a:gd name="connsiteX9" fmla="*/ 62394 w 64311"/>
                  <a:gd name="connsiteY9" fmla="*/ 79780 h 93592"/>
                  <a:gd name="connsiteX10" fmla="*/ 50380 w 64311"/>
                  <a:gd name="connsiteY10" fmla="*/ 91151 h 93592"/>
                  <a:gd name="connsiteX11" fmla="*/ 47682 w 64311"/>
                  <a:gd name="connsiteY11" fmla="*/ 92179 h 93592"/>
                  <a:gd name="connsiteX12" fmla="*/ 40016 w 64311"/>
                  <a:gd name="connsiteY12" fmla="*/ 93592 h 93592"/>
                  <a:gd name="connsiteX13" fmla="*/ 20807 w 64311"/>
                  <a:gd name="connsiteY13" fmla="*/ 13438 h 93592"/>
                  <a:gd name="connsiteX14" fmla="*/ 18109 w 64311"/>
                  <a:gd name="connsiteY14" fmla="*/ 14466 h 93592"/>
                  <a:gd name="connsiteX15" fmla="*/ 13911 w 64311"/>
                  <a:gd name="connsiteY15" fmla="*/ 19155 h 93592"/>
                  <a:gd name="connsiteX16" fmla="*/ 13847 w 64311"/>
                  <a:gd name="connsiteY16" fmla="*/ 26693 h 93592"/>
                  <a:gd name="connsiteX17" fmla="*/ 32135 w 64311"/>
                  <a:gd name="connsiteY17" fmla="*/ 75004 h 93592"/>
                  <a:gd name="connsiteX18" fmla="*/ 43014 w 64311"/>
                  <a:gd name="connsiteY18" fmla="*/ 79866 h 93592"/>
                  <a:gd name="connsiteX19" fmla="*/ 45712 w 64311"/>
                  <a:gd name="connsiteY19" fmla="*/ 78838 h 93592"/>
                  <a:gd name="connsiteX20" fmla="*/ 50402 w 64311"/>
                  <a:gd name="connsiteY20" fmla="*/ 74405 h 93592"/>
                  <a:gd name="connsiteX21" fmla="*/ 50595 w 64311"/>
                  <a:gd name="connsiteY21" fmla="*/ 67959 h 93592"/>
                  <a:gd name="connsiteX22" fmla="*/ 32863 w 64311"/>
                  <a:gd name="connsiteY22" fmla="*/ 21639 h 93592"/>
                  <a:gd name="connsiteX23" fmla="*/ 27017 w 64311"/>
                  <a:gd name="connsiteY23" fmla="*/ 14851 h 93592"/>
                  <a:gd name="connsiteX24" fmla="*/ 20807 w 64311"/>
                  <a:gd name="connsiteY24" fmla="*/ 13438 h 93592"/>
                  <a:gd name="connsiteX25" fmla="*/ 20807 w 64311"/>
                  <a:gd name="connsiteY25" fmla="*/ 13438 h 935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</a:cxnLst>
                <a:rect l="l" t="t" r="r" b="b"/>
                <a:pathLst>
                  <a:path w="64311" h="93592">
                    <a:moveTo>
                      <a:pt x="40016" y="93592"/>
                    </a:moveTo>
                    <a:cubicBezTo>
                      <a:pt x="31300" y="93592"/>
                      <a:pt x="23055" y="88281"/>
                      <a:pt x="19779" y="79652"/>
                    </a:cubicBezTo>
                    <a:lnTo>
                      <a:pt x="1491" y="31340"/>
                    </a:lnTo>
                    <a:cubicBezTo>
                      <a:pt x="-501" y="26115"/>
                      <a:pt x="-501" y="19991"/>
                      <a:pt x="1512" y="14551"/>
                    </a:cubicBezTo>
                    <a:cubicBezTo>
                      <a:pt x="3675" y="8684"/>
                      <a:pt x="8022" y="4144"/>
                      <a:pt x="13397" y="2109"/>
                    </a:cubicBezTo>
                    <a:lnTo>
                      <a:pt x="16096" y="1082"/>
                    </a:lnTo>
                    <a:cubicBezTo>
                      <a:pt x="21599" y="-996"/>
                      <a:pt x="28131" y="-53"/>
                      <a:pt x="34041" y="3673"/>
                    </a:cubicBezTo>
                    <a:cubicBezTo>
                      <a:pt x="39138" y="6885"/>
                      <a:pt x="43185" y="11725"/>
                      <a:pt x="45155" y="16907"/>
                    </a:cubicBezTo>
                    <a:lnTo>
                      <a:pt x="62886" y="63226"/>
                    </a:lnTo>
                    <a:cubicBezTo>
                      <a:pt x="64942" y="68623"/>
                      <a:pt x="64771" y="74491"/>
                      <a:pt x="62394" y="79780"/>
                    </a:cubicBezTo>
                    <a:cubicBezTo>
                      <a:pt x="60017" y="85069"/>
                      <a:pt x="55755" y="89095"/>
                      <a:pt x="50380" y="91151"/>
                    </a:cubicBezTo>
                    <a:lnTo>
                      <a:pt x="47682" y="92179"/>
                    </a:lnTo>
                    <a:cubicBezTo>
                      <a:pt x="45155" y="93143"/>
                      <a:pt x="42564" y="93592"/>
                      <a:pt x="40016" y="93592"/>
                    </a:cubicBezTo>
                    <a:close/>
                    <a:moveTo>
                      <a:pt x="20807" y="13438"/>
                    </a:moveTo>
                    <a:lnTo>
                      <a:pt x="18109" y="14466"/>
                    </a:lnTo>
                    <a:cubicBezTo>
                      <a:pt x="15603" y="15429"/>
                      <a:pt x="14404" y="17806"/>
                      <a:pt x="13911" y="19155"/>
                    </a:cubicBezTo>
                    <a:cubicBezTo>
                      <a:pt x="13012" y="21597"/>
                      <a:pt x="12991" y="24423"/>
                      <a:pt x="13847" y="26693"/>
                    </a:cubicBezTo>
                    <a:lnTo>
                      <a:pt x="32135" y="75004"/>
                    </a:lnTo>
                    <a:cubicBezTo>
                      <a:pt x="33784" y="79330"/>
                      <a:pt x="38667" y="81515"/>
                      <a:pt x="43014" y="79866"/>
                    </a:cubicBezTo>
                    <a:lnTo>
                      <a:pt x="45712" y="78838"/>
                    </a:lnTo>
                    <a:cubicBezTo>
                      <a:pt x="47811" y="78045"/>
                      <a:pt x="49460" y="76461"/>
                      <a:pt x="50402" y="74405"/>
                    </a:cubicBezTo>
                    <a:cubicBezTo>
                      <a:pt x="51323" y="72349"/>
                      <a:pt x="51408" y="70058"/>
                      <a:pt x="50595" y="67959"/>
                    </a:cubicBezTo>
                    <a:lnTo>
                      <a:pt x="32863" y="21639"/>
                    </a:lnTo>
                    <a:cubicBezTo>
                      <a:pt x="31900" y="19113"/>
                      <a:pt x="29673" y="16521"/>
                      <a:pt x="27017" y="14851"/>
                    </a:cubicBezTo>
                    <a:cubicBezTo>
                      <a:pt x="24662" y="13374"/>
                      <a:pt x="22349" y="12860"/>
                      <a:pt x="20807" y="13438"/>
                    </a:cubicBezTo>
                    <a:lnTo>
                      <a:pt x="20807" y="13438"/>
                    </a:lnTo>
                    <a:close/>
                  </a:path>
                </a:pathLst>
              </a:custGeom>
              <a:grpFill/>
              <a:ln w="213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69" name="Freihandform: Form 413">
                <a:extLst>
                  <a:ext uri="{FF2B5EF4-FFF2-40B4-BE49-F238E27FC236}">
                    <a16:creationId xmlns:a16="http://schemas.microsoft.com/office/drawing/2014/main" id="{24FFFDD6-6A1B-9DF2-C700-92F0FE3398AF}"/>
                  </a:ext>
                </a:extLst>
              </p:cNvPr>
              <p:cNvSpPr/>
              <p:nvPr/>
            </p:nvSpPr>
            <p:spPr>
              <a:xfrm>
                <a:off x="1196424" y="3517103"/>
                <a:ext cx="152683" cy="117694"/>
              </a:xfrm>
              <a:custGeom>
                <a:avLst/>
                <a:gdLst>
                  <a:gd name="connsiteX0" fmla="*/ 125330 w 152683"/>
                  <a:gd name="connsiteY0" fmla="*/ 117695 h 117694"/>
                  <a:gd name="connsiteX1" fmla="*/ 117985 w 152683"/>
                  <a:gd name="connsiteY1" fmla="*/ 115875 h 117694"/>
                  <a:gd name="connsiteX2" fmla="*/ 106271 w 152683"/>
                  <a:gd name="connsiteY2" fmla="*/ 105810 h 117694"/>
                  <a:gd name="connsiteX3" fmla="*/ 110897 w 152683"/>
                  <a:gd name="connsiteY3" fmla="*/ 64715 h 117694"/>
                  <a:gd name="connsiteX4" fmla="*/ 120212 w 152683"/>
                  <a:gd name="connsiteY4" fmla="*/ 64244 h 117694"/>
                  <a:gd name="connsiteX5" fmla="*/ 120705 w 152683"/>
                  <a:gd name="connsiteY5" fmla="*/ 73538 h 117694"/>
                  <a:gd name="connsiteX6" fmla="*/ 116550 w 152683"/>
                  <a:gd name="connsiteY6" fmla="*/ 97544 h 117694"/>
                  <a:gd name="connsiteX7" fmla="*/ 124195 w 152683"/>
                  <a:gd name="connsiteY7" fmla="*/ 104225 h 117694"/>
                  <a:gd name="connsiteX8" fmla="*/ 132611 w 152683"/>
                  <a:gd name="connsiteY8" fmla="*/ 100349 h 117694"/>
                  <a:gd name="connsiteX9" fmla="*/ 136723 w 152683"/>
                  <a:gd name="connsiteY9" fmla="*/ 73067 h 117694"/>
                  <a:gd name="connsiteX10" fmla="*/ 135930 w 152683"/>
                  <a:gd name="connsiteY10" fmla="*/ 71654 h 117694"/>
                  <a:gd name="connsiteX11" fmla="*/ 124366 w 152683"/>
                  <a:gd name="connsiteY11" fmla="*/ 57349 h 117694"/>
                  <a:gd name="connsiteX12" fmla="*/ 107128 w 152683"/>
                  <a:gd name="connsiteY12" fmla="*/ 37776 h 117694"/>
                  <a:gd name="connsiteX13" fmla="*/ 10784 w 152683"/>
                  <a:gd name="connsiteY13" fmla="*/ 30495 h 117694"/>
                  <a:gd name="connsiteX14" fmla="*/ 1511 w 152683"/>
                  <a:gd name="connsiteY14" fmla="*/ 29617 h 117694"/>
                  <a:gd name="connsiteX15" fmla="*/ 2368 w 152683"/>
                  <a:gd name="connsiteY15" fmla="*/ 20344 h 117694"/>
                  <a:gd name="connsiteX16" fmla="*/ 117064 w 152683"/>
                  <a:gd name="connsiteY16" fmla="*/ 29124 h 117694"/>
                  <a:gd name="connsiteX17" fmla="*/ 134196 w 152683"/>
                  <a:gd name="connsiteY17" fmla="*/ 48569 h 117694"/>
                  <a:gd name="connsiteX18" fmla="*/ 147494 w 152683"/>
                  <a:gd name="connsiteY18" fmla="*/ 65315 h 117694"/>
                  <a:gd name="connsiteX19" fmla="*/ 148201 w 152683"/>
                  <a:gd name="connsiteY19" fmla="*/ 66578 h 117694"/>
                  <a:gd name="connsiteX20" fmla="*/ 142055 w 152683"/>
                  <a:gd name="connsiteY20" fmla="*/ 109579 h 117694"/>
                  <a:gd name="connsiteX21" fmla="*/ 125330 w 152683"/>
                  <a:gd name="connsiteY21" fmla="*/ 117695 h 1176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152683" h="117694">
                    <a:moveTo>
                      <a:pt x="125330" y="117695"/>
                    </a:moveTo>
                    <a:cubicBezTo>
                      <a:pt x="122760" y="117695"/>
                      <a:pt x="120276" y="117095"/>
                      <a:pt x="117985" y="115875"/>
                    </a:cubicBezTo>
                    <a:cubicBezTo>
                      <a:pt x="112439" y="112919"/>
                      <a:pt x="106892" y="106538"/>
                      <a:pt x="106271" y="105810"/>
                    </a:cubicBezTo>
                    <a:cubicBezTo>
                      <a:pt x="94493" y="90284"/>
                      <a:pt x="104173" y="72168"/>
                      <a:pt x="110897" y="64715"/>
                    </a:cubicBezTo>
                    <a:cubicBezTo>
                      <a:pt x="113338" y="61996"/>
                      <a:pt x="117492" y="61782"/>
                      <a:pt x="120212" y="64244"/>
                    </a:cubicBezTo>
                    <a:cubicBezTo>
                      <a:pt x="122910" y="66685"/>
                      <a:pt x="123124" y="70840"/>
                      <a:pt x="120705" y="73538"/>
                    </a:cubicBezTo>
                    <a:cubicBezTo>
                      <a:pt x="120191" y="74116"/>
                      <a:pt x="108755" y="87222"/>
                      <a:pt x="116550" y="97544"/>
                    </a:cubicBezTo>
                    <a:cubicBezTo>
                      <a:pt x="118006" y="99214"/>
                      <a:pt x="121668" y="102876"/>
                      <a:pt x="124195" y="104225"/>
                    </a:cubicBezTo>
                    <a:cubicBezTo>
                      <a:pt x="125673" y="105018"/>
                      <a:pt x="129120" y="103925"/>
                      <a:pt x="132611" y="100349"/>
                    </a:cubicBezTo>
                    <a:cubicBezTo>
                      <a:pt x="138564" y="94246"/>
                      <a:pt x="142397" y="83089"/>
                      <a:pt x="136723" y="73067"/>
                    </a:cubicBezTo>
                    <a:lnTo>
                      <a:pt x="135930" y="71654"/>
                    </a:lnTo>
                    <a:cubicBezTo>
                      <a:pt x="134474" y="69020"/>
                      <a:pt x="134003" y="68120"/>
                      <a:pt x="124366" y="57349"/>
                    </a:cubicBezTo>
                    <a:cubicBezTo>
                      <a:pt x="120169" y="52638"/>
                      <a:pt x="114623" y="46363"/>
                      <a:pt x="107128" y="37776"/>
                    </a:cubicBezTo>
                    <a:cubicBezTo>
                      <a:pt x="63635" y="-12056"/>
                      <a:pt x="12925" y="28718"/>
                      <a:pt x="10784" y="30495"/>
                    </a:cubicBezTo>
                    <a:cubicBezTo>
                      <a:pt x="7978" y="32808"/>
                      <a:pt x="3824" y="32422"/>
                      <a:pt x="1511" y="29617"/>
                    </a:cubicBezTo>
                    <a:cubicBezTo>
                      <a:pt x="-801" y="26812"/>
                      <a:pt x="-416" y="22657"/>
                      <a:pt x="2368" y="20344"/>
                    </a:cubicBezTo>
                    <a:cubicBezTo>
                      <a:pt x="2989" y="19830"/>
                      <a:pt x="65048" y="-30515"/>
                      <a:pt x="117064" y="29124"/>
                    </a:cubicBezTo>
                    <a:cubicBezTo>
                      <a:pt x="124516" y="37669"/>
                      <a:pt x="130020" y="43900"/>
                      <a:pt x="134196" y="48569"/>
                    </a:cubicBezTo>
                    <a:cubicBezTo>
                      <a:pt x="144389" y="59961"/>
                      <a:pt x="145438" y="61546"/>
                      <a:pt x="147494" y="65315"/>
                    </a:cubicBezTo>
                    <a:lnTo>
                      <a:pt x="148201" y="66578"/>
                    </a:lnTo>
                    <a:cubicBezTo>
                      <a:pt x="157216" y="82532"/>
                      <a:pt x="151327" y="100049"/>
                      <a:pt x="142055" y="109579"/>
                    </a:cubicBezTo>
                    <a:cubicBezTo>
                      <a:pt x="136873" y="114890"/>
                      <a:pt x="130898" y="117695"/>
                      <a:pt x="125330" y="117695"/>
                    </a:cubicBezTo>
                    <a:close/>
                  </a:path>
                </a:pathLst>
              </a:custGeom>
              <a:grpFill/>
              <a:ln w="213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</p:grpSp>
        <p:grpSp>
          <p:nvGrpSpPr>
            <p:cNvPr id="155" name="Grafik 319">
              <a:extLst>
                <a:ext uri="{FF2B5EF4-FFF2-40B4-BE49-F238E27FC236}">
                  <a16:creationId xmlns:a16="http://schemas.microsoft.com/office/drawing/2014/main" id="{74263EC4-1812-7FBB-2165-3D922DE71330}"/>
                </a:ext>
              </a:extLst>
            </p:cNvPr>
            <p:cNvGrpSpPr/>
            <p:nvPr/>
          </p:nvGrpSpPr>
          <p:grpSpPr>
            <a:xfrm>
              <a:off x="860720" y="3517087"/>
              <a:ext cx="227785" cy="182125"/>
              <a:chOff x="860720" y="3517087"/>
              <a:chExt cx="227785" cy="182125"/>
            </a:xfrm>
            <a:grpFill/>
          </p:grpSpPr>
          <p:sp>
            <p:nvSpPr>
              <p:cNvPr id="156" name="Freihandform: Form 415">
                <a:extLst>
                  <a:ext uri="{FF2B5EF4-FFF2-40B4-BE49-F238E27FC236}">
                    <a16:creationId xmlns:a16="http://schemas.microsoft.com/office/drawing/2014/main" id="{0466CB7A-4370-981C-A4F4-E33493FD167C}"/>
                  </a:ext>
                </a:extLst>
              </p:cNvPr>
              <p:cNvSpPr/>
              <p:nvPr/>
            </p:nvSpPr>
            <p:spPr>
              <a:xfrm>
                <a:off x="985146" y="3525464"/>
                <a:ext cx="103359" cy="107835"/>
              </a:xfrm>
              <a:custGeom>
                <a:avLst/>
                <a:gdLst>
                  <a:gd name="connsiteX0" fmla="*/ 92417 w 103359"/>
                  <a:gd name="connsiteY0" fmla="*/ 107835 h 107835"/>
                  <a:gd name="connsiteX1" fmla="*/ 90811 w 103359"/>
                  <a:gd name="connsiteY1" fmla="*/ 107642 h 107835"/>
                  <a:gd name="connsiteX2" fmla="*/ 86015 w 103359"/>
                  <a:gd name="connsiteY2" fmla="*/ 99633 h 107835"/>
                  <a:gd name="connsiteX3" fmla="*/ 77706 w 103359"/>
                  <a:gd name="connsiteY3" fmla="*/ 32178 h 107835"/>
                  <a:gd name="connsiteX4" fmla="*/ 7595 w 103359"/>
                  <a:gd name="connsiteY4" fmla="*/ 14147 h 107835"/>
                  <a:gd name="connsiteX5" fmla="*/ 78 w 103359"/>
                  <a:gd name="connsiteY5" fmla="*/ 8622 h 107835"/>
                  <a:gd name="connsiteX6" fmla="*/ 5603 w 103359"/>
                  <a:gd name="connsiteY6" fmla="*/ 1105 h 107835"/>
                  <a:gd name="connsiteX7" fmla="*/ 87428 w 103359"/>
                  <a:gd name="connsiteY7" fmla="*/ 23269 h 107835"/>
                  <a:gd name="connsiteX8" fmla="*/ 98799 w 103359"/>
                  <a:gd name="connsiteY8" fmla="*/ 102846 h 107835"/>
                  <a:gd name="connsiteX9" fmla="*/ 92417 w 103359"/>
                  <a:gd name="connsiteY9" fmla="*/ 107835 h 1078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03359" h="107835">
                    <a:moveTo>
                      <a:pt x="92417" y="107835"/>
                    </a:moveTo>
                    <a:cubicBezTo>
                      <a:pt x="91882" y="107835"/>
                      <a:pt x="91347" y="107771"/>
                      <a:pt x="90811" y="107642"/>
                    </a:cubicBezTo>
                    <a:cubicBezTo>
                      <a:pt x="87278" y="106764"/>
                      <a:pt x="85137" y="103188"/>
                      <a:pt x="86015" y="99633"/>
                    </a:cubicBezTo>
                    <a:cubicBezTo>
                      <a:pt x="93595" y="69246"/>
                      <a:pt x="90790" y="46547"/>
                      <a:pt x="77706" y="32178"/>
                    </a:cubicBezTo>
                    <a:cubicBezTo>
                      <a:pt x="55049" y="7273"/>
                      <a:pt x="8066" y="14061"/>
                      <a:pt x="7595" y="14147"/>
                    </a:cubicBezTo>
                    <a:cubicBezTo>
                      <a:pt x="4040" y="14725"/>
                      <a:pt x="635" y="12219"/>
                      <a:pt x="78" y="8622"/>
                    </a:cubicBezTo>
                    <a:cubicBezTo>
                      <a:pt x="-479" y="5024"/>
                      <a:pt x="2005" y="1662"/>
                      <a:pt x="5603" y="1105"/>
                    </a:cubicBezTo>
                    <a:cubicBezTo>
                      <a:pt x="7809" y="763"/>
                      <a:pt x="59953" y="-6861"/>
                      <a:pt x="87428" y="23269"/>
                    </a:cubicBezTo>
                    <a:cubicBezTo>
                      <a:pt x="103703" y="41108"/>
                      <a:pt x="107536" y="67876"/>
                      <a:pt x="98799" y="102846"/>
                    </a:cubicBezTo>
                    <a:cubicBezTo>
                      <a:pt x="98071" y="105822"/>
                      <a:pt x="95373" y="107835"/>
                      <a:pt x="92417" y="107835"/>
                    </a:cubicBezTo>
                    <a:close/>
                  </a:path>
                </a:pathLst>
              </a:custGeom>
              <a:grpFill/>
              <a:ln w="213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57" name="Freihandform: Form 416">
                <a:extLst>
                  <a:ext uri="{FF2B5EF4-FFF2-40B4-BE49-F238E27FC236}">
                    <a16:creationId xmlns:a16="http://schemas.microsoft.com/office/drawing/2014/main" id="{4C2F5A5D-2382-1CD0-6F84-9A83C801F518}"/>
                  </a:ext>
                </a:extLst>
              </p:cNvPr>
              <p:cNvSpPr/>
              <p:nvPr/>
            </p:nvSpPr>
            <p:spPr>
              <a:xfrm>
                <a:off x="900954" y="3589047"/>
                <a:ext cx="24888" cy="23330"/>
              </a:xfrm>
              <a:custGeom>
                <a:avLst/>
                <a:gdLst>
                  <a:gd name="connsiteX0" fmla="*/ 6600 w 24888"/>
                  <a:gd name="connsiteY0" fmla="*/ 23330 h 23330"/>
                  <a:gd name="connsiteX1" fmla="*/ 1289 w 24888"/>
                  <a:gd name="connsiteY1" fmla="*/ 20653 h 23330"/>
                  <a:gd name="connsiteX2" fmla="*/ 2681 w 24888"/>
                  <a:gd name="connsiteY2" fmla="*/ 11424 h 23330"/>
                  <a:gd name="connsiteX3" fmla="*/ 13389 w 24888"/>
                  <a:gd name="connsiteY3" fmla="*/ 2194 h 23330"/>
                  <a:gd name="connsiteX4" fmla="*/ 22682 w 24888"/>
                  <a:gd name="connsiteY4" fmla="*/ 1680 h 23330"/>
                  <a:gd name="connsiteX5" fmla="*/ 23218 w 24888"/>
                  <a:gd name="connsiteY5" fmla="*/ 10974 h 23330"/>
                  <a:gd name="connsiteX6" fmla="*/ 10498 w 24888"/>
                  <a:gd name="connsiteY6" fmla="*/ 22045 h 23330"/>
                  <a:gd name="connsiteX7" fmla="*/ 6600 w 24888"/>
                  <a:gd name="connsiteY7" fmla="*/ 23330 h 233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4888" h="23330">
                    <a:moveTo>
                      <a:pt x="6600" y="23330"/>
                    </a:moveTo>
                    <a:cubicBezTo>
                      <a:pt x="4587" y="23330"/>
                      <a:pt x="2574" y="22409"/>
                      <a:pt x="1289" y="20653"/>
                    </a:cubicBezTo>
                    <a:cubicBezTo>
                      <a:pt x="-874" y="17719"/>
                      <a:pt x="-252" y="13586"/>
                      <a:pt x="2681" y="11424"/>
                    </a:cubicBezTo>
                    <a:cubicBezTo>
                      <a:pt x="9748" y="6220"/>
                      <a:pt x="13346" y="2237"/>
                      <a:pt x="13389" y="2194"/>
                    </a:cubicBezTo>
                    <a:cubicBezTo>
                      <a:pt x="15830" y="-526"/>
                      <a:pt x="19984" y="-740"/>
                      <a:pt x="22682" y="1680"/>
                    </a:cubicBezTo>
                    <a:cubicBezTo>
                      <a:pt x="25402" y="4100"/>
                      <a:pt x="25638" y="8254"/>
                      <a:pt x="23218" y="10974"/>
                    </a:cubicBezTo>
                    <a:cubicBezTo>
                      <a:pt x="23047" y="11167"/>
                      <a:pt x="18764" y="15942"/>
                      <a:pt x="10498" y="22045"/>
                    </a:cubicBezTo>
                    <a:cubicBezTo>
                      <a:pt x="9320" y="22902"/>
                      <a:pt x="7949" y="23330"/>
                      <a:pt x="6600" y="23330"/>
                    </a:cubicBezTo>
                    <a:close/>
                  </a:path>
                </a:pathLst>
              </a:custGeom>
              <a:grpFill/>
              <a:ln w="213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58" name="Freihandform: Form 417">
                <a:extLst>
                  <a:ext uri="{FF2B5EF4-FFF2-40B4-BE49-F238E27FC236}">
                    <a16:creationId xmlns:a16="http://schemas.microsoft.com/office/drawing/2014/main" id="{B455F4C3-A2C4-531A-78C0-5C9DC57C5771}"/>
                  </a:ext>
                </a:extLst>
              </p:cNvPr>
              <p:cNvSpPr/>
              <p:nvPr/>
            </p:nvSpPr>
            <p:spPr>
              <a:xfrm>
                <a:off x="1019040" y="3617554"/>
                <a:ext cx="69192" cy="81658"/>
              </a:xfrm>
              <a:custGeom>
                <a:avLst/>
                <a:gdLst>
                  <a:gd name="connsiteX0" fmla="*/ 22504 w 69192"/>
                  <a:gd name="connsiteY0" fmla="*/ 81659 h 81658"/>
                  <a:gd name="connsiteX1" fmla="*/ 11026 w 69192"/>
                  <a:gd name="connsiteY1" fmla="*/ 78082 h 81658"/>
                  <a:gd name="connsiteX2" fmla="*/ 8842 w 69192"/>
                  <a:gd name="connsiteY2" fmla="*/ 76605 h 81658"/>
                  <a:gd name="connsiteX3" fmla="*/ 3574 w 69192"/>
                  <a:gd name="connsiteY3" fmla="*/ 48252 h 81658"/>
                  <a:gd name="connsiteX4" fmla="*/ 29185 w 69192"/>
                  <a:gd name="connsiteY4" fmla="*/ 11141 h 81658"/>
                  <a:gd name="connsiteX5" fmla="*/ 42270 w 69192"/>
                  <a:gd name="connsiteY5" fmla="*/ 1397 h 81658"/>
                  <a:gd name="connsiteX6" fmla="*/ 59551 w 69192"/>
                  <a:gd name="connsiteY6" fmla="*/ 2810 h 81658"/>
                  <a:gd name="connsiteX7" fmla="*/ 59551 w 69192"/>
                  <a:gd name="connsiteY7" fmla="*/ 2810 h 81658"/>
                  <a:gd name="connsiteX8" fmla="*/ 61735 w 69192"/>
                  <a:gd name="connsiteY8" fmla="*/ 4309 h 81658"/>
                  <a:gd name="connsiteX9" fmla="*/ 69188 w 69192"/>
                  <a:gd name="connsiteY9" fmla="*/ 20071 h 81658"/>
                  <a:gd name="connsiteX10" fmla="*/ 64733 w 69192"/>
                  <a:gd name="connsiteY10" fmla="*/ 35853 h 81658"/>
                  <a:gd name="connsiteX11" fmla="*/ 39379 w 69192"/>
                  <a:gd name="connsiteY11" fmla="*/ 72815 h 81658"/>
                  <a:gd name="connsiteX12" fmla="*/ 26294 w 69192"/>
                  <a:gd name="connsiteY12" fmla="*/ 81295 h 81658"/>
                  <a:gd name="connsiteX13" fmla="*/ 22504 w 69192"/>
                  <a:gd name="connsiteY13" fmla="*/ 81659 h 81658"/>
                  <a:gd name="connsiteX14" fmla="*/ 50022 w 69192"/>
                  <a:gd name="connsiteY14" fmla="*/ 13175 h 81658"/>
                  <a:gd name="connsiteX15" fmla="*/ 46702 w 69192"/>
                  <a:gd name="connsiteY15" fmla="*/ 13817 h 81658"/>
                  <a:gd name="connsiteX16" fmla="*/ 40064 w 69192"/>
                  <a:gd name="connsiteY16" fmla="*/ 18614 h 81658"/>
                  <a:gd name="connsiteX17" fmla="*/ 14452 w 69192"/>
                  <a:gd name="connsiteY17" fmla="*/ 55726 h 81658"/>
                  <a:gd name="connsiteX18" fmla="*/ 16315 w 69192"/>
                  <a:gd name="connsiteY18" fmla="*/ 65726 h 81658"/>
                  <a:gd name="connsiteX19" fmla="*/ 18500 w 69192"/>
                  <a:gd name="connsiteY19" fmla="*/ 67204 h 81658"/>
                  <a:gd name="connsiteX20" fmla="*/ 23896 w 69192"/>
                  <a:gd name="connsiteY20" fmla="*/ 68339 h 81658"/>
                  <a:gd name="connsiteX21" fmla="*/ 28522 w 69192"/>
                  <a:gd name="connsiteY21" fmla="*/ 65362 h 81658"/>
                  <a:gd name="connsiteX22" fmla="*/ 53876 w 69192"/>
                  <a:gd name="connsiteY22" fmla="*/ 28401 h 81658"/>
                  <a:gd name="connsiteX23" fmla="*/ 56018 w 69192"/>
                  <a:gd name="connsiteY23" fmla="*/ 20327 h 81658"/>
                  <a:gd name="connsiteX24" fmla="*/ 54283 w 69192"/>
                  <a:gd name="connsiteY24" fmla="*/ 15188 h 81658"/>
                  <a:gd name="connsiteX25" fmla="*/ 52099 w 69192"/>
                  <a:gd name="connsiteY25" fmla="*/ 13689 h 81658"/>
                  <a:gd name="connsiteX26" fmla="*/ 50022 w 69192"/>
                  <a:gd name="connsiteY26" fmla="*/ 13175 h 816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69192" h="81658">
                    <a:moveTo>
                      <a:pt x="22504" y="81659"/>
                    </a:moveTo>
                    <a:cubicBezTo>
                      <a:pt x="18414" y="81659"/>
                      <a:pt x="14452" y="80438"/>
                      <a:pt x="11026" y="78082"/>
                    </a:cubicBezTo>
                    <a:lnTo>
                      <a:pt x="8842" y="76605"/>
                    </a:lnTo>
                    <a:cubicBezTo>
                      <a:pt x="-431" y="70245"/>
                      <a:pt x="-2787" y="57525"/>
                      <a:pt x="3574" y="48252"/>
                    </a:cubicBezTo>
                    <a:lnTo>
                      <a:pt x="29185" y="11141"/>
                    </a:lnTo>
                    <a:cubicBezTo>
                      <a:pt x="32076" y="6922"/>
                      <a:pt x="36980" y="3281"/>
                      <a:pt x="42270" y="1397"/>
                    </a:cubicBezTo>
                    <a:cubicBezTo>
                      <a:pt x="48630" y="-873"/>
                      <a:pt x="54926" y="-359"/>
                      <a:pt x="59551" y="2810"/>
                    </a:cubicBezTo>
                    <a:lnTo>
                      <a:pt x="59551" y="2810"/>
                    </a:lnTo>
                    <a:lnTo>
                      <a:pt x="61735" y="4309"/>
                    </a:lnTo>
                    <a:cubicBezTo>
                      <a:pt x="66404" y="7522"/>
                      <a:pt x="69059" y="13111"/>
                      <a:pt x="69188" y="20071"/>
                    </a:cubicBezTo>
                    <a:cubicBezTo>
                      <a:pt x="69295" y="25724"/>
                      <a:pt x="67624" y="31634"/>
                      <a:pt x="64733" y="35853"/>
                    </a:cubicBezTo>
                    <a:lnTo>
                      <a:pt x="39379" y="72815"/>
                    </a:lnTo>
                    <a:cubicBezTo>
                      <a:pt x="36295" y="77290"/>
                      <a:pt x="31648" y="80310"/>
                      <a:pt x="26294" y="81295"/>
                    </a:cubicBezTo>
                    <a:cubicBezTo>
                      <a:pt x="25031" y="81552"/>
                      <a:pt x="23767" y="81659"/>
                      <a:pt x="22504" y="81659"/>
                    </a:cubicBezTo>
                    <a:close/>
                    <a:moveTo>
                      <a:pt x="50022" y="13175"/>
                    </a:moveTo>
                    <a:cubicBezTo>
                      <a:pt x="49058" y="13175"/>
                      <a:pt x="47902" y="13389"/>
                      <a:pt x="46702" y="13817"/>
                    </a:cubicBezTo>
                    <a:cubicBezTo>
                      <a:pt x="44026" y="14781"/>
                      <a:pt x="41413" y="16644"/>
                      <a:pt x="40064" y="18614"/>
                    </a:cubicBezTo>
                    <a:lnTo>
                      <a:pt x="14452" y="55726"/>
                    </a:lnTo>
                    <a:cubicBezTo>
                      <a:pt x="12204" y="58981"/>
                      <a:pt x="13039" y="63478"/>
                      <a:pt x="16315" y="65726"/>
                    </a:cubicBezTo>
                    <a:lnTo>
                      <a:pt x="18500" y="67204"/>
                    </a:lnTo>
                    <a:cubicBezTo>
                      <a:pt x="20084" y="68296"/>
                      <a:pt x="21990" y="68681"/>
                      <a:pt x="23896" y="68339"/>
                    </a:cubicBezTo>
                    <a:cubicBezTo>
                      <a:pt x="25802" y="67996"/>
                      <a:pt x="27429" y="66926"/>
                      <a:pt x="28522" y="65362"/>
                    </a:cubicBezTo>
                    <a:lnTo>
                      <a:pt x="53876" y="28401"/>
                    </a:lnTo>
                    <a:cubicBezTo>
                      <a:pt x="55247" y="26409"/>
                      <a:pt x="56082" y="23261"/>
                      <a:pt x="56018" y="20327"/>
                    </a:cubicBezTo>
                    <a:cubicBezTo>
                      <a:pt x="55975" y="17908"/>
                      <a:pt x="55290" y="15873"/>
                      <a:pt x="54283" y="15188"/>
                    </a:cubicBezTo>
                    <a:lnTo>
                      <a:pt x="52099" y="13689"/>
                    </a:lnTo>
                    <a:cubicBezTo>
                      <a:pt x="51585" y="13346"/>
                      <a:pt x="50857" y="13175"/>
                      <a:pt x="50022" y="13175"/>
                    </a:cubicBezTo>
                    <a:close/>
                  </a:path>
                </a:pathLst>
              </a:custGeom>
              <a:grpFill/>
              <a:ln w="213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59" name="Freihandform: Form 418">
                <a:extLst>
                  <a:ext uri="{FF2B5EF4-FFF2-40B4-BE49-F238E27FC236}">
                    <a16:creationId xmlns:a16="http://schemas.microsoft.com/office/drawing/2014/main" id="{DF8781C8-F930-7771-D91F-5E242F8016CF}"/>
                  </a:ext>
                </a:extLst>
              </p:cNvPr>
              <p:cNvSpPr/>
              <p:nvPr/>
            </p:nvSpPr>
            <p:spPr>
              <a:xfrm>
                <a:off x="911907" y="3576395"/>
                <a:ext cx="51445" cy="104700"/>
              </a:xfrm>
              <a:custGeom>
                <a:avLst/>
                <a:gdLst>
                  <a:gd name="connsiteX0" fmla="*/ 25134 w 51445"/>
                  <a:gd name="connsiteY0" fmla="*/ 104701 h 104700"/>
                  <a:gd name="connsiteX1" fmla="*/ 9416 w 51445"/>
                  <a:gd name="connsiteY1" fmla="*/ 98491 h 104700"/>
                  <a:gd name="connsiteX2" fmla="*/ 2049 w 51445"/>
                  <a:gd name="connsiteY2" fmla="*/ 82408 h 104700"/>
                  <a:gd name="connsiteX3" fmla="*/ 15 w 51445"/>
                  <a:gd name="connsiteY3" fmla="*/ 26838 h 104700"/>
                  <a:gd name="connsiteX4" fmla="*/ 5733 w 51445"/>
                  <a:gd name="connsiteY4" fmla="*/ 9406 h 104700"/>
                  <a:gd name="connsiteX5" fmla="*/ 22201 w 51445"/>
                  <a:gd name="connsiteY5" fmla="*/ 134 h 104700"/>
                  <a:gd name="connsiteX6" fmla="*/ 25370 w 51445"/>
                  <a:gd name="connsiteY6" fmla="*/ 27 h 104700"/>
                  <a:gd name="connsiteX7" fmla="*/ 49633 w 51445"/>
                  <a:gd name="connsiteY7" fmla="*/ 26131 h 104700"/>
                  <a:gd name="connsiteX8" fmla="*/ 51431 w 51445"/>
                  <a:gd name="connsiteY8" fmla="*/ 80652 h 104700"/>
                  <a:gd name="connsiteX9" fmla="*/ 29160 w 51445"/>
                  <a:gd name="connsiteY9" fmla="*/ 104572 h 104700"/>
                  <a:gd name="connsiteX10" fmla="*/ 25991 w 51445"/>
                  <a:gd name="connsiteY10" fmla="*/ 104679 h 104700"/>
                  <a:gd name="connsiteX11" fmla="*/ 25134 w 51445"/>
                  <a:gd name="connsiteY11" fmla="*/ 104701 h 104700"/>
                  <a:gd name="connsiteX12" fmla="*/ 25969 w 51445"/>
                  <a:gd name="connsiteY12" fmla="*/ 13197 h 104700"/>
                  <a:gd name="connsiteX13" fmla="*/ 25820 w 51445"/>
                  <a:gd name="connsiteY13" fmla="*/ 13197 h 104700"/>
                  <a:gd name="connsiteX14" fmla="*/ 22650 w 51445"/>
                  <a:gd name="connsiteY14" fmla="*/ 13304 h 104700"/>
                  <a:gd name="connsiteX15" fmla="*/ 16247 w 51445"/>
                  <a:gd name="connsiteY15" fmla="*/ 17351 h 104700"/>
                  <a:gd name="connsiteX16" fmla="*/ 13185 w 51445"/>
                  <a:gd name="connsiteY16" fmla="*/ 26366 h 104700"/>
                  <a:gd name="connsiteX17" fmla="*/ 15219 w 51445"/>
                  <a:gd name="connsiteY17" fmla="*/ 81937 h 104700"/>
                  <a:gd name="connsiteX18" fmla="*/ 18389 w 51445"/>
                  <a:gd name="connsiteY18" fmla="*/ 88833 h 104700"/>
                  <a:gd name="connsiteX19" fmla="*/ 25498 w 51445"/>
                  <a:gd name="connsiteY19" fmla="*/ 91509 h 104700"/>
                  <a:gd name="connsiteX20" fmla="*/ 28668 w 51445"/>
                  <a:gd name="connsiteY20" fmla="*/ 91402 h 104700"/>
                  <a:gd name="connsiteX21" fmla="*/ 38219 w 51445"/>
                  <a:gd name="connsiteY21" fmla="*/ 81123 h 104700"/>
                  <a:gd name="connsiteX22" fmla="*/ 36420 w 51445"/>
                  <a:gd name="connsiteY22" fmla="*/ 26602 h 104700"/>
                  <a:gd name="connsiteX23" fmla="*/ 25969 w 51445"/>
                  <a:gd name="connsiteY23" fmla="*/ 13197 h 104700"/>
                  <a:gd name="connsiteX24" fmla="*/ 22415 w 51445"/>
                  <a:gd name="connsiteY24" fmla="*/ 6729 h 104700"/>
                  <a:gd name="connsiteX25" fmla="*/ 22479 w 51445"/>
                  <a:gd name="connsiteY25" fmla="*/ 6729 h 104700"/>
                  <a:gd name="connsiteX26" fmla="*/ 22415 w 51445"/>
                  <a:gd name="connsiteY26" fmla="*/ 6729 h 1047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51445" h="104700">
                    <a:moveTo>
                      <a:pt x="25134" y="104701"/>
                    </a:moveTo>
                    <a:cubicBezTo>
                      <a:pt x="19288" y="104701"/>
                      <a:pt x="13742" y="102516"/>
                      <a:pt x="9416" y="98491"/>
                    </a:cubicBezTo>
                    <a:cubicBezTo>
                      <a:pt x="4876" y="94272"/>
                      <a:pt x="2264" y="88554"/>
                      <a:pt x="2049" y="82408"/>
                    </a:cubicBezTo>
                    <a:lnTo>
                      <a:pt x="15" y="26838"/>
                    </a:lnTo>
                    <a:cubicBezTo>
                      <a:pt x="-199" y="20863"/>
                      <a:pt x="1878" y="14503"/>
                      <a:pt x="5733" y="9406"/>
                    </a:cubicBezTo>
                    <a:cubicBezTo>
                      <a:pt x="10016" y="3731"/>
                      <a:pt x="16012" y="348"/>
                      <a:pt x="22201" y="134"/>
                    </a:cubicBezTo>
                    <a:lnTo>
                      <a:pt x="25370" y="27"/>
                    </a:lnTo>
                    <a:cubicBezTo>
                      <a:pt x="38711" y="-702"/>
                      <a:pt x="49183" y="13668"/>
                      <a:pt x="49633" y="26131"/>
                    </a:cubicBezTo>
                    <a:lnTo>
                      <a:pt x="51431" y="80652"/>
                    </a:lnTo>
                    <a:cubicBezTo>
                      <a:pt x="51881" y="93373"/>
                      <a:pt x="41902" y="104101"/>
                      <a:pt x="29160" y="104572"/>
                    </a:cubicBezTo>
                    <a:lnTo>
                      <a:pt x="25991" y="104679"/>
                    </a:lnTo>
                    <a:cubicBezTo>
                      <a:pt x="25691" y="104701"/>
                      <a:pt x="25413" y="104701"/>
                      <a:pt x="25134" y="104701"/>
                    </a:cubicBezTo>
                    <a:close/>
                    <a:moveTo>
                      <a:pt x="25969" y="13197"/>
                    </a:moveTo>
                    <a:cubicBezTo>
                      <a:pt x="25927" y="13197"/>
                      <a:pt x="25862" y="13197"/>
                      <a:pt x="25820" y="13197"/>
                    </a:cubicBezTo>
                    <a:lnTo>
                      <a:pt x="22650" y="13304"/>
                    </a:lnTo>
                    <a:cubicBezTo>
                      <a:pt x="20445" y="13389"/>
                      <a:pt x="18110" y="14845"/>
                      <a:pt x="16247" y="17351"/>
                    </a:cubicBezTo>
                    <a:cubicBezTo>
                      <a:pt x="14256" y="19985"/>
                      <a:pt x="13078" y="23454"/>
                      <a:pt x="13185" y="26366"/>
                    </a:cubicBezTo>
                    <a:lnTo>
                      <a:pt x="15219" y="81937"/>
                    </a:lnTo>
                    <a:cubicBezTo>
                      <a:pt x="15305" y="84571"/>
                      <a:pt x="16440" y="87012"/>
                      <a:pt x="18389" y="88833"/>
                    </a:cubicBezTo>
                    <a:cubicBezTo>
                      <a:pt x="20337" y="90653"/>
                      <a:pt x="22843" y="91531"/>
                      <a:pt x="25498" y="91509"/>
                    </a:cubicBezTo>
                    <a:lnTo>
                      <a:pt x="28668" y="91402"/>
                    </a:lnTo>
                    <a:cubicBezTo>
                      <a:pt x="34150" y="91210"/>
                      <a:pt x="38433" y="86584"/>
                      <a:pt x="38219" y="81123"/>
                    </a:cubicBezTo>
                    <a:lnTo>
                      <a:pt x="36420" y="26602"/>
                    </a:lnTo>
                    <a:cubicBezTo>
                      <a:pt x="36184" y="20370"/>
                      <a:pt x="30574" y="13197"/>
                      <a:pt x="25969" y="13197"/>
                    </a:cubicBezTo>
                    <a:close/>
                    <a:moveTo>
                      <a:pt x="22415" y="6729"/>
                    </a:moveTo>
                    <a:lnTo>
                      <a:pt x="22479" y="6729"/>
                    </a:lnTo>
                    <a:lnTo>
                      <a:pt x="22415" y="6729"/>
                    </a:lnTo>
                    <a:close/>
                  </a:path>
                </a:pathLst>
              </a:custGeom>
              <a:grpFill/>
              <a:ln w="213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60" name="Freihandform: Form 419">
                <a:extLst>
                  <a:ext uri="{FF2B5EF4-FFF2-40B4-BE49-F238E27FC236}">
                    <a16:creationId xmlns:a16="http://schemas.microsoft.com/office/drawing/2014/main" id="{92A56BB7-E500-9893-8124-11E9EFDECFBE}"/>
                  </a:ext>
                </a:extLst>
              </p:cNvPr>
              <p:cNvSpPr/>
              <p:nvPr/>
            </p:nvSpPr>
            <p:spPr>
              <a:xfrm>
                <a:off x="951021" y="3591830"/>
                <a:ext cx="55113" cy="95840"/>
              </a:xfrm>
              <a:custGeom>
                <a:avLst/>
                <a:gdLst>
                  <a:gd name="connsiteX0" fmla="*/ 24481 w 55113"/>
                  <a:gd name="connsiteY0" fmla="*/ 95840 h 95840"/>
                  <a:gd name="connsiteX1" fmla="*/ 20391 w 55113"/>
                  <a:gd name="connsiteY1" fmla="*/ 95455 h 95840"/>
                  <a:gd name="connsiteX2" fmla="*/ 17564 w 55113"/>
                  <a:gd name="connsiteY2" fmla="*/ 94919 h 95840"/>
                  <a:gd name="connsiteX3" fmla="*/ 390 w 55113"/>
                  <a:gd name="connsiteY3" fmla="*/ 69607 h 95840"/>
                  <a:gd name="connsiteX4" fmla="*/ 9427 w 55113"/>
                  <a:gd name="connsiteY4" fmla="*/ 21082 h 95840"/>
                  <a:gd name="connsiteX5" fmla="*/ 35702 w 55113"/>
                  <a:gd name="connsiteY5" fmla="*/ 288 h 95840"/>
                  <a:gd name="connsiteX6" fmla="*/ 38529 w 55113"/>
                  <a:gd name="connsiteY6" fmla="*/ 824 h 95840"/>
                  <a:gd name="connsiteX7" fmla="*/ 52320 w 55113"/>
                  <a:gd name="connsiteY7" fmla="*/ 12302 h 95840"/>
                  <a:gd name="connsiteX8" fmla="*/ 54676 w 55113"/>
                  <a:gd name="connsiteY8" fmla="*/ 29198 h 95840"/>
                  <a:gd name="connsiteX9" fmla="*/ 45724 w 55113"/>
                  <a:gd name="connsiteY9" fmla="*/ 78237 h 95840"/>
                  <a:gd name="connsiteX10" fmla="*/ 36602 w 55113"/>
                  <a:gd name="connsiteY10" fmla="*/ 92114 h 95840"/>
                  <a:gd name="connsiteX11" fmla="*/ 24481 w 55113"/>
                  <a:gd name="connsiteY11" fmla="*/ 95840 h 95840"/>
                  <a:gd name="connsiteX12" fmla="*/ 32554 w 55113"/>
                  <a:gd name="connsiteY12" fmla="*/ 13180 h 95840"/>
                  <a:gd name="connsiteX13" fmla="*/ 22404 w 55113"/>
                  <a:gd name="connsiteY13" fmla="*/ 23523 h 95840"/>
                  <a:gd name="connsiteX14" fmla="*/ 13367 w 55113"/>
                  <a:gd name="connsiteY14" fmla="*/ 72049 h 95840"/>
                  <a:gd name="connsiteX15" fmla="*/ 20048 w 55113"/>
                  <a:gd name="connsiteY15" fmla="*/ 81963 h 95840"/>
                  <a:gd name="connsiteX16" fmla="*/ 22875 w 55113"/>
                  <a:gd name="connsiteY16" fmla="*/ 82499 h 95840"/>
                  <a:gd name="connsiteX17" fmla="*/ 29192 w 55113"/>
                  <a:gd name="connsiteY17" fmla="*/ 81192 h 95840"/>
                  <a:gd name="connsiteX18" fmla="*/ 32747 w 55113"/>
                  <a:gd name="connsiteY18" fmla="*/ 75817 h 95840"/>
                  <a:gd name="connsiteX19" fmla="*/ 41698 w 55113"/>
                  <a:gd name="connsiteY19" fmla="*/ 26778 h 95840"/>
                  <a:gd name="connsiteX20" fmla="*/ 40414 w 55113"/>
                  <a:gd name="connsiteY20" fmla="*/ 18041 h 95840"/>
                  <a:gd name="connsiteX21" fmla="*/ 36045 w 55113"/>
                  <a:gd name="connsiteY21" fmla="*/ 13801 h 95840"/>
                  <a:gd name="connsiteX22" fmla="*/ 33218 w 55113"/>
                  <a:gd name="connsiteY22" fmla="*/ 13266 h 95840"/>
                  <a:gd name="connsiteX23" fmla="*/ 32554 w 55113"/>
                  <a:gd name="connsiteY23" fmla="*/ 13180 h 958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</a:cxnLst>
                <a:rect l="l" t="t" r="r" b="b"/>
                <a:pathLst>
                  <a:path w="55113" h="95840">
                    <a:moveTo>
                      <a:pt x="24481" y="95840"/>
                    </a:moveTo>
                    <a:cubicBezTo>
                      <a:pt x="23132" y="95840"/>
                      <a:pt x="21740" y="95712"/>
                      <a:pt x="20391" y="95455"/>
                    </a:cubicBezTo>
                    <a:lnTo>
                      <a:pt x="17564" y="94919"/>
                    </a:lnTo>
                    <a:cubicBezTo>
                      <a:pt x="5851" y="92671"/>
                      <a:pt x="-1859" y="81321"/>
                      <a:pt x="390" y="69607"/>
                    </a:cubicBezTo>
                    <a:lnTo>
                      <a:pt x="9427" y="21082"/>
                    </a:lnTo>
                    <a:cubicBezTo>
                      <a:pt x="11632" y="9540"/>
                      <a:pt x="23603" y="-1982"/>
                      <a:pt x="35702" y="288"/>
                    </a:cubicBezTo>
                    <a:lnTo>
                      <a:pt x="38529" y="824"/>
                    </a:lnTo>
                    <a:cubicBezTo>
                      <a:pt x="44397" y="1937"/>
                      <a:pt x="49279" y="6027"/>
                      <a:pt x="52320" y="12302"/>
                    </a:cubicBezTo>
                    <a:cubicBezTo>
                      <a:pt x="54868" y="17591"/>
                      <a:pt x="55725" y="23737"/>
                      <a:pt x="54676" y="29198"/>
                    </a:cubicBezTo>
                    <a:lnTo>
                      <a:pt x="45724" y="78237"/>
                    </a:lnTo>
                    <a:cubicBezTo>
                      <a:pt x="44632" y="83955"/>
                      <a:pt x="41399" y="88859"/>
                      <a:pt x="36602" y="92114"/>
                    </a:cubicBezTo>
                    <a:cubicBezTo>
                      <a:pt x="32961" y="94577"/>
                      <a:pt x="28764" y="95840"/>
                      <a:pt x="24481" y="95840"/>
                    </a:cubicBezTo>
                    <a:close/>
                    <a:moveTo>
                      <a:pt x="32554" y="13180"/>
                    </a:moveTo>
                    <a:cubicBezTo>
                      <a:pt x="28807" y="13180"/>
                      <a:pt x="23346" y="18598"/>
                      <a:pt x="22404" y="23523"/>
                    </a:cubicBezTo>
                    <a:lnTo>
                      <a:pt x="13367" y="72049"/>
                    </a:lnTo>
                    <a:cubicBezTo>
                      <a:pt x="12489" y="76653"/>
                      <a:pt x="15487" y="81085"/>
                      <a:pt x="20048" y="81963"/>
                    </a:cubicBezTo>
                    <a:lnTo>
                      <a:pt x="22875" y="82499"/>
                    </a:lnTo>
                    <a:cubicBezTo>
                      <a:pt x="25081" y="82927"/>
                      <a:pt x="27308" y="82456"/>
                      <a:pt x="29192" y="81192"/>
                    </a:cubicBezTo>
                    <a:cubicBezTo>
                      <a:pt x="31077" y="79908"/>
                      <a:pt x="32319" y="78002"/>
                      <a:pt x="32747" y="75817"/>
                    </a:cubicBezTo>
                    <a:lnTo>
                      <a:pt x="41698" y="26778"/>
                    </a:lnTo>
                    <a:cubicBezTo>
                      <a:pt x="42212" y="24058"/>
                      <a:pt x="41720" y="20739"/>
                      <a:pt x="40414" y="18041"/>
                    </a:cubicBezTo>
                    <a:cubicBezTo>
                      <a:pt x="39878" y="16906"/>
                      <a:pt x="38358" y="14229"/>
                      <a:pt x="36045" y="13801"/>
                    </a:cubicBezTo>
                    <a:lnTo>
                      <a:pt x="33218" y="13266"/>
                    </a:lnTo>
                    <a:cubicBezTo>
                      <a:pt x="33004" y="13201"/>
                      <a:pt x="32790" y="13180"/>
                      <a:pt x="32554" y="13180"/>
                    </a:cubicBezTo>
                    <a:close/>
                  </a:path>
                </a:pathLst>
              </a:custGeom>
              <a:grpFill/>
              <a:ln w="213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61" name="Freihandform: Form 420">
                <a:extLst>
                  <a:ext uri="{FF2B5EF4-FFF2-40B4-BE49-F238E27FC236}">
                    <a16:creationId xmlns:a16="http://schemas.microsoft.com/office/drawing/2014/main" id="{7AB254A6-528A-CC13-FA20-336B0C406922}"/>
                  </a:ext>
                </a:extLst>
              </p:cNvPr>
              <p:cNvSpPr/>
              <p:nvPr/>
            </p:nvSpPr>
            <p:spPr>
              <a:xfrm>
                <a:off x="983820" y="3604387"/>
                <a:ext cx="64328" cy="93626"/>
              </a:xfrm>
              <a:custGeom>
                <a:avLst/>
                <a:gdLst>
                  <a:gd name="connsiteX0" fmla="*/ 24296 w 64328"/>
                  <a:gd name="connsiteY0" fmla="*/ 93627 h 93626"/>
                  <a:gd name="connsiteX1" fmla="*/ 16630 w 64328"/>
                  <a:gd name="connsiteY1" fmla="*/ 92213 h 93626"/>
                  <a:gd name="connsiteX2" fmla="*/ 13931 w 64328"/>
                  <a:gd name="connsiteY2" fmla="*/ 91185 h 93626"/>
                  <a:gd name="connsiteX3" fmla="*/ 1918 w 64328"/>
                  <a:gd name="connsiteY3" fmla="*/ 79814 h 93626"/>
                  <a:gd name="connsiteX4" fmla="*/ 1425 w 64328"/>
                  <a:gd name="connsiteY4" fmla="*/ 63282 h 93626"/>
                  <a:gd name="connsiteX5" fmla="*/ 19157 w 64328"/>
                  <a:gd name="connsiteY5" fmla="*/ 16941 h 93626"/>
                  <a:gd name="connsiteX6" fmla="*/ 48216 w 64328"/>
                  <a:gd name="connsiteY6" fmla="*/ 1116 h 93626"/>
                  <a:gd name="connsiteX7" fmla="*/ 50914 w 64328"/>
                  <a:gd name="connsiteY7" fmla="*/ 2144 h 93626"/>
                  <a:gd name="connsiteX8" fmla="*/ 62821 w 64328"/>
                  <a:gd name="connsiteY8" fmla="*/ 31396 h 93626"/>
                  <a:gd name="connsiteX9" fmla="*/ 44554 w 64328"/>
                  <a:gd name="connsiteY9" fmla="*/ 79686 h 93626"/>
                  <a:gd name="connsiteX10" fmla="*/ 24296 w 64328"/>
                  <a:gd name="connsiteY10" fmla="*/ 93627 h 93626"/>
                  <a:gd name="connsiteX11" fmla="*/ 42070 w 64328"/>
                  <a:gd name="connsiteY11" fmla="*/ 13215 h 93626"/>
                  <a:gd name="connsiteX12" fmla="*/ 31491 w 64328"/>
                  <a:gd name="connsiteY12" fmla="*/ 21652 h 93626"/>
                  <a:gd name="connsiteX13" fmla="*/ 13760 w 64328"/>
                  <a:gd name="connsiteY13" fmla="*/ 67993 h 93626"/>
                  <a:gd name="connsiteX14" fmla="*/ 13974 w 64328"/>
                  <a:gd name="connsiteY14" fmla="*/ 74418 h 93626"/>
                  <a:gd name="connsiteX15" fmla="*/ 18643 w 64328"/>
                  <a:gd name="connsiteY15" fmla="*/ 78851 h 93626"/>
                  <a:gd name="connsiteX16" fmla="*/ 21341 w 64328"/>
                  <a:gd name="connsiteY16" fmla="*/ 79878 h 93626"/>
                  <a:gd name="connsiteX17" fmla="*/ 32219 w 64328"/>
                  <a:gd name="connsiteY17" fmla="*/ 74996 h 93626"/>
                  <a:gd name="connsiteX18" fmla="*/ 50486 w 64328"/>
                  <a:gd name="connsiteY18" fmla="*/ 26706 h 93626"/>
                  <a:gd name="connsiteX19" fmla="*/ 46225 w 64328"/>
                  <a:gd name="connsiteY19" fmla="*/ 14479 h 93626"/>
                  <a:gd name="connsiteX20" fmla="*/ 43526 w 64328"/>
                  <a:gd name="connsiteY20" fmla="*/ 13451 h 93626"/>
                  <a:gd name="connsiteX21" fmla="*/ 42070 w 64328"/>
                  <a:gd name="connsiteY21" fmla="*/ 13215 h 936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64328" h="93626">
                    <a:moveTo>
                      <a:pt x="24296" y="93627"/>
                    </a:moveTo>
                    <a:cubicBezTo>
                      <a:pt x="21748" y="93627"/>
                      <a:pt x="19157" y="93177"/>
                      <a:pt x="16630" y="92213"/>
                    </a:cubicBezTo>
                    <a:lnTo>
                      <a:pt x="13931" y="91185"/>
                    </a:lnTo>
                    <a:cubicBezTo>
                      <a:pt x="8556" y="89130"/>
                      <a:pt x="4273" y="85104"/>
                      <a:pt x="1918" y="79814"/>
                    </a:cubicBezTo>
                    <a:cubicBezTo>
                      <a:pt x="-459" y="74525"/>
                      <a:pt x="-630" y="68657"/>
                      <a:pt x="1425" y="63282"/>
                    </a:cubicBezTo>
                    <a:lnTo>
                      <a:pt x="19157" y="16941"/>
                    </a:lnTo>
                    <a:cubicBezTo>
                      <a:pt x="23375" y="5870"/>
                      <a:pt x="36674" y="-3253"/>
                      <a:pt x="48216" y="1116"/>
                    </a:cubicBezTo>
                    <a:lnTo>
                      <a:pt x="50914" y="2144"/>
                    </a:lnTo>
                    <a:cubicBezTo>
                      <a:pt x="61643" y="6213"/>
                      <a:pt x="67211" y="19875"/>
                      <a:pt x="62821" y="31396"/>
                    </a:cubicBezTo>
                    <a:lnTo>
                      <a:pt x="44554" y="79686"/>
                    </a:lnTo>
                    <a:cubicBezTo>
                      <a:pt x="41256" y="88316"/>
                      <a:pt x="33012" y="93627"/>
                      <a:pt x="24296" y="93627"/>
                    </a:cubicBezTo>
                    <a:close/>
                    <a:moveTo>
                      <a:pt x="42070" y="13215"/>
                    </a:moveTo>
                    <a:cubicBezTo>
                      <a:pt x="38408" y="13215"/>
                      <a:pt x="33183" y="17177"/>
                      <a:pt x="31491" y="21652"/>
                    </a:cubicBezTo>
                    <a:lnTo>
                      <a:pt x="13760" y="67993"/>
                    </a:lnTo>
                    <a:cubicBezTo>
                      <a:pt x="12968" y="70071"/>
                      <a:pt x="13032" y="72362"/>
                      <a:pt x="13974" y="74418"/>
                    </a:cubicBezTo>
                    <a:cubicBezTo>
                      <a:pt x="14895" y="76495"/>
                      <a:pt x="16565" y="78058"/>
                      <a:pt x="18643" y="78851"/>
                    </a:cubicBezTo>
                    <a:lnTo>
                      <a:pt x="21341" y="79878"/>
                    </a:lnTo>
                    <a:cubicBezTo>
                      <a:pt x="25688" y="81527"/>
                      <a:pt x="30571" y="79343"/>
                      <a:pt x="32219" y="74996"/>
                    </a:cubicBezTo>
                    <a:lnTo>
                      <a:pt x="50486" y="26706"/>
                    </a:lnTo>
                    <a:cubicBezTo>
                      <a:pt x="52263" y="22016"/>
                      <a:pt x="50143" y="15956"/>
                      <a:pt x="46225" y="14479"/>
                    </a:cubicBezTo>
                    <a:lnTo>
                      <a:pt x="43526" y="13451"/>
                    </a:lnTo>
                    <a:cubicBezTo>
                      <a:pt x="43077" y="13301"/>
                      <a:pt x="42584" y="13215"/>
                      <a:pt x="42070" y="13215"/>
                    </a:cubicBezTo>
                    <a:close/>
                  </a:path>
                </a:pathLst>
              </a:custGeom>
              <a:grpFill/>
              <a:ln w="213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62" name="Freihandform: Form 421">
                <a:extLst>
                  <a:ext uri="{FF2B5EF4-FFF2-40B4-BE49-F238E27FC236}">
                    <a16:creationId xmlns:a16="http://schemas.microsoft.com/office/drawing/2014/main" id="{5F7CE5C9-F964-5F58-673F-ECAC0D4F48CB}"/>
                  </a:ext>
                </a:extLst>
              </p:cNvPr>
              <p:cNvSpPr/>
              <p:nvPr/>
            </p:nvSpPr>
            <p:spPr>
              <a:xfrm>
                <a:off x="860720" y="3517087"/>
                <a:ext cx="152714" cy="117710"/>
              </a:xfrm>
              <a:custGeom>
                <a:avLst/>
                <a:gdLst>
                  <a:gd name="connsiteX0" fmla="*/ 27368 w 152714"/>
                  <a:gd name="connsiteY0" fmla="*/ 117711 h 117710"/>
                  <a:gd name="connsiteX1" fmla="*/ 10643 w 152714"/>
                  <a:gd name="connsiteY1" fmla="*/ 109573 h 117710"/>
                  <a:gd name="connsiteX2" fmla="*/ 4497 w 152714"/>
                  <a:gd name="connsiteY2" fmla="*/ 66594 h 117710"/>
                  <a:gd name="connsiteX3" fmla="*/ 5204 w 152714"/>
                  <a:gd name="connsiteY3" fmla="*/ 65309 h 117710"/>
                  <a:gd name="connsiteX4" fmla="*/ 18503 w 152714"/>
                  <a:gd name="connsiteY4" fmla="*/ 48563 h 117710"/>
                  <a:gd name="connsiteX5" fmla="*/ 35634 w 152714"/>
                  <a:gd name="connsiteY5" fmla="*/ 29119 h 117710"/>
                  <a:gd name="connsiteX6" fmla="*/ 150330 w 152714"/>
                  <a:gd name="connsiteY6" fmla="*/ 20339 h 117710"/>
                  <a:gd name="connsiteX7" fmla="*/ 151187 w 152714"/>
                  <a:gd name="connsiteY7" fmla="*/ 29611 h 117710"/>
                  <a:gd name="connsiteX8" fmla="*/ 141915 w 152714"/>
                  <a:gd name="connsiteY8" fmla="*/ 30489 h 117710"/>
                  <a:gd name="connsiteX9" fmla="*/ 45571 w 152714"/>
                  <a:gd name="connsiteY9" fmla="*/ 37770 h 117710"/>
                  <a:gd name="connsiteX10" fmla="*/ 28332 w 152714"/>
                  <a:gd name="connsiteY10" fmla="*/ 57322 h 117710"/>
                  <a:gd name="connsiteX11" fmla="*/ 16768 w 152714"/>
                  <a:gd name="connsiteY11" fmla="*/ 71627 h 117710"/>
                  <a:gd name="connsiteX12" fmla="*/ 15976 w 152714"/>
                  <a:gd name="connsiteY12" fmla="*/ 73040 h 117710"/>
                  <a:gd name="connsiteX13" fmla="*/ 20087 w 152714"/>
                  <a:gd name="connsiteY13" fmla="*/ 100322 h 117710"/>
                  <a:gd name="connsiteX14" fmla="*/ 28525 w 152714"/>
                  <a:gd name="connsiteY14" fmla="*/ 104198 h 117710"/>
                  <a:gd name="connsiteX15" fmla="*/ 36427 w 152714"/>
                  <a:gd name="connsiteY15" fmla="*/ 97196 h 117710"/>
                  <a:gd name="connsiteX16" fmla="*/ 32015 w 152714"/>
                  <a:gd name="connsiteY16" fmla="*/ 73490 h 117710"/>
                  <a:gd name="connsiteX17" fmla="*/ 32529 w 152714"/>
                  <a:gd name="connsiteY17" fmla="*/ 64196 h 117710"/>
                  <a:gd name="connsiteX18" fmla="*/ 41823 w 152714"/>
                  <a:gd name="connsiteY18" fmla="*/ 64688 h 117710"/>
                  <a:gd name="connsiteX19" fmla="*/ 46684 w 152714"/>
                  <a:gd name="connsiteY19" fmla="*/ 105483 h 117710"/>
                  <a:gd name="connsiteX20" fmla="*/ 34713 w 152714"/>
                  <a:gd name="connsiteY20" fmla="*/ 115848 h 117710"/>
                  <a:gd name="connsiteX21" fmla="*/ 27368 w 152714"/>
                  <a:gd name="connsiteY21" fmla="*/ 117711 h 1177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152714" h="117710">
                    <a:moveTo>
                      <a:pt x="27368" y="117711"/>
                    </a:moveTo>
                    <a:cubicBezTo>
                      <a:pt x="21800" y="117711"/>
                      <a:pt x="15826" y="114905"/>
                      <a:pt x="10643" y="109573"/>
                    </a:cubicBezTo>
                    <a:cubicBezTo>
                      <a:pt x="1350" y="100044"/>
                      <a:pt x="-4539" y="82527"/>
                      <a:pt x="4497" y="66594"/>
                    </a:cubicBezTo>
                    <a:lnTo>
                      <a:pt x="5204" y="65309"/>
                    </a:lnTo>
                    <a:cubicBezTo>
                      <a:pt x="7324" y="61455"/>
                      <a:pt x="8288" y="59999"/>
                      <a:pt x="18503" y="48563"/>
                    </a:cubicBezTo>
                    <a:cubicBezTo>
                      <a:pt x="22678" y="43895"/>
                      <a:pt x="28182" y="37663"/>
                      <a:pt x="35634" y="29119"/>
                    </a:cubicBezTo>
                    <a:cubicBezTo>
                      <a:pt x="87650" y="-30521"/>
                      <a:pt x="149709" y="19846"/>
                      <a:pt x="150330" y="20339"/>
                    </a:cubicBezTo>
                    <a:cubicBezTo>
                      <a:pt x="153136" y="22673"/>
                      <a:pt x="153521" y="26806"/>
                      <a:pt x="151187" y="29611"/>
                    </a:cubicBezTo>
                    <a:cubicBezTo>
                      <a:pt x="148853" y="32417"/>
                      <a:pt x="144698" y="32802"/>
                      <a:pt x="141915" y="30489"/>
                    </a:cubicBezTo>
                    <a:cubicBezTo>
                      <a:pt x="139773" y="28733"/>
                      <a:pt x="89063" y="-12083"/>
                      <a:pt x="45571" y="37770"/>
                    </a:cubicBezTo>
                    <a:cubicBezTo>
                      <a:pt x="38075" y="46358"/>
                      <a:pt x="32529" y="52632"/>
                      <a:pt x="28332" y="57322"/>
                    </a:cubicBezTo>
                    <a:cubicBezTo>
                      <a:pt x="18695" y="68093"/>
                      <a:pt x="18203" y="68993"/>
                      <a:pt x="16768" y="71627"/>
                    </a:cubicBezTo>
                    <a:lnTo>
                      <a:pt x="15976" y="73040"/>
                    </a:lnTo>
                    <a:cubicBezTo>
                      <a:pt x="10301" y="83062"/>
                      <a:pt x="14134" y="94198"/>
                      <a:pt x="20087" y="100322"/>
                    </a:cubicBezTo>
                    <a:cubicBezTo>
                      <a:pt x="23578" y="103898"/>
                      <a:pt x="27047" y="105012"/>
                      <a:pt x="28525" y="104198"/>
                    </a:cubicBezTo>
                    <a:cubicBezTo>
                      <a:pt x="31051" y="102849"/>
                      <a:pt x="34713" y="99187"/>
                      <a:pt x="36427" y="97196"/>
                    </a:cubicBezTo>
                    <a:cubicBezTo>
                      <a:pt x="43986" y="87195"/>
                      <a:pt x="32508" y="74047"/>
                      <a:pt x="32015" y="73490"/>
                    </a:cubicBezTo>
                    <a:cubicBezTo>
                      <a:pt x="29595" y="70770"/>
                      <a:pt x="29831" y="66616"/>
                      <a:pt x="32529" y="64196"/>
                    </a:cubicBezTo>
                    <a:cubicBezTo>
                      <a:pt x="35249" y="61776"/>
                      <a:pt x="39382" y="61969"/>
                      <a:pt x="41823" y="64688"/>
                    </a:cubicBezTo>
                    <a:cubicBezTo>
                      <a:pt x="48547" y="72141"/>
                      <a:pt x="58227" y="90236"/>
                      <a:pt x="46684" y="105483"/>
                    </a:cubicBezTo>
                    <a:cubicBezTo>
                      <a:pt x="45828" y="106511"/>
                      <a:pt x="40281" y="112893"/>
                      <a:pt x="34713" y="115848"/>
                    </a:cubicBezTo>
                    <a:cubicBezTo>
                      <a:pt x="32443" y="117111"/>
                      <a:pt x="29938" y="117711"/>
                      <a:pt x="27368" y="117711"/>
                    </a:cubicBezTo>
                    <a:close/>
                  </a:path>
                </a:pathLst>
              </a:custGeom>
              <a:grpFill/>
              <a:ln w="213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</p:grpSp>
      </p:grpSp>
      <p:grpSp>
        <p:nvGrpSpPr>
          <p:cNvPr id="144" name="Grafik 319">
            <a:extLst>
              <a:ext uri="{FF2B5EF4-FFF2-40B4-BE49-F238E27FC236}">
                <a16:creationId xmlns:a16="http://schemas.microsoft.com/office/drawing/2014/main" id="{E38B7561-EEF0-C008-7E23-8CDA7B90ED25}"/>
              </a:ext>
            </a:extLst>
          </p:cNvPr>
          <p:cNvGrpSpPr/>
          <p:nvPr/>
        </p:nvGrpSpPr>
        <p:grpSpPr>
          <a:xfrm>
            <a:off x="1384995" y="2420364"/>
            <a:ext cx="218711" cy="241233"/>
            <a:chOff x="977536" y="3262742"/>
            <a:chExt cx="257445" cy="283956"/>
          </a:xfrm>
          <a:solidFill>
            <a:srgbClr val="9CB40D"/>
          </a:solidFill>
        </p:grpSpPr>
        <p:sp>
          <p:nvSpPr>
            <p:cNvPr id="145" name="Freihandform: Form 423">
              <a:extLst>
                <a:ext uri="{FF2B5EF4-FFF2-40B4-BE49-F238E27FC236}">
                  <a16:creationId xmlns:a16="http://schemas.microsoft.com/office/drawing/2014/main" id="{9409F96A-2D19-1BCE-9673-BC2B892F19BE}"/>
                </a:ext>
              </a:extLst>
            </p:cNvPr>
            <p:cNvSpPr/>
            <p:nvPr/>
          </p:nvSpPr>
          <p:spPr>
            <a:xfrm>
              <a:off x="1099021" y="3262742"/>
              <a:ext cx="13191" cy="43193"/>
            </a:xfrm>
            <a:custGeom>
              <a:avLst/>
              <a:gdLst>
                <a:gd name="connsiteX0" fmla="*/ 6596 w 13191"/>
                <a:gd name="connsiteY0" fmla="*/ 43193 h 43193"/>
                <a:gd name="connsiteX1" fmla="*/ 0 w 13191"/>
                <a:gd name="connsiteY1" fmla="*/ 36597 h 43193"/>
                <a:gd name="connsiteX2" fmla="*/ 0 w 13191"/>
                <a:gd name="connsiteY2" fmla="*/ 6596 h 43193"/>
                <a:gd name="connsiteX3" fmla="*/ 6596 w 13191"/>
                <a:gd name="connsiteY3" fmla="*/ 0 h 43193"/>
                <a:gd name="connsiteX4" fmla="*/ 13191 w 13191"/>
                <a:gd name="connsiteY4" fmla="*/ 6596 h 43193"/>
                <a:gd name="connsiteX5" fmla="*/ 13191 w 13191"/>
                <a:gd name="connsiteY5" fmla="*/ 36597 h 43193"/>
                <a:gd name="connsiteX6" fmla="*/ 6596 w 13191"/>
                <a:gd name="connsiteY6" fmla="*/ 43193 h 431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3191" h="43193">
                  <a:moveTo>
                    <a:pt x="6596" y="43193"/>
                  </a:moveTo>
                  <a:cubicBezTo>
                    <a:pt x="2955" y="43193"/>
                    <a:pt x="0" y="40238"/>
                    <a:pt x="0" y="36597"/>
                  </a:cubicBezTo>
                  <a:lnTo>
                    <a:pt x="0" y="6596"/>
                  </a:lnTo>
                  <a:cubicBezTo>
                    <a:pt x="0" y="2955"/>
                    <a:pt x="2955" y="0"/>
                    <a:pt x="6596" y="0"/>
                  </a:cubicBezTo>
                  <a:cubicBezTo>
                    <a:pt x="10236" y="0"/>
                    <a:pt x="13191" y="2955"/>
                    <a:pt x="13191" y="6596"/>
                  </a:cubicBezTo>
                  <a:lnTo>
                    <a:pt x="13191" y="36597"/>
                  </a:lnTo>
                  <a:cubicBezTo>
                    <a:pt x="13191" y="40259"/>
                    <a:pt x="10236" y="43193"/>
                    <a:pt x="6596" y="43193"/>
                  </a:cubicBezTo>
                  <a:close/>
                </a:path>
              </a:pathLst>
            </a:custGeom>
            <a:grpFill/>
            <a:ln w="213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46" name="Freihandform: Form 424">
              <a:extLst>
                <a:ext uri="{FF2B5EF4-FFF2-40B4-BE49-F238E27FC236}">
                  <a16:creationId xmlns:a16="http://schemas.microsoft.com/office/drawing/2014/main" id="{504D12C0-904C-25BB-22F8-87585F1EC856}"/>
                </a:ext>
              </a:extLst>
            </p:cNvPr>
            <p:cNvSpPr/>
            <p:nvPr/>
          </p:nvSpPr>
          <p:spPr>
            <a:xfrm>
              <a:off x="993611" y="3294620"/>
              <a:ext cx="32887" cy="32665"/>
            </a:xfrm>
            <a:custGeom>
              <a:avLst/>
              <a:gdLst>
                <a:gd name="connsiteX0" fmla="*/ 26284 w 32887"/>
                <a:gd name="connsiteY0" fmla="*/ 32665 h 32665"/>
                <a:gd name="connsiteX1" fmla="*/ 21637 w 32887"/>
                <a:gd name="connsiteY1" fmla="*/ 30759 h 32665"/>
                <a:gd name="connsiteX2" fmla="*/ 1957 w 32887"/>
                <a:gd name="connsiteY2" fmla="*/ 11294 h 32665"/>
                <a:gd name="connsiteX3" fmla="*/ 1914 w 32887"/>
                <a:gd name="connsiteY3" fmla="*/ 1957 h 32665"/>
                <a:gd name="connsiteX4" fmla="*/ 11251 w 32887"/>
                <a:gd name="connsiteY4" fmla="*/ 1914 h 32665"/>
                <a:gd name="connsiteX5" fmla="*/ 30931 w 32887"/>
                <a:gd name="connsiteY5" fmla="*/ 21380 h 32665"/>
                <a:gd name="connsiteX6" fmla="*/ 30974 w 32887"/>
                <a:gd name="connsiteY6" fmla="*/ 30717 h 32665"/>
                <a:gd name="connsiteX7" fmla="*/ 26284 w 32887"/>
                <a:gd name="connsiteY7" fmla="*/ 32665 h 326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2887" h="32665">
                  <a:moveTo>
                    <a:pt x="26284" y="32665"/>
                  </a:moveTo>
                  <a:cubicBezTo>
                    <a:pt x="24613" y="32665"/>
                    <a:pt x="22922" y="32044"/>
                    <a:pt x="21637" y="30759"/>
                  </a:cubicBezTo>
                  <a:lnTo>
                    <a:pt x="1957" y="11294"/>
                  </a:lnTo>
                  <a:cubicBezTo>
                    <a:pt x="-634" y="8745"/>
                    <a:pt x="-656" y="4548"/>
                    <a:pt x="1914" y="1957"/>
                  </a:cubicBezTo>
                  <a:cubicBezTo>
                    <a:pt x="4462" y="-634"/>
                    <a:pt x="8660" y="-656"/>
                    <a:pt x="11251" y="1914"/>
                  </a:cubicBezTo>
                  <a:lnTo>
                    <a:pt x="30931" y="21380"/>
                  </a:lnTo>
                  <a:cubicBezTo>
                    <a:pt x="33522" y="23928"/>
                    <a:pt x="33543" y="28125"/>
                    <a:pt x="30974" y="30717"/>
                  </a:cubicBezTo>
                  <a:cubicBezTo>
                    <a:pt x="29689" y="32001"/>
                    <a:pt x="27997" y="32665"/>
                    <a:pt x="26284" y="32665"/>
                  </a:cubicBezTo>
                  <a:close/>
                </a:path>
              </a:pathLst>
            </a:custGeom>
            <a:grpFill/>
            <a:ln w="213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47" name="Freihandform: Form 425">
              <a:extLst>
                <a:ext uri="{FF2B5EF4-FFF2-40B4-BE49-F238E27FC236}">
                  <a16:creationId xmlns:a16="http://schemas.microsoft.com/office/drawing/2014/main" id="{7895AEBF-28E8-9065-7D4F-52D0134827A2}"/>
                </a:ext>
              </a:extLst>
            </p:cNvPr>
            <p:cNvSpPr/>
            <p:nvPr/>
          </p:nvSpPr>
          <p:spPr>
            <a:xfrm>
              <a:off x="1184382" y="3294609"/>
              <a:ext cx="32202" cy="32676"/>
            </a:xfrm>
            <a:custGeom>
              <a:avLst/>
              <a:gdLst>
                <a:gd name="connsiteX0" fmla="*/ 6593 w 32202"/>
                <a:gd name="connsiteY0" fmla="*/ 32676 h 32676"/>
                <a:gd name="connsiteX1" fmla="*/ 1989 w 32202"/>
                <a:gd name="connsiteY1" fmla="*/ 30792 h 32676"/>
                <a:gd name="connsiteX2" fmla="*/ 1882 w 32202"/>
                <a:gd name="connsiteY2" fmla="*/ 21455 h 32676"/>
                <a:gd name="connsiteX3" fmla="*/ 20877 w 32202"/>
                <a:gd name="connsiteY3" fmla="*/ 1989 h 32676"/>
                <a:gd name="connsiteX4" fmla="*/ 30214 w 32202"/>
                <a:gd name="connsiteY4" fmla="*/ 1882 h 32676"/>
                <a:gd name="connsiteX5" fmla="*/ 30321 w 32202"/>
                <a:gd name="connsiteY5" fmla="*/ 11219 h 32676"/>
                <a:gd name="connsiteX6" fmla="*/ 11326 w 32202"/>
                <a:gd name="connsiteY6" fmla="*/ 30685 h 32676"/>
                <a:gd name="connsiteX7" fmla="*/ 6593 w 32202"/>
                <a:gd name="connsiteY7" fmla="*/ 32676 h 326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2202" h="32676">
                  <a:moveTo>
                    <a:pt x="6593" y="32676"/>
                  </a:moveTo>
                  <a:cubicBezTo>
                    <a:pt x="4923" y="32676"/>
                    <a:pt x="3274" y="32055"/>
                    <a:pt x="1989" y="30792"/>
                  </a:cubicBezTo>
                  <a:cubicBezTo>
                    <a:pt x="-623" y="28244"/>
                    <a:pt x="-666" y="24068"/>
                    <a:pt x="1882" y="21455"/>
                  </a:cubicBezTo>
                  <a:lnTo>
                    <a:pt x="20877" y="1989"/>
                  </a:lnTo>
                  <a:cubicBezTo>
                    <a:pt x="23425" y="-623"/>
                    <a:pt x="27601" y="-666"/>
                    <a:pt x="30214" y="1882"/>
                  </a:cubicBezTo>
                  <a:cubicBezTo>
                    <a:pt x="32826" y="4430"/>
                    <a:pt x="32869" y="8606"/>
                    <a:pt x="30321" y="11219"/>
                  </a:cubicBezTo>
                  <a:lnTo>
                    <a:pt x="11326" y="30685"/>
                  </a:lnTo>
                  <a:cubicBezTo>
                    <a:pt x="10020" y="32012"/>
                    <a:pt x="8307" y="32676"/>
                    <a:pt x="6593" y="32676"/>
                  </a:cubicBezTo>
                  <a:close/>
                </a:path>
              </a:pathLst>
            </a:custGeom>
            <a:grpFill/>
            <a:ln w="213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48" name="Freihandform: Form 426">
              <a:extLst>
                <a:ext uri="{FF2B5EF4-FFF2-40B4-BE49-F238E27FC236}">
                  <a16:creationId xmlns:a16="http://schemas.microsoft.com/office/drawing/2014/main" id="{C3B39425-8512-5BDC-B506-0059410AFAF4}"/>
                </a:ext>
              </a:extLst>
            </p:cNvPr>
            <p:cNvSpPr/>
            <p:nvPr/>
          </p:nvSpPr>
          <p:spPr>
            <a:xfrm>
              <a:off x="1054401" y="3349662"/>
              <a:ext cx="58433" cy="71354"/>
            </a:xfrm>
            <a:custGeom>
              <a:avLst/>
              <a:gdLst>
                <a:gd name="connsiteX0" fmla="*/ 6588 w 58433"/>
                <a:gd name="connsiteY0" fmla="*/ 71354 h 71354"/>
                <a:gd name="connsiteX1" fmla="*/ 2541 w 58433"/>
                <a:gd name="connsiteY1" fmla="*/ 69962 h 71354"/>
                <a:gd name="connsiteX2" fmla="*/ 1384 w 58433"/>
                <a:gd name="connsiteY2" fmla="*/ 60712 h 71354"/>
                <a:gd name="connsiteX3" fmla="*/ 46633 w 58433"/>
                <a:gd name="connsiteY3" fmla="*/ 2550 h 71354"/>
                <a:gd name="connsiteX4" fmla="*/ 55884 w 58433"/>
                <a:gd name="connsiteY4" fmla="*/ 1393 h 71354"/>
                <a:gd name="connsiteX5" fmla="*/ 57041 w 58433"/>
                <a:gd name="connsiteY5" fmla="*/ 10644 h 71354"/>
                <a:gd name="connsiteX6" fmla="*/ 11792 w 58433"/>
                <a:gd name="connsiteY6" fmla="*/ 68806 h 71354"/>
                <a:gd name="connsiteX7" fmla="*/ 6588 w 58433"/>
                <a:gd name="connsiteY7" fmla="*/ 71354 h 713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8433" h="71354">
                  <a:moveTo>
                    <a:pt x="6588" y="71354"/>
                  </a:moveTo>
                  <a:cubicBezTo>
                    <a:pt x="5175" y="71354"/>
                    <a:pt x="3740" y="70905"/>
                    <a:pt x="2541" y="69962"/>
                  </a:cubicBezTo>
                  <a:cubicBezTo>
                    <a:pt x="-329" y="67735"/>
                    <a:pt x="-843" y="63581"/>
                    <a:pt x="1384" y="60712"/>
                  </a:cubicBezTo>
                  <a:lnTo>
                    <a:pt x="46633" y="2550"/>
                  </a:lnTo>
                  <a:cubicBezTo>
                    <a:pt x="48882" y="-320"/>
                    <a:pt x="53015" y="-855"/>
                    <a:pt x="55884" y="1393"/>
                  </a:cubicBezTo>
                  <a:cubicBezTo>
                    <a:pt x="58754" y="3620"/>
                    <a:pt x="59289" y="7775"/>
                    <a:pt x="57041" y="10644"/>
                  </a:cubicBezTo>
                  <a:lnTo>
                    <a:pt x="11792" y="68806"/>
                  </a:lnTo>
                  <a:cubicBezTo>
                    <a:pt x="10507" y="70477"/>
                    <a:pt x="8558" y="71354"/>
                    <a:pt x="6588" y="71354"/>
                  </a:cubicBezTo>
                  <a:close/>
                </a:path>
              </a:pathLst>
            </a:custGeom>
            <a:grpFill/>
            <a:ln w="213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49" name="Freihandform: Form 427">
              <a:extLst>
                <a:ext uri="{FF2B5EF4-FFF2-40B4-BE49-F238E27FC236}">
                  <a16:creationId xmlns:a16="http://schemas.microsoft.com/office/drawing/2014/main" id="{493AFB45-CAEF-E9BE-C765-9518E3833548}"/>
                </a:ext>
              </a:extLst>
            </p:cNvPr>
            <p:cNvSpPr/>
            <p:nvPr/>
          </p:nvSpPr>
          <p:spPr>
            <a:xfrm>
              <a:off x="1099671" y="3349662"/>
              <a:ext cx="58424" cy="71354"/>
            </a:xfrm>
            <a:custGeom>
              <a:avLst/>
              <a:gdLst>
                <a:gd name="connsiteX0" fmla="*/ 51837 w 58424"/>
                <a:gd name="connsiteY0" fmla="*/ 71354 h 71354"/>
                <a:gd name="connsiteX1" fmla="*/ 46633 w 58424"/>
                <a:gd name="connsiteY1" fmla="*/ 68806 h 71354"/>
                <a:gd name="connsiteX2" fmla="*/ 1384 w 58424"/>
                <a:gd name="connsiteY2" fmla="*/ 10644 h 71354"/>
                <a:gd name="connsiteX3" fmla="*/ 2541 w 58424"/>
                <a:gd name="connsiteY3" fmla="*/ 1393 h 71354"/>
                <a:gd name="connsiteX4" fmla="*/ 11792 w 58424"/>
                <a:gd name="connsiteY4" fmla="*/ 2550 h 71354"/>
                <a:gd name="connsiteX5" fmla="*/ 57041 w 58424"/>
                <a:gd name="connsiteY5" fmla="*/ 60712 h 71354"/>
                <a:gd name="connsiteX6" fmla="*/ 55884 w 58424"/>
                <a:gd name="connsiteY6" fmla="*/ 69962 h 71354"/>
                <a:gd name="connsiteX7" fmla="*/ 51837 w 58424"/>
                <a:gd name="connsiteY7" fmla="*/ 71354 h 713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8424" h="71354">
                  <a:moveTo>
                    <a:pt x="51837" y="71354"/>
                  </a:moveTo>
                  <a:cubicBezTo>
                    <a:pt x="49867" y="71354"/>
                    <a:pt x="47918" y="70477"/>
                    <a:pt x="46633" y="68806"/>
                  </a:cubicBezTo>
                  <a:lnTo>
                    <a:pt x="1384" y="10644"/>
                  </a:lnTo>
                  <a:cubicBezTo>
                    <a:pt x="-843" y="7775"/>
                    <a:pt x="-329" y="3620"/>
                    <a:pt x="2541" y="1393"/>
                  </a:cubicBezTo>
                  <a:cubicBezTo>
                    <a:pt x="5410" y="-855"/>
                    <a:pt x="9565" y="-320"/>
                    <a:pt x="11792" y="2550"/>
                  </a:cubicBezTo>
                  <a:lnTo>
                    <a:pt x="57041" y="60712"/>
                  </a:lnTo>
                  <a:cubicBezTo>
                    <a:pt x="59268" y="63581"/>
                    <a:pt x="58754" y="67735"/>
                    <a:pt x="55884" y="69962"/>
                  </a:cubicBezTo>
                  <a:cubicBezTo>
                    <a:pt x="54664" y="70905"/>
                    <a:pt x="53250" y="71354"/>
                    <a:pt x="51837" y="71354"/>
                  </a:cubicBezTo>
                  <a:close/>
                </a:path>
              </a:pathLst>
            </a:custGeom>
            <a:grpFill/>
            <a:ln w="213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50" name="Freihandform: Form 428">
              <a:extLst>
                <a:ext uri="{FF2B5EF4-FFF2-40B4-BE49-F238E27FC236}">
                  <a16:creationId xmlns:a16="http://schemas.microsoft.com/office/drawing/2014/main" id="{F71A677E-7D72-72A2-F2C2-5735A6CA3EFA}"/>
                </a:ext>
              </a:extLst>
            </p:cNvPr>
            <p:cNvSpPr/>
            <p:nvPr/>
          </p:nvSpPr>
          <p:spPr>
            <a:xfrm>
              <a:off x="1099634" y="3349655"/>
              <a:ext cx="77836" cy="194173"/>
            </a:xfrm>
            <a:custGeom>
              <a:avLst/>
              <a:gdLst>
                <a:gd name="connsiteX0" fmla="*/ 6604 w 77836"/>
                <a:gd name="connsiteY0" fmla="*/ 194173 h 194173"/>
                <a:gd name="connsiteX1" fmla="*/ 4377 w 77836"/>
                <a:gd name="connsiteY1" fmla="*/ 193788 h 194173"/>
                <a:gd name="connsiteX2" fmla="*/ 393 w 77836"/>
                <a:gd name="connsiteY2" fmla="*/ 185372 h 194173"/>
                <a:gd name="connsiteX3" fmla="*/ 65023 w 77836"/>
                <a:gd name="connsiteY3" fmla="*/ 4377 h 194173"/>
                <a:gd name="connsiteX4" fmla="*/ 73460 w 77836"/>
                <a:gd name="connsiteY4" fmla="*/ 393 h 194173"/>
                <a:gd name="connsiteX5" fmla="*/ 77443 w 77836"/>
                <a:gd name="connsiteY5" fmla="*/ 8809 h 194173"/>
                <a:gd name="connsiteX6" fmla="*/ 12814 w 77836"/>
                <a:gd name="connsiteY6" fmla="*/ 189805 h 194173"/>
                <a:gd name="connsiteX7" fmla="*/ 6604 w 77836"/>
                <a:gd name="connsiteY7" fmla="*/ 194173 h 1941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7836" h="194173">
                  <a:moveTo>
                    <a:pt x="6604" y="194173"/>
                  </a:moveTo>
                  <a:cubicBezTo>
                    <a:pt x="5876" y="194173"/>
                    <a:pt x="5126" y="194045"/>
                    <a:pt x="4377" y="193788"/>
                  </a:cubicBezTo>
                  <a:cubicBezTo>
                    <a:pt x="950" y="192567"/>
                    <a:pt x="-849" y="188799"/>
                    <a:pt x="393" y="185372"/>
                  </a:cubicBezTo>
                  <a:lnTo>
                    <a:pt x="65023" y="4377"/>
                  </a:lnTo>
                  <a:cubicBezTo>
                    <a:pt x="66243" y="950"/>
                    <a:pt x="70034" y="-849"/>
                    <a:pt x="73460" y="393"/>
                  </a:cubicBezTo>
                  <a:cubicBezTo>
                    <a:pt x="76886" y="1614"/>
                    <a:pt x="78685" y="5383"/>
                    <a:pt x="77443" y="8809"/>
                  </a:cubicBezTo>
                  <a:lnTo>
                    <a:pt x="12814" y="189805"/>
                  </a:lnTo>
                  <a:cubicBezTo>
                    <a:pt x="11872" y="192503"/>
                    <a:pt x="9323" y="194173"/>
                    <a:pt x="6604" y="194173"/>
                  </a:cubicBezTo>
                  <a:close/>
                </a:path>
              </a:pathLst>
            </a:custGeom>
            <a:grpFill/>
            <a:ln w="213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51" name="Freihandform: Form 429">
              <a:extLst>
                <a:ext uri="{FF2B5EF4-FFF2-40B4-BE49-F238E27FC236}">
                  <a16:creationId xmlns:a16="http://schemas.microsoft.com/office/drawing/2014/main" id="{C5C1B5B4-DB99-45DD-0BEC-BDB3C4FAFBD9}"/>
                </a:ext>
              </a:extLst>
            </p:cNvPr>
            <p:cNvSpPr/>
            <p:nvPr/>
          </p:nvSpPr>
          <p:spPr>
            <a:xfrm>
              <a:off x="983297" y="3407825"/>
              <a:ext cx="245881" cy="13191"/>
            </a:xfrm>
            <a:custGeom>
              <a:avLst/>
              <a:gdLst>
                <a:gd name="connsiteX0" fmla="*/ 239286 w 245881"/>
                <a:gd name="connsiteY0" fmla="*/ 13191 h 13191"/>
                <a:gd name="connsiteX1" fmla="*/ 6596 w 245881"/>
                <a:gd name="connsiteY1" fmla="*/ 13191 h 13191"/>
                <a:gd name="connsiteX2" fmla="*/ 0 w 245881"/>
                <a:gd name="connsiteY2" fmla="*/ 6596 h 13191"/>
                <a:gd name="connsiteX3" fmla="*/ 6596 w 245881"/>
                <a:gd name="connsiteY3" fmla="*/ 0 h 13191"/>
                <a:gd name="connsiteX4" fmla="*/ 239286 w 245881"/>
                <a:gd name="connsiteY4" fmla="*/ 0 h 13191"/>
                <a:gd name="connsiteX5" fmla="*/ 245882 w 245881"/>
                <a:gd name="connsiteY5" fmla="*/ 6596 h 13191"/>
                <a:gd name="connsiteX6" fmla="*/ 239286 w 245881"/>
                <a:gd name="connsiteY6" fmla="*/ 13191 h 131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45881" h="13191">
                  <a:moveTo>
                    <a:pt x="239286" y="13191"/>
                  </a:moveTo>
                  <a:lnTo>
                    <a:pt x="6596" y="13191"/>
                  </a:lnTo>
                  <a:cubicBezTo>
                    <a:pt x="2955" y="13191"/>
                    <a:pt x="0" y="10236"/>
                    <a:pt x="0" y="6596"/>
                  </a:cubicBezTo>
                  <a:cubicBezTo>
                    <a:pt x="0" y="2955"/>
                    <a:pt x="2955" y="0"/>
                    <a:pt x="6596" y="0"/>
                  </a:cubicBezTo>
                  <a:lnTo>
                    <a:pt x="239286" y="0"/>
                  </a:lnTo>
                  <a:cubicBezTo>
                    <a:pt x="242926" y="0"/>
                    <a:pt x="245882" y="2955"/>
                    <a:pt x="245882" y="6596"/>
                  </a:cubicBezTo>
                  <a:cubicBezTo>
                    <a:pt x="245882" y="10236"/>
                    <a:pt x="242948" y="13191"/>
                    <a:pt x="239286" y="13191"/>
                  </a:cubicBezTo>
                  <a:close/>
                </a:path>
              </a:pathLst>
            </a:custGeom>
            <a:grpFill/>
            <a:ln w="213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52" name="Freihandform: Form 430">
              <a:extLst>
                <a:ext uri="{FF2B5EF4-FFF2-40B4-BE49-F238E27FC236}">
                  <a16:creationId xmlns:a16="http://schemas.microsoft.com/office/drawing/2014/main" id="{00360E92-4614-FF29-0D9D-98C01E51F817}"/>
                </a:ext>
              </a:extLst>
            </p:cNvPr>
            <p:cNvSpPr/>
            <p:nvPr/>
          </p:nvSpPr>
          <p:spPr>
            <a:xfrm>
              <a:off x="1035013" y="3349642"/>
              <a:ext cx="77819" cy="194186"/>
            </a:xfrm>
            <a:custGeom>
              <a:avLst/>
              <a:gdLst>
                <a:gd name="connsiteX0" fmla="*/ 71224 w 77819"/>
                <a:gd name="connsiteY0" fmla="*/ 194186 h 194186"/>
                <a:gd name="connsiteX1" fmla="*/ 65014 w 77819"/>
                <a:gd name="connsiteY1" fmla="*/ 189796 h 194186"/>
                <a:gd name="connsiteX2" fmla="*/ 385 w 77819"/>
                <a:gd name="connsiteY2" fmla="*/ 8801 h 194186"/>
                <a:gd name="connsiteX3" fmla="*/ 4368 w 77819"/>
                <a:gd name="connsiteY3" fmla="*/ 385 h 194186"/>
                <a:gd name="connsiteX4" fmla="*/ 12805 w 77819"/>
                <a:gd name="connsiteY4" fmla="*/ 4368 h 194186"/>
                <a:gd name="connsiteX5" fmla="*/ 77434 w 77819"/>
                <a:gd name="connsiteY5" fmla="*/ 185364 h 194186"/>
                <a:gd name="connsiteX6" fmla="*/ 73451 w 77819"/>
                <a:gd name="connsiteY6" fmla="*/ 193780 h 194186"/>
                <a:gd name="connsiteX7" fmla="*/ 71224 w 77819"/>
                <a:gd name="connsiteY7" fmla="*/ 194186 h 1941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7819" h="194186">
                  <a:moveTo>
                    <a:pt x="71224" y="194186"/>
                  </a:moveTo>
                  <a:cubicBezTo>
                    <a:pt x="68526" y="194186"/>
                    <a:pt x="65978" y="192495"/>
                    <a:pt x="65014" y="189796"/>
                  </a:cubicBezTo>
                  <a:lnTo>
                    <a:pt x="385" y="8801"/>
                  </a:lnTo>
                  <a:cubicBezTo>
                    <a:pt x="-836" y="5375"/>
                    <a:pt x="942" y="1606"/>
                    <a:pt x="4368" y="385"/>
                  </a:cubicBezTo>
                  <a:cubicBezTo>
                    <a:pt x="7816" y="-836"/>
                    <a:pt x="11585" y="942"/>
                    <a:pt x="12805" y="4368"/>
                  </a:cubicBezTo>
                  <a:lnTo>
                    <a:pt x="77434" y="185364"/>
                  </a:lnTo>
                  <a:cubicBezTo>
                    <a:pt x="78655" y="188790"/>
                    <a:pt x="76878" y="192559"/>
                    <a:pt x="73451" y="193780"/>
                  </a:cubicBezTo>
                  <a:cubicBezTo>
                    <a:pt x="72723" y="194079"/>
                    <a:pt x="71974" y="194186"/>
                    <a:pt x="71224" y="194186"/>
                  </a:cubicBezTo>
                  <a:close/>
                </a:path>
              </a:pathLst>
            </a:custGeom>
            <a:grpFill/>
            <a:ln w="213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53" name="Freihandform: Form 431">
              <a:extLst>
                <a:ext uri="{FF2B5EF4-FFF2-40B4-BE49-F238E27FC236}">
                  <a16:creationId xmlns:a16="http://schemas.microsoft.com/office/drawing/2014/main" id="{D777FF47-F27A-032D-A48D-033173AE8836}"/>
                </a:ext>
              </a:extLst>
            </p:cNvPr>
            <p:cNvSpPr/>
            <p:nvPr/>
          </p:nvSpPr>
          <p:spPr>
            <a:xfrm>
              <a:off x="977536" y="3349642"/>
              <a:ext cx="257445" cy="197056"/>
            </a:xfrm>
            <a:custGeom>
              <a:avLst/>
              <a:gdLst>
                <a:gd name="connsiteX0" fmla="*/ 128701 w 257445"/>
                <a:gd name="connsiteY0" fmla="*/ 197057 h 197056"/>
                <a:gd name="connsiteX1" fmla="*/ 0 w 257445"/>
                <a:gd name="connsiteY1" fmla="*/ 64843 h 197056"/>
                <a:gd name="connsiteX2" fmla="*/ 61246 w 257445"/>
                <a:gd name="connsiteY2" fmla="*/ 0 h 197056"/>
                <a:gd name="connsiteX3" fmla="*/ 196200 w 257445"/>
                <a:gd name="connsiteY3" fmla="*/ 0 h 197056"/>
                <a:gd name="connsiteX4" fmla="*/ 257445 w 257445"/>
                <a:gd name="connsiteY4" fmla="*/ 64843 h 197056"/>
                <a:gd name="connsiteX5" fmla="*/ 128701 w 257445"/>
                <a:gd name="connsiteY5" fmla="*/ 197057 h 197056"/>
                <a:gd name="connsiteX6" fmla="*/ 18267 w 257445"/>
                <a:gd name="connsiteY6" fmla="*/ 64715 h 197056"/>
                <a:gd name="connsiteX7" fmla="*/ 128701 w 257445"/>
                <a:gd name="connsiteY7" fmla="*/ 178147 h 197056"/>
                <a:gd name="connsiteX8" fmla="*/ 239136 w 257445"/>
                <a:gd name="connsiteY8" fmla="*/ 64715 h 197056"/>
                <a:gd name="connsiteX9" fmla="*/ 190482 w 257445"/>
                <a:gd name="connsiteY9" fmla="*/ 13213 h 197056"/>
                <a:gd name="connsiteX10" fmla="*/ 66899 w 257445"/>
                <a:gd name="connsiteY10" fmla="*/ 13213 h 197056"/>
                <a:gd name="connsiteX11" fmla="*/ 18267 w 257445"/>
                <a:gd name="connsiteY11" fmla="*/ 64715 h 197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57445" h="197056">
                  <a:moveTo>
                    <a:pt x="128701" y="197057"/>
                  </a:moveTo>
                  <a:lnTo>
                    <a:pt x="0" y="64843"/>
                  </a:lnTo>
                  <a:lnTo>
                    <a:pt x="61246" y="0"/>
                  </a:lnTo>
                  <a:lnTo>
                    <a:pt x="196200" y="0"/>
                  </a:lnTo>
                  <a:lnTo>
                    <a:pt x="257445" y="64843"/>
                  </a:lnTo>
                  <a:lnTo>
                    <a:pt x="128701" y="197057"/>
                  </a:lnTo>
                  <a:close/>
                  <a:moveTo>
                    <a:pt x="18267" y="64715"/>
                  </a:moveTo>
                  <a:lnTo>
                    <a:pt x="128701" y="178147"/>
                  </a:lnTo>
                  <a:lnTo>
                    <a:pt x="239136" y="64715"/>
                  </a:lnTo>
                  <a:lnTo>
                    <a:pt x="190482" y="13213"/>
                  </a:lnTo>
                  <a:lnTo>
                    <a:pt x="66899" y="13213"/>
                  </a:lnTo>
                  <a:lnTo>
                    <a:pt x="18267" y="64715"/>
                  </a:lnTo>
                  <a:close/>
                </a:path>
              </a:pathLst>
            </a:custGeom>
            <a:grpFill/>
            <a:ln w="213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171" name="Gruppieren 1309">
            <a:extLst>
              <a:ext uri="{FF2B5EF4-FFF2-40B4-BE49-F238E27FC236}">
                <a16:creationId xmlns:a16="http://schemas.microsoft.com/office/drawing/2014/main" id="{95375646-E700-AF9D-EBAA-9C26EBC5A8AA}"/>
              </a:ext>
            </a:extLst>
          </p:cNvPr>
          <p:cNvGrpSpPr/>
          <p:nvPr/>
        </p:nvGrpSpPr>
        <p:grpSpPr>
          <a:xfrm>
            <a:off x="4420696" y="2554179"/>
            <a:ext cx="304140" cy="112620"/>
            <a:chOff x="5347328" y="2614422"/>
            <a:chExt cx="355726" cy="131722"/>
          </a:xfrm>
          <a:solidFill>
            <a:schemeClr val="tx2"/>
          </a:solidFill>
        </p:grpSpPr>
        <p:sp>
          <p:nvSpPr>
            <p:cNvPr id="196" name="Freihandform: Form 1267">
              <a:extLst>
                <a:ext uri="{FF2B5EF4-FFF2-40B4-BE49-F238E27FC236}">
                  <a16:creationId xmlns:a16="http://schemas.microsoft.com/office/drawing/2014/main" id="{66B63FCA-72B0-136A-EE85-21D9463A246C}"/>
                </a:ext>
              </a:extLst>
            </p:cNvPr>
            <p:cNvSpPr/>
            <p:nvPr/>
          </p:nvSpPr>
          <p:spPr>
            <a:xfrm>
              <a:off x="5518602" y="2647338"/>
              <a:ext cx="13159" cy="98805"/>
            </a:xfrm>
            <a:custGeom>
              <a:avLst/>
              <a:gdLst>
                <a:gd name="connsiteX0" fmla="*/ 6580 w 13159"/>
                <a:gd name="connsiteY0" fmla="*/ 98806 h 98805"/>
                <a:gd name="connsiteX1" fmla="*/ 0 w 13159"/>
                <a:gd name="connsiteY1" fmla="*/ 92226 h 98805"/>
                <a:gd name="connsiteX2" fmla="*/ 0 w 13159"/>
                <a:gd name="connsiteY2" fmla="*/ 6580 h 98805"/>
                <a:gd name="connsiteX3" fmla="*/ 6580 w 13159"/>
                <a:gd name="connsiteY3" fmla="*/ 0 h 98805"/>
                <a:gd name="connsiteX4" fmla="*/ 13159 w 13159"/>
                <a:gd name="connsiteY4" fmla="*/ 6580 h 98805"/>
                <a:gd name="connsiteX5" fmla="*/ 13159 w 13159"/>
                <a:gd name="connsiteY5" fmla="*/ 92226 h 98805"/>
                <a:gd name="connsiteX6" fmla="*/ 6580 w 13159"/>
                <a:gd name="connsiteY6" fmla="*/ 98806 h 988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3159" h="98805">
                  <a:moveTo>
                    <a:pt x="6580" y="98806"/>
                  </a:moveTo>
                  <a:cubicBezTo>
                    <a:pt x="2945" y="98806"/>
                    <a:pt x="0" y="95861"/>
                    <a:pt x="0" y="92226"/>
                  </a:cubicBezTo>
                  <a:lnTo>
                    <a:pt x="0" y="6580"/>
                  </a:lnTo>
                  <a:cubicBezTo>
                    <a:pt x="0" y="2945"/>
                    <a:pt x="2945" y="0"/>
                    <a:pt x="6580" y="0"/>
                  </a:cubicBezTo>
                  <a:cubicBezTo>
                    <a:pt x="10214" y="0"/>
                    <a:pt x="13159" y="2945"/>
                    <a:pt x="13159" y="6580"/>
                  </a:cubicBezTo>
                  <a:lnTo>
                    <a:pt x="13159" y="92226"/>
                  </a:lnTo>
                  <a:cubicBezTo>
                    <a:pt x="13159" y="95861"/>
                    <a:pt x="10214" y="98806"/>
                    <a:pt x="6580" y="98806"/>
                  </a:cubicBezTo>
                  <a:close/>
                </a:path>
              </a:pathLst>
            </a:custGeom>
            <a:grpFill/>
            <a:ln w="186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97" name="Freihandform: Form 1268">
              <a:extLst>
                <a:ext uri="{FF2B5EF4-FFF2-40B4-BE49-F238E27FC236}">
                  <a16:creationId xmlns:a16="http://schemas.microsoft.com/office/drawing/2014/main" id="{D39583D8-1E9F-3CCD-C167-E4BA4FDD40BD}"/>
                </a:ext>
              </a:extLst>
            </p:cNvPr>
            <p:cNvSpPr/>
            <p:nvPr/>
          </p:nvSpPr>
          <p:spPr>
            <a:xfrm>
              <a:off x="5518602" y="2614422"/>
              <a:ext cx="13159" cy="19738"/>
            </a:xfrm>
            <a:custGeom>
              <a:avLst/>
              <a:gdLst>
                <a:gd name="connsiteX0" fmla="*/ 6580 w 13159"/>
                <a:gd name="connsiteY0" fmla="*/ 19739 h 19738"/>
                <a:gd name="connsiteX1" fmla="*/ 0 w 13159"/>
                <a:gd name="connsiteY1" fmla="*/ 13159 h 19738"/>
                <a:gd name="connsiteX2" fmla="*/ 0 w 13159"/>
                <a:gd name="connsiteY2" fmla="*/ 6580 h 19738"/>
                <a:gd name="connsiteX3" fmla="*/ 6580 w 13159"/>
                <a:gd name="connsiteY3" fmla="*/ 0 h 19738"/>
                <a:gd name="connsiteX4" fmla="*/ 13159 w 13159"/>
                <a:gd name="connsiteY4" fmla="*/ 6580 h 19738"/>
                <a:gd name="connsiteX5" fmla="*/ 13159 w 13159"/>
                <a:gd name="connsiteY5" fmla="*/ 13159 h 19738"/>
                <a:gd name="connsiteX6" fmla="*/ 6580 w 13159"/>
                <a:gd name="connsiteY6" fmla="*/ 19739 h 197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3159" h="19738">
                  <a:moveTo>
                    <a:pt x="6580" y="19739"/>
                  </a:moveTo>
                  <a:cubicBezTo>
                    <a:pt x="2945" y="19739"/>
                    <a:pt x="0" y="16794"/>
                    <a:pt x="0" y="13159"/>
                  </a:cubicBezTo>
                  <a:lnTo>
                    <a:pt x="0" y="6580"/>
                  </a:lnTo>
                  <a:cubicBezTo>
                    <a:pt x="0" y="2945"/>
                    <a:pt x="2945" y="0"/>
                    <a:pt x="6580" y="0"/>
                  </a:cubicBezTo>
                  <a:cubicBezTo>
                    <a:pt x="10214" y="0"/>
                    <a:pt x="13159" y="2945"/>
                    <a:pt x="13159" y="6580"/>
                  </a:cubicBezTo>
                  <a:lnTo>
                    <a:pt x="13159" y="13159"/>
                  </a:lnTo>
                  <a:cubicBezTo>
                    <a:pt x="13159" y="16775"/>
                    <a:pt x="10214" y="19739"/>
                    <a:pt x="6580" y="19739"/>
                  </a:cubicBezTo>
                  <a:close/>
                </a:path>
              </a:pathLst>
            </a:custGeom>
            <a:grpFill/>
            <a:ln w="186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98" name="Freihandform: Form 1269">
              <a:extLst>
                <a:ext uri="{FF2B5EF4-FFF2-40B4-BE49-F238E27FC236}">
                  <a16:creationId xmlns:a16="http://schemas.microsoft.com/office/drawing/2014/main" id="{7788BF18-F51D-BED3-3853-3158CFC6709A}"/>
                </a:ext>
              </a:extLst>
            </p:cNvPr>
            <p:cNvSpPr/>
            <p:nvPr/>
          </p:nvSpPr>
          <p:spPr>
            <a:xfrm>
              <a:off x="5347328" y="2667096"/>
              <a:ext cx="355726" cy="79048"/>
            </a:xfrm>
            <a:custGeom>
              <a:avLst/>
              <a:gdLst>
                <a:gd name="connsiteX0" fmla="*/ 349128 w 355726"/>
                <a:gd name="connsiteY0" fmla="*/ 79048 h 79048"/>
                <a:gd name="connsiteX1" fmla="*/ 342548 w 355726"/>
                <a:gd name="connsiteY1" fmla="*/ 72469 h 79048"/>
                <a:gd name="connsiteX2" fmla="*/ 342548 w 355726"/>
                <a:gd name="connsiteY2" fmla="*/ 19757 h 79048"/>
                <a:gd name="connsiteX3" fmla="*/ 335969 w 355726"/>
                <a:gd name="connsiteY3" fmla="*/ 13178 h 79048"/>
                <a:gd name="connsiteX4" fmla="*/ 19739 w 355726"/>
                <a:gd name="connsiteY4" fmla="*/ 13178 h 79048"/>
                <a:gd name="connsiteX5" fmla="*/ 13159 w 355726"/>
                <a:gd name="connsiteY5" fmla="*/ 19757 h 79048"/>
                <a:gd name="connsiteX6" fmla="*/ 13159 w 355726"/>
                <a:gd name="connsiteY6" fmla="*/ 72469 h 79048"/>
                <a:gd name="connsiteX7" fmla="*/ 6580 w 355726"/>
                <a:gd name="connsiteY7" fmla="*/ 79048 h 79048"/>
                <a:gd name="connsiteX8" fmla="*/ 0 w 355726"/>
                <a:gd name="connsiteY8" fmla="*/ 72469 h 79048"/>
                <a:gd name="connsiteX9" fmla="*/ 0 w 355726"/>
                <a:gd name="connsiteY9" fmla="*/ 19757 h 79048"/>
                <a:gd name="connsiteX10" fmla="*/ 19757 w 355726"/>
                <a:gd name="connsiteY10" fmla="*/ 0 h 79048"/>
                <a:gd name="connsiteX11" fmla="*/ 335969 w 355726"/>
                <a:gd name="connsiteY11" fmla="*/ 0 h 79048"/>
                <a:gd name="connsiteX12" fmla="*/ 355726 w 355726"/>
                <a:gd name="connsiteY12" fmla="*/ 19757 h 79048"/>
                <a:gd name="connsiteX13" fmla="*/ 355726 w 355726"/>
                <a:gd name="connsiteY13" fmla="*/ 72469 h 79048"/>
                <a:gd name="connsiteX14" fmla="*/ 349128 w 355726"/>
                <a:gd name="connsiteY14" fmla="*/ 79048 h 7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55726" h="79048">
                  <a:moveTo>
                    <a:pt x="349128" y="79048"/>
                  </a:moveTo>
                  <a:cubicBezTo>
                    <a:pt x="345493" y="79048"/>
                    <a:pt x="342548" y="76103"/>
                    <a:pt x="342548" y="72469"/>
                  </a:cubicBezTo>
                  <a:lnTo>
                    <a:pt x="342548" y="19757"/>
                  </a:lnTo>
                  <a:cubicBezTo>
                    <a:pt x="342548" y="16123"/>
                    <a:pt x="339585" y="13178"/>
                    <a:pt x="335969" y="13178"/>
                  </a:cubicBezTo>
                  <a:lnTo>
                    <a:pt x="19739" y="13178"/>
                  </a:lnTo>
                  <a:cubicBezTo>
                    <a:pt x="16104" y="13178"/>
                    <a:pt x="13159" y="16141"/>
                    <a:pt x="13159" y="19757"/>
                  </a:cubicBezTo>
                  <a:lnTo>
                    <a:pt x="13159" y="72469"/>
                  </a:lnTo>
                  <a:cubicBezTo>
                    <a:pt x="13159" y="76103"/>
                    <a:pt x="10214" y="79048"/>
                    <a:pt x="6580" y="79048"/>
                  </a:cubicBezTo>
                  <a:cubicBezTo>
                    <a:pt x="2945" y="79048"/>
                    <a:pt x="0" y="76103"/>
                    <a:pt x="0" y="72469"/>
                  </a:cubicBezTo>
                  <a:lnTo>
                    <a:pt x="0" y="19757"/>
                  </a:lnTo>
                  <a:cubicBezTo>
                    <a:pt x="0" y="8854"/>
                    <a:pt x="8872" y="0"/>
                    <a:pt x="19757" y="0"/>
                  </a:cubicBezTo>
                  <a:lnTo>
                    <a:pt x="335969" y="0"/>
                  </a:lnTo>
                  <a:cubicBezTo>
                    <a:pt x="346873" y="0"/>
                    <a:pt x="355726" y="8872"/>
                    <a:pt x="355726" y="19757"/>
                  </a:cubicBezTo>
                  <a:lnTo>
                    <a:pt x="355726" y="72469"/>
                  </a:lnTo>
                  <a:cubicBezTo>
                    <a:pt x="355707" y="76103"/>
                    <a:pt x="352762" y="79048"/>
                    <a:pt x="349128" y="79048"/>
                  </a:cubicBezTo>
                  <a:close/>
                </a:path>
              </a:pathLst>
            </a:custGeom>
            <a:grpFill/>
            <a:ln w="186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172" name="Gruppieren 1308">
            <a:extLst>
              <a:ext uri="{FF2B5EF4-FFF2-40B4-BE49-F238E27FC236}">
                <a16:creationId xmlns:a16="http://schemas.microsoft.com/office/drawing/2014/main" id="{53C91952-3BA7-D92B-49FB-0E3373ABFEC2}"/>
              </a:ext>
            </a:extLst>
          </p:cNvPr>
          <p:cNvGrpSpPr/>
          <p:nvPr/>
        </p:nvGrpSpPr>
        <p:grpSpPr>
          <a:xfrm>
            <a:off x="4377445" y="2420364"/>
            <a:ext cx="389111" cy="370800"/>
            <a:chOff x="5296741" y="2457910"/>
            <a:chExt cx="455109" cy="433692"/>
          </a:xfrm>
          <a:solidFill>
            <a:srgbClr val="9CB40D"/>
          </a:solidFill>
        </p:grpSpPr>
        <p:grpSp>
          <p:nvGrpSpPr>
            <p:cNvPr id="173" name="Grafik 318">
              <a:extLst>
                <a:ext uri="{FF2B5EF4-FFF2-40B4-BE49-F238E27FC236}">
                  <a16:creationId xmlns:a16="http://schemas.microsoft.com/office/drawing/2014/main" id="{AB762622-DE8B-00CF-C900-AD90974F8782}"/>
                </a:ext>
              </a:extLst>
            </p:cNvPr>
            <p:cNvGrpSpPr/>
            <p:nvPr/>
          </p:nvGrpSpPr>
          <p:grpSpPr>
            <a:xfrm>
              <a:off x="5362407" y="2457910"/>
              <a:ext cx="324748" cy="135729"/>
              <a:chOff x="5362407" y="2457910"/>
              <a:chExt cx="324748" cy="135729"/>
            </a:xfrm>
            <a:grpFill/>
          </p:grpSpPr>
          <p:grpSp>
            <p:nvGrpSpPr>
              <p:cNvPr id="180" name="Grafik 318">
                <a:extLst>
                  <a:ext uri="{FF2B5EF4-FFF2-40B4-BE49-F238E27FC236}">
                    <a16:creationId xmlns:a16="http://schemas.microsoft.com/office/drawing/2014/main" id="{6E23B5D2-0606-8998-A1A3-1148D983AF77}"/>
                  </a:ext>
                </a:extLst>
              </p:cNvPr>
              <p:cNvGrpSpPr/>
              <p:nvPr/>
            </p:nvGrpSpPr>
            <p:grpSpPr>
              <a:xfrm>
                <a:off x="5581320" y="2491236"/>
                <a:ext cx="105834" cy="82981"/>
                <a:chOff x="5581320" y="2491236"/>
                <a:chExt cx="105834" cy="82981"/>
              </a:xfrm>
              <a:grpFill/>
            </p:grpSpPr>
            <p:sp>
              <p:nvSpPr>
                <p:cNvPr id="194" name="Freihandform: Form 1252">
                  <a:extLst>
                    <a:ext uri="{FF2B5EF4-FFF2-40B4-BE49-F238E27FC236}">
                      <a16:creationId xmlns:a16="http://schemas.microsoft.com/office/drawing/2014/main" id="{15DA86C7-C3BD-ACCD-09D3-F984B5E1EE75}"/>
                    </a:ext>
                  </a:extLst>
                </p:cNvPr>
                <p:cNvSpPr/>
                <p:nvPr/>
              </p:nvSpPr>
              <p:spPr>
                <a:xfrm>
                  <a:off x="5582544" y="2491236"/>
                  <a:ext cx="104610" cy="56140"/>
                </a:xfrm>
                <a:custGeom>
                  <a:avLst/>
                  <a:gdLst>
                    <a:gd name="connsiteX0" fmla="*/ 35236 w 104610"/>
                    <a:gd name="connsiteY0" fmla="*/ 56141 h 56140"/>
                    <a:gd name="connsiteX1" fmla="*/ 5451 w 104610"/>
                    <a:gd name="connsiteY1" fmla="*/ 53680 h 56140"/>
                    <a:gd name="connsiteX2" fmla="*/ 101 w 104610"/>
                    <a:gd name="connsiteY2" fmla="*/ 46057 h 56140"/>
                    <a:gd name="connsiteX3" fmla="*/ 7725 w 104610"/>
                    <a:gd name="connsiteY3" fmla="*/ 40708 h 56140"/>
                    <a:gd name="connsiteX4" fmla="*/ 35236 w 104610"/>
                    <a:gd name="connsiteY4" fmla="*/ 42963 h 56140"/>
                    <a:gd name="connsiteX5" fmla="*/ 91433 w 104610"/>
                    <a:gd name="connsiteY5" fmla="*/ 28070 h 56140"/>
                    <a:gd name="connsiteX6" fmla="*/ 35236 w 104610"/>
                    <a:gd name="connsiteY6" fmla="*/ 13178 h 56140"/>
                    <a:gd name="connsiteX7" fmla="*/ 7986 w 104610"/>
                    <a:gd name="connsiteY7" fmla="*/ 15396 h 56140"/>
                    <a:gd name="connsiteX8" fmla="*/ 362 w 104610"/>
                    <a:gd name="connsiteY8" fmla="*/ 10028 h 56140"/>
                    <a:gd name="connsiteX9" fmla="*/ 5730 w 104610"/>
                    <a:gd name="connsiteY9" fmla="*/ 2404 h 56140"/>
                    <a:gd name="connsiteX10" fmla="*/ 35236 w 104610"/>
                    <a:gd name="connsiteY10" fmla="*/ 0 h 56140"/>
                    <a:gd name="connsiteX11" fmla="*/ 104610 w 104610"/>
                    <a:gd name="connsiteY11" fmla="*/ 28070 h 56140"/>
                    <a:gd name="connsiteX12" fmla="*/ 35236 w 104610"/>
                    <a:gd name="connsiteY12" fmla="*/ 56141 h 5614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</a:cxnLst>
                  <a:rect l="l" t="t" r="r" b="b"/>
                  <a:pathLst>
                    <a:path w="104610" h="56140">
                      <a:moveTo>
                        <a:pt x="35236" y="56141"/>
                      </a:moveTo>
                      <a:cubicBezTo>
                        <a:pt x="24761" y="56141"/>
                        <a:pt x="14752" y="55321"/>
                        <a:pt x="5451" y="53680"/>
                      </a:cubicBezTo>
                      <a:cubicBezTo>
                        <a:pt x="1872" y="53047"/>
                        <a:pt x="-532" y="49636"/>
                        <a:pt x="101" y="46057"/>
                      </a:cubicBezTo>
                      <a:cubicBezTo>
                        <a:pt x="735" y="42478"/>
                        <a:pt x="4127" y="40074"/>
                        <a:pt x="7725" y="40708"/>
                      </a:cubicBezTo>
                      <a:cubicBezTo>
                        <a:pt x="16150" y="42180"/>
                        <a:pt x="25655" y="42963"/>
                        <a:pt x="35236" y="42963"/>
                      </a:cubicBezTo>
                      <a:cubicBezTo>
                        <a:pt x="71731" y="42963"/>
                        <a:pt x="91433" y="32395"/>
                        <a:pt x="91433" y="28070"/>
                      </a:cubicBezTo>
                      <a:cubicBezTo>
                        <a:pt x="91433" y="23746"/>
                        <a:pt x="71750" y="13178"/>
                        <a:pt x="35236" y="13178"/>
                      </a:cubicBezTo>
                      <a:cubicBezTo>
                        <a:pt x="25637" y="13178"/>
                        <a:pt x="16466" y="13923"/>
                        <a:pt x="7986" y="15396"/>
                      </a:cubicBezTo>
                      <a:cubicBezTo>
                        <a:pt x="4407" y="16011"/>
                        <a:pt x="996" y="13607"/>
                        <a:pt x="362" y="10028"/>
                      </a:cubicBezTo>
                      <a:cubicBezTo>
                        <a:pt x="-253" y="6449"/>
                        <a:pt x="2133" y="3038"/>
                        <a:pt x="5730" y="2404"/>
                      </a:cubicBezTo>
                      <a:cubicBezTo>
                        <a:pt x="14957" y="802"/>
                        <a:pt x="24873" y="0"/>
                        <a:pt x="35236" y="0"/>
                      </a:cubicBezTo>
                      <a:cubicBezTo>
                        <a:pt x="68637" y="0"/>
                        <a:pt x="104610" y="8779"/>
                        <a:pt x="104610" y="28070"/>
                      </a:cubicBezTo>
                      <a:cubicBezTo>
                        <a:pt x="104610" y="47362"/>
                        <a:pt x="68656" y="56141"/>
                        <a:pt x="35236" y="56141"/>
                      </a:cubicBezTo>
                      <a:close/>
                    </a:path>
                  </a:pathLst>
                </a:custGeom>
                <a:grpFill/>
                <a:ln w="186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95" name="Freihandform: Form 1253">
                  <a:extLst>
                    <a:ext uri="{FF2B5EF4-FFF2-40B4-BE49-F238E27FC236}">
                      <a16:creationId xmlns:a16="http://schemas.microsoft.com/office/drawing/2014/main" id="{9FF6AA3C-8BB0-F6C2-EE2E-0299D21ED47D}"/>
                    </a:ext>
                  </a:extLst>
                </p:cNvPr>
                <p:cNvSpPr/>
                <p:nvPr/>
              </p:nvSpPr>
              <p:spPr>
                <a:xfrm>
                  <a:off x="5581320" y="2512746"/>
                  <a:ext cx="105815" cy="61471"/>
                </a:xfrm>
                <a:custGeom>
                  <a:avLst/>
                  <a:gdLst>
                    <a:gd name="connsiteX0" fmla="*/ 36460 w 105815"/>
                    <a:gd name="connsiteY0" fmla="*/ 61472 h 61471"/>
                    <a:gd name="connsiteX1" fmla="*/ 5389 w 105815"/>
                    <a:gd name="connsiteY1" fmla="*/ 58788 h 61471"/>
                    <a:gd name="connsiteX2" fmla="*/ 114 w 105815"/>
                    <a:gd name="connsiteY2" fmla="*/ 51108 h 61471"/>
                    <a:gd name="connsiteX3" fmla="*/ 7793 w 105815"/>
                    <a:gd name="connsiteY3" fmla="*/ 45833 h 61471"/>
                    <a:gd name="connsiteX4" fmla="*/ 36460 w 105815"/>
                    <a:gd name="connsiteY4" fmla="*/ 48312 h 61471"/>
                    <a:gd name="connsiteX5" fmla="*/ 92657 w 105815"/>
                    <a:gd name="connsiteY5" fmla="*/ 33420 h 61471"/>
                    <a:gd name="connsiteX6" fmla="*/ 92657 w 105815"/>
                    <a:gd name="connsiteY6" fmla="*/ 6580 h 61471"/>
                    <a:gd name="connsiteX7" fmla="*/ 99236 w 105815"/>
                    <a:gd name="connsiteY7" fmla="*/ 0 h 61471"/>
                    <a:gd name="connsiteX8" fmla="*/ 105816 w 105815"/>
                    <a:gd name="connsiteY8" fmla="*/ 6580 h 61471"/>
                    <a:gd name="connsiteX9" fmla="*/ 105816 w 105815"/>
                    <a:gd name="connsiteY9" fmla="*/ 33420 h 61471"/>
                    <a:gd name="connsiteX10" fmla="*/ 36460 w 105815"/>
                    <a:gd name="connsiteY10" fmla="*/ 61472 h 614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105815" h="61471">
                      <a:moveTo>
                        <a:pt x="36460" y="61472"/>
                      </a:moveTo>
                      <a:cubicBezTo>
                        <a:pt x="25631" y="61472"/>
                        <a:pt x="14895" y="60540"/>
                        <a:pt x="5389" y="58788"/>
                      </a:cubicBezTo>
                      <a:cubicBezTo>
                        <a:pt x="1810" y="58117"/>
                        <a:pt x="-557" y="54687"/>
                        <a:pt x="114" y="51108"/>
                      </a:cubicBezTo>
                      <a:cubicBezTo>
                        <a:pt x="785" y="47530"/>
                        <a:pt x="4214" y="45162"/>
                        <a:pt x="7793" y="45833"/>
                      </a:cubicBezTo>
                      <a:cubicBezTo>
                        <a:pt x="16516" y="47455"/>
                        <a:pt x="26432" y="48312"/>
                        <a:pt x="36460" y="48312"/>
                      </a:cubicBezTo>
                      <a:cubicBezTo>
                        <a:pt x="72955" y="48312"/>
                        <a:pt x="92657" y="37744"/>
                        <a:pt x="92657" y="33420"/>
                      </a:cubicBezTo>
                      <a:lnTo>
                        <a:pt x="92657" y="6580"/>
                      </a:lnTo>
                      <a:cubicBezTo>
                        <a:pt x="92657" y="2945"/>
                        <a:pt x="95602" y="0"/>
                        <a:pt x="99236" y="0"/>
                      </a:cubicBezTo>
                      <a:cubicBezTo>
                        <a:pt x="102871" y="0"/>
                        <a:pt x="105816" y="2945"/>
                        <a:pt x="105816" y="6580"/>
                      </a:cubicBezTo>
                      <a:lnTo>
                        <a:pt x="105816" y="33420"/>
                      </a:lnTo>
                      <a:cubicBezTo>
                        <a:pt x="105834" y="52693"/>
                        <a:pt x="69880" y="61472"/>
                        <a:pt x="36460" y="61472"/>
                      </a:cubicBezTo>
                      <a:close/>
                    </a:path>
                  </a:pathLst>
                </a:custGeom>
                <a:grpFill/>
                <a:ln w="186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</a:endParaRPr>
                </a:p>
              </p:txBody>
            </p:sp>
          </p:grpSp>
          <p:grpSp>
            <p:nvGrpSpPr>
              <p:cNvPr id="181" name="Grafik 318">
                <a:extLst>
                  <a:ext uri="{FF2B5EF4-FFF2-40B4-BE49-F238E27FC236}">
                    <a16:creationId xmlns:a16="http://schemas.microsoft.com/office/drawing/2014/main" id="{C3BABEA5-9FE6-B04D-9814-1D8E57454401}"/>
                  </a:ext>
                </a:extLst>
              </p:cNvPr>
              <p:cNvGrpSpPr/>
              <p:nvPr/>
            </p:nvGrpSpPr>
            <p:grpSpPr>
              <a:xfrm>
                <a:off x="5362407" y="2491236"/>
                <a:ext cx="105815" cy="82981"/>
                <a:chOff x="5362407" y="2491236"/>
                <a:chExt cx="105815" cy="82981"/>
              </a:xfrm>
              <a:grpFill/>
            </p:grpSpPr>
            <p:sp>
              <p:nvSpPr>
                <p:cNvPr id="192" name="Freihandform: Form 1255">
                  <a:extLst>
                    <a:ext uri="{FF2B5EF4-FFF2-40B4-BE49-F238E27FC236}">
                      <a16:creationId xmlns:a16="http://schemas.microsoft.com/office/drawing/2014/main" id="{D88068BA-8F6A-1678-595C-95313B3FF612}"/>
                    </a:ext>
                  </a:extLst>
                </p:cNvPr>
                <p:cNvSpPr/>
                <p:nvPr/>
              </p:nvSpPr>
              <p:spPr>
                <a:xfrm>
                  <a:off x="5362407" y="2491236"/>
                  <a:ext cx="104591" cy="56140"/>
                </a:xfrm>
                <a:custGeom>
                  <a:avLst/>
                  <a:gdLst>
                    <a:gd name="connsiteX0" fmla="*/ 69356 w 104591"/>
                    <a:gd name="connsiteY0" fmla="*/ 56141 h 56140"/>
                    <a:gd name="connsiteX1" fmla="*/ 0 w 104591"/>
                    <a:gd name="connsiteY1" fmla="*/ 28070 h 56140"/>
                    <a:gd name="connsiteX2" fmla="*/ 69356 w 104591"/>
                    <a:gd name="connsiteY2" fmla="*/ 0 h 56140"/>
                    <a:gd name="connsiteX3" fmla="*/ 98861 w 104591"/>
                    <a:gd name="connsiteY3" fmla="*/ 2404 h 56140"/>
                    <a:gd name="connsiteX4" fmla="*/ 104230 w 104591"/>
                    <a:gd name="connsiteY4" fmla="*/ 10028 h 56140"/>
                    <a:gd name="connsiteX5" fmla="*/ 96606 w 104591"/>
                    <a:gd name="connsiteY5" fmla="*/ 15396 h 56140"/>
                    <a:gd name="connsiteX6" fmla="*/ 69356 w 104591"/>
                    <a:gd name="connsiteY6" fmla="*/ 13178 h 56140"/>
                    <a:gd name="connsiteX7" fmla="*/ 13159 w 104591"/>
                    <a:gd name="connsiteY7" fmla="*/ 28070 h 56140"/>
                    <a:gd name="connsiteX8" fmla="*/ 69356 w 104591"/>
                    <a:gd name="connsiteY8" fmla="*/ 42963 h 56140"/>
                    <a:gd name="connsiteX9" fmla="*/ 96867 w 104591"/>
                    <a:gd name="connsiteY9" fmla="*/ 40708 h 56140"/>
                    <a:gd name="connsiteX10" fmla="*/ 104490 w 104591"/>
                    <a:gd name="connsiteY10" fmla="*/ 46057 h 56140"/>
                    <a:gd name="connsiteX11" fmla="*/ 99141 w 104591"/>
                    <a:gd name="connsiteY11" fmla="*/ 53680 h 56140"/>
                    <a:gd name="connsiteX12" fmla="*/ 69356 w 104591"/>
                    <a:gd name="connsiteY12" fmla="*/ 56141 h 5614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</a:cxnLst>
                  <a:rect l="l" t="t" r="r" b="b"/>
                  <a:pathLst>
                    <a:path w="104591" h="56140">
                      <a:moveTo>
                        <a:pt x="69356" y="56141"/>
                      </a:moveTo>
                      <a:cubicBezTo>
                        <a:pt x="35955" y="56141"/>
                        <a:pt x="0" y="47362"/>
                        <a:pt x="0" y="28070"/>
                      </a:cubicBezTo>
                      <a:cubicBezTo>
                        <a:pt x="0" y="8779"/>
                        <a:pt x="35955" y="0"/>
                        <a:pt x="69356" y="0"/>
                      </a:cubicBezTo>
                      <a:cubicBezTo>
                        <a:pt x="79719" y="0"/>
                        <a:pt x="89635" y="802"/>
                        <a:pt x="98861" y="2404"/>
                      </a:cubicBezTo>
                      <a:cubicBezTo>
                        <a:pt x="102440" y="3020"/>
                        <a:pt x="104845" y="6430"/>
                        <a:pt x="104230" y="10028"/>
                      </a:cubicBezTo>
                      <a:cubicBezTo>
                        <a:pt x="103614" y="13607"/>
                        <a:pt x="100203" y="16011"/>
                        <a:pt x="96606" y="15396"/>
                      </a:cubicBezTo>
                      <a:cubicBezTo>
                        <a:pt x="88237" y="13942"/>
                        <a:pt x="78824" y="13178"/>
                        <a:pt x="69356" y="13178"/>
                      </a:cubicBezTo>
                      <a:cubicBezTo>
                        <a:pt x="32861" y="13178"/>
                        <a:pt x="13159" y="23746"/>
                        <a:pt x="13159" y="28070"/>
                      </a:cubicBezTo>
                      <a:cubicBezTo>
                        <a:pt x="13159" y="32395"/>
                        <a:pt x="32842" y="42963"/>
                        <a:pt x="69356" y="42963"/>
                      </a:cubicBezTo>
                      <a:cubicBezTo>
                        <a:pt x="78918" y="42963"/>
                        <a:pt x="88442" y="42180"/>
                        <a:pt x="96867" y="40708"/>
                      </a:cubicBezTo>
                      <a:cubicBezTo>
                        <a:pt x="100446" y="40055"/>
                        <a:pt x="103857" y="42478"/>
                        <a:pt x="104490" y="46057"/>
                      </a:cubicBezTo>
                      <a:cubicBezTo>
                        <a:pt x="105124" y="49636"/>
                        <a:pt x="102720" y="53047"/>
                        <a:pt x="99141" y="53680"/>
                      </a:cubicBezTo>
                      <a:cubicBezTo>
                        <a:pt x="89859" y="55302"/>
                        <a:pt x="79831" y="56141"/>
                        <a:pt x="69356" y="56141"/>
                      </a:cubicBezTo>
                      <a:close/>
                    </a:path>
                  </a:pathLst>
                </a:custGeom>
                <a:grpFill/>
                <a:ln w="186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93" name="Freihandform: Form 1256">
                  <a:extLst>
                    <a:ext uri="{FF2B5EF4-FFF2-40B4-BE49-F238E27FC236}">
                      <a16:creationId xmlns:a16="http://schemas.microsoft.com/office/drawing/2014/main" id="{E7766D67-8C8D-54CA-D864-F67648C3482D}"/>
                    </a:ext>
                  </a:extLst>
                </p:cNvPr>
                <p:cNvSpPr/>
                <p:nvPr/>
              </p:nvSpPr>
              <p:spPr>
                <a:xfrm>
                  <a:off x="5362407" y="2512727"/>
                  <a:ext cx="105815" cy="61490"/>
                </a:xfrm>
                <a:custGeom>
                  <a:avLst/>
                  <a:gdLst>
                    <a:gd name="connsiteX0" fmla="*/ 69356 w 105815"/>
                    <a:gd name="connsiteY0" fmla="*/ 61490 h 61490"/>
                    <a:gd name="connsiteX1" fmla="*/ 0 w 105815"/>
                    <a:gd name="connsiteY1" fmla="*/ 33420 h 61490"/>
                    <a:gd name="connsiteX2" fmla="*/ 0 w 105815"/>
                    <a:gd name="connsiteY2" fmla="*/ 6580 h 61490"/>
                    <a:gd name="connsiteX3" fmla="*/ 6580 w 105815"/>
                    <a:gd name="connsiteY3" fmla="*/ 0 h 61490"/>
                    <a:gd name="connsiteX4" fmla="*/ 13159 w 105815"/>
                    <a:gd name="connsiteY4" fmla="*/ 6580 h 61490"/>
                    <a:gd name="connsiteX5" fmla="*/ 13159 w 105815"/>
                    <a:gd name="connsiteY5" fmla="*/ 33420 h 61490"/>
                    <a:gd name="connsiteX6" fmla="*/ 69356 w 105815"/>
                    <a:gd name="connsiteY6" fmla="*/ 48312 h 61490"/>
                    <a:gd name="connsiteX7" fmla="*/ 98023 w 105815"/>
                    <a:gd name="connsiteY7" fmla="*/ 45833 h 61490"/>
                    <a:gd name="connsiteX8" fmla="*/ 105702 w 105815"/>
                    <a:gd name="connsiteY8" fmla="*/ 51108 h 61490"/>
                    <a:gd name="connsiteX9" fmla="*/ 100427 w 105815"/>
                    <a:gd name="connsiteY9" fmla="*/ 58788 h 61490"/>
                    <a:gd name="connsiteX10" fmla="*/ 69356 w 105815"/>
                    <a:gd name="connsiteY10" fmla="*/ 61490 h 614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105815" h="61490">
                      <a:moveTo>
                        <a:pt x="69356" y="61490"/>
                      </a:moveTo>
                      <a:cubicBezTo>
                        <a:pt x="35955" y="61490"/>
                        <a:pt x="0" y="52711"/>
                        <a:pt x="0" y="33420"/>
                      </a:cubicBezTo>
                      <a:lnTo>
                        <a:pt x="0" y="6580"/>
                      </a:lnTo>
                      <a:cubicBezTo>
                        <a:pt x="0" y="2945"/>
                        <a:pt x="2945" y="0"/>
                        <a:pt x="6580" y="0"/>
                      </a:cubicBezTo>
                      <a:cubicBezTo>
                        <a:pt x="10214" y="0"/>
                        <a:pt x="13159" y="2945"/>
                        <a:pt x="13159" y="6580"/>
                      </a:cubicBezTo>
                      <a:lnTo>
                        <a:pt x="13159" y="33420"/>
                      </a:lnTo>
                      <a:cubicBezTo>
                        <a:pt x="13159" y="37744"/>
                        <a:pt x="32842" y="48312"/>
                        <a:pt x="69356" y="48312"/>
                      </a:cubicBezTo>
                      <a:cubicBezTo>
                        <a:pt x="79384" y="48312"/>
                        <a:pt x="89300" y="47455"/>
                        <a:pt x="98023" y="45833"/>
                      </a:cubicBezTo>
                      <a:cubicBezTo>
                        <a:pt x="101583" y="45181"/>
                        <a:pt x="105031" y="47530"/>
                        <a:pt x="105702" y="51108"/>
                      </a:cubicBezTo>
                      <a:cubicBezTo>
                        <a:pt x="106373" y="54687"/>
                        <a:pt x="104006" y="58117"/>
                        <a:pt x="100427" y="58788"/>
                      </a:cubicBezTo>
                      <a:cubicBezTo>
                        <a:pt x="90921" y="60558"/>
                        <a:pt x="80185" y="61490"/>
                        <a:pt x="69356" y="61490"/>
                      </a:cubicBezTo>
                      <a:close/>
                    </a:path>
                  </a:pathLst>
                </a:custGeom>
                <a:grpFill/>
                <a:ln w="186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</a:endParaRPr>
                </a:p>
              </p:txBody>
            </p:sp>
          </p:grpSp>
          <p:grpSp>
            <p:nvGrpSpPr>
              <p:cNvPr id="182" name="Grafik 318">
                <a:extLst>
                  <a:ext uri="{FF2B5EF4-FFF2-40B4-BE49-F238E27FC236}">
                    <a16:creationId xmlns:a16="http://schemas.microsoft.com/office/drawing/2014/main" id="{C14181FF-9216-5837-CC37-0A9E44D85782}"/>
                  </a:ext>
                </a:extLst>
              </p:cNvPr>
              <p:cNvGrpSpPr/>
              <p:nvPr/>
            </p:nvGrpSpPr>
            <p:grpSpPr>
              <a:xfrm>
                <a:off x="5455826" y="2457910"/>
                <a:ext cx="138730" cy="109168"/>
                <a:chOff x="5455826" y="2457910"/>
                <a:chExt cx="138730" cy="109168"/>
              </a:xfrm>
              <a:grpFill/>
            </p:grpSpPr>
            <p:grpSp>
              <p:nvGrpSpPr>
                <p:cNvPr id="186" name="Grafik 318">
                  <a:extLst>
                    <a:ext uri="{FF2B5EF4-FFF2-40B4-BE49-F238E27FC236}">
                      <a16:creationId xmlns:a16="http://schemas.microsoft.com/office/drawing/2014/main" id="{87E21CAF-92DA-CC52-9AEA-2ADCA10EB988}"/>
                    </a:ext>
                  </a:extLst>
                </p:cNvPr>
                <p:cNvGrpSpPr/>
                <p:nvPr/>
              </p:nvGrpSpPr>
              <p:grpSpPr>
                <a:xfrm>
                  <a:off x="5455826" y="2505570"/>
                  <a:ext cx="138711" cy="61508"/>
                  <a:chOff x="5455826" y="2505570"/>
                  <a:chExt cx="138711" cy="61508"/>
                </a:xfrm>
                <a:grpFill/>
              </p:grpSpPr>
              <p:sp>
                <p:nvSpPr>
                  <p:cNvPr id="190" name="Freihandform: Form 1259">
                    <a:extLst>
                      <a:ext uri="{FF2B5EF4-FFF2-40B4-BE49-F238E27FC236}">
                        <a16:creationId xmlns:a16="http://schemas.microsoft.com/office/drawing/2014/main" id="{97B55F91-7104-E4EF-40D4-8021036ABF38}"/>
                      </a:ext>
                    </a:extLst>
                  </p:cNvPr>
                  <p:cNvSpPr/>
                  <p:nvPr/>
                </p:nvSpPr>
                <p:spPr>
                  <a:xfrm>
                    <a:off x="5455826" y="2505570"/>
                    <a:ext cx="138711" cy="34649"/>
                  </a:xfrm>
                  <a:custGeom>
                    <a:avLst/>
                    <a:gdLst>
                      <a:gd name="connsiteX0" fmla="*/ 69356 w 138711"/>
                      <a:gd name="connsiteY0" fmla="*/ 34650 h 34649"/>
                      <a:gd name="connsiteX1" fmla="*/ 0 w 138711"/>
                      <a:gd name="connsiteY1" fmla="*/ 6580 h 34649"/>
                      <a:gd name="connsiteX2" fmla="*/ 6580 w 138711"/>
                      <a:gd name="connsiteY2" fmla="*/ 0 h 34649"/>
                      <a:gd name="connsiteX3" fmla="*/ 13159 w 138711"/>
                      <a:gd name="connsiteY3" fmla="*/ 6580 h 34649"/>
                      <a:gd name="connsiteX4" fmla="*/ 69356 w 138711"/>
                      <a:gd name="connsiteY4" fmla="*/ 21472 h 34649"/>
                      <a:gd name="connsiteX5" fmla="*/ 125553 w 138711"/>
                      <a:gd name="connsiteY5" fmla="*/ 6580 h 34649"/>
                      <a:gd name="connsiteX6" fmla="*/ 132132 w 138711"/>
                      <a:gd name="connsiteY6" fmla="*/ 0 h 34649"/>
                      <a:gd name="connsiteX7" fmla="*/ 138712 w 138711"/>
                      <a:gd name="connsiteY7" fmla="*/ 6580 h 34649"/>
                      <a:gd name="connsiteX8" fmla="*/ 69356 w 138711"/>
                      <a:gd name="connsiteY8" fmla="*/ 34650 h 346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138711" h="34649">
                        <a:moveTo>
                          <a:pt x="69356" y="34650"/>
                        </a:moveTo>
                        <a:cubicBezTo>
                          <a:pt x="35955" y="34650"/>
                          <a:pt x="0" y="25871"/>
                          <a:pt x="0" y="6580"/>
                        </a:cubicBezTo>
                        <a:cubicBezTo>
                          <a:pt x="0" y="2945"/>
                          <a:pt x="2945" y="0"/>
                          <a:pt x="6580" y="0"/>
                        </a:cubicBezTo>
                        <a:cubicBezTo>
                          <a:pt x="10214" y="0"/>
                          <a:pt x="13159" y="2945"/>
                          <a:pt x="13159" y="6580"/>
                        </a:cubicBezTo>
                        <a:cubicBezTo>
                          <a:pt x="13159" y="10904"/>
                          <a:pt x="32842" y="21472"/>
                          <a:pt x="69356" y="21472"/>
                        </a:cubicBezTo>
                        <a:cubicBezTo>
                          <a:pt x="105851" y="21472"/>
                          <a:pt x="125553" y="10904"/>
                          <a:pt x="125553" y="6580"/>
                        </a:cubicBezTo>
                        <a:cubicBezTo>
                          <a:pt x="125553" y="2945"/>
                          <a:pt x="128498" y="0"/>
                          <a:pt x="132132" y="0"/>
                        </a:cubicBezTo>
                        <a:cubicBezTo>
                          <a:pt x="135767" y="0"/>
                          <a:pt x="138712" y="2945"/>
                          <a:pt x="138712" y="6580"/>
                        </a:cubicBezTo>
                        <a:cubicBezTo>
                          <a:pt x="138712" y="25871"/>
                          <a:pt x="102757" y="34650"/>
                          <a:pt x="69356" y="34650"/>
                        </a:cubicBezTo>
                        <a:close/>
                      </a:path>
                    </a:pathLst>
                  </a:custGeom>
                  <a:grpFill/>
                  <a:ln w="1863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191" name="Freihandform: Form 1260">
                    <a:extLst>
                      <a:ext uri="{FF2B5EF4-FFF2-40B4-BE49-F238E27FC236}">
                        <a16:creationId xmlns:a16="http://schemas.microsoft.com/office/drawing/2014/main" id="{6C0E47F2-E7C9-6F24-F849-71ED877864BD}"/>
                      </a:ext>
                    </a:extLst>
                  </p:cNvPr>
                  <p:cNvSpPr/>
                  <p:nvPr/>
                </p:nvSpPr>
                <p:spPr>
                  <a:xfrm>
                    <a:off x="5455826" y="2505588"/>
                    <a:ext cx="138711" cy="61490"/>
                  </a:xfrm>
                  <a:custGeom>
                    <a:avLst/>
                    <a:gdLst>
                      <a:gd name="connsiteX0" fmla="*/ 69356 w 138711"/>
                      <a:gd name="connsiteY0" fmla="*/ 61490 h 61490"/>
                      <a:gd name="connsiteX1" fmla="*/ 0 w 138711"/>
                      <a:gd name="connsiteY1" fmla="*/ 33420 h 61490"/>
                      <a:gd name="connsiteX2" fmla="*/ 0 w 138711"/>
                      <a:gd name="connsiteY2" fmla="*/ 6580 h 61490"/>
                      <a:gd name="connsiteX3" fmla="*/ 6580 w 138711"/>
                      <a:gd name="connsiteY3" fmla="*/ 0 h 61490"/>
                      <a:gd name="connsiteX4" fmla="*/ 13159 w 138711"/>
                      <a:gd name="connsiteY4" fmla="*/ 6580 h 61490"/>
                      <a:gd name="connsiteX5" fmla="*/ 13159 w 138711"/>
                      <a:gd name="connsiteY5" fmla="*/ 33420 h 61490"/>
                      <a:gd name="connsiteX6" fmla="*/ 69356 w 138711"/>
                      <a:gd name="connsiteY6" fmla="*/ 48312 h 61490"/>
                      <a:gd name="connsiteX7" fmla="*/ 125553 w 138711"/>
                      <a:gd name="connsiteY7" fmla="*/ 33420 h 61490"/>
                      <a:gd name="connsiteX8" fmla="*/ 125553 w 138711"/>
                      <a:gd name="connsiteY8" fmla="*/ 6580 h 61490"/>
                      <a:gd name="connsiteX9" fmla="*/ 132132 w 138711"/>
                      <a:gd name="connsiteY9" fmla="*/ 0 h 61490"/>
                      <a:gd name="connsiteX10" fmla="*/ 138712 w 138711"/>
                      <a:gd name="connsiteY10" fmla="*/ 6580 h 61490"/>
                      <a:gd name="connsiteX11" fmla="*/ 138712 w 138711"/>
                      <a:gd name="connsiteY11" fmla="*/ 33420 h 61490"/>
                      <a:gd name="connsiteX12" fmla="*/ 69356 w 138711"/>
                      <a:gd name="connsiteY12" fmla="*/ 61490 h 6149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</a:cxnLst>
                    <a:rect l="l" t="t" r="r" b="b"/>
                    <a:pathLst>
                      <a:path w="138711" h="61490">
                        <a:moveTo>
                          <a:pt x="69356" y="61490"/>
                        </a:moveTo>
                        <a:cubicBezTo>
                          <a:pt x="35955" y="61490"/>
                          <a:pt x="0" y="52711"/>
                          <a:pt x="0" y="33420"/>
                        </a:cubicBezTo>
                        <a:lnTo>
                          <a:pt x="0" y="6580"/>
                        </a:lnTo>
                        <a:cubicBezTo>
                          <a:pt x="0" y="2945"/>
                          <a:pt x="2945" y="0"/>
                          <a:pt x="6580" y="0"/>
                        </a:cubicBezTo>
                        <a:cubicBezTo>
                          <a:pt x="10214" y="0"/>
                          <a:pt x="13159" y="2945"/>
                          <a:pt x="13159" y="6580"/>
                        </a:cubicBezTo>
                        <a:lnTo>
                          <a:pt x="13159" y="33420"/>
                        </a:lnTo>
                        <a:cubicBezTo>
                          <a:pt x="13159" y="37744"/>
                          <a:pt x="32842" y="48312"/>
                          <a:pt x="69356" y="48312"/>
                        </a:cubicBezTo>
                        <a:cubicBezTo>
                          <a:pt x="105851" y="48312"/>
                          <a:pt x="125553" y="37744"/>
                          <a:pt x="125553" y="33420"/>
                        </a:cubicBezTo>
                        <a:lnTo>
                          <a:pt x="125553" y="6580"/>
                        </a:lnTo>
                        <a:cubicBezTo>
                          <a:pt x="125553" y="2945"/>
                          <a:pt x="128498" y="0"/>
                          <a:pt x="132132" y="0"/>
                        </a:cubicBezTo>
                        <a:cubicBezTo>
                          <a:pt x="135767" y="0"/>
                          <a:pt x="138712" y="2945"/>
                          <a:pt x="138712" y="6580"/>
                        </a:cubicBezTo>
                        <a:lnTo>
                          <a:pt x="138712" y="33420"/>
                        </a:lnTo>
                        <a:cubicBezTo>
                          <a:pt x="138712" y="52711"/>
                          <a:pt x="102757" y="61490"/>
                          <a:pt x="69356" y="61490"/>
                        </a:cubicBezTo>
                        <a:close/>
                      </a:path>
                    </a:pathLst>
                  </a:custGeom>
                  <a:grpFill/>
                  <a:ln w="1863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</a:endParaRPr>
                  </a:p>
                </p:txBody>
              </p:sp>
            </p:grpSp>
            <p:grpSp>
              <p:nvGrpSpPr>
                <p:cNvPr id="187" name="Grafik 318">
                  <a:extLst>
                    <a:ext uri="{FF2B5EF4-FFF2-40B4-BE49-F238E27FC236}">
                      <a16:creationId xmlns:a16="http://schemas.microsoft.com/office/drawing/2014/main" id="{557C4272-A13A-DCED-570B-099A8346AB04}"/>
                    </a:ext>
                  </a:extLst>
                </p:cNvPr>
                <p:cNvGrpSpPr/>
                <p:nvPr/>
              </p:nvGrpSpPr>
              <p:grpSpPr>
                <a:xfrm>
                  <a:off x="5455826" y="2457910"/>
                  <a:ext cx="138730" cy="82999"/>
                  <a:chOff x="5455826" y="2457910"/>
                  <a:chExt cx="138730" cy="82999"/>
                </a:xfrm>
                <a:grpFill/>
              </p:grpSpPr>
              <p:sp>
                <p:nvSpPr>
                  <p:cNvPr id="188" name="Freihandform: Form 1262">
                    <a:extLst>
                      <a:ext uri="{FF2B5EF4-FFF2-40B4-BE49-F238E27FC236}">
                        <a16:creationId xmlns:a16="http://schemas.microsoft.com/office/drawing/2014/main" id="{459F3F16-3BBC-B1B4-09AD-2504425ACACF}"/>
                      </a:ext>
                    </a:extLst>
                  </p:cNvPr>
                  <p:cNvSpPr/>
                  <p:nvPr/>
                </p:nvSpPr>
                <p:spPr>
                  <a:xfrm>
                    <a:off x="5455826" y="2457910"/>
                    <a:ext cx="138730" cy="56140"/>
                  </a:xfrm>
                  <a:custGeom>
                    <a:avLst/>
                    <a:gdLst>
                      <a:gd name="connsiteX0" fmla="*/ 69356 w 138730"/>
                      <a:gd name="connsiteY0" fmla="*/ 56141 h 56140"/>
                      <a:gd name="connsiteX1" fmla="*/ 0 w 138730"/>
                      <a:gd name="connsiteY1" fmla="*/ 28070 h 56140"/>
                      <a:gd name="connsiteX2" fmla="*/ 69356 w 138730"/>
                      <a:gd name="connsiteY2" fmla="*/ 0 h 56140"/>
                      <a:gd name="connsiteX3" fmla="*/ 138730 w 138730"/>
                      <a:gd name="connsiteY3" fmla="*/ 28070 h 56140"/>
                      <a:gd name="connsiteX4" fmla="*/ 69356 w 138730"/>
                      <a:gd name="connsiteY4" fmla="*/ 56141 h 56140"/>
                      <a:gd name="connsiteX5" fmla="*/ 69356 w 138730"/>
                      <a:gd name="connsiteY5" fmla="*/ 13196 h 56140"/>
                      <a:gd name="connsiteX6" fmla="*/ 13159 w 138730"/>
                      <a:gd name="connsiteY6" fmla="*/ 28089 h 56140"/>
                      <a:gd name="connsiteX7" fmla="*/ 69356 w 138730"/>
                      <a:gd name="connsiteY7" fmla="*/ 42982 h 56140"/>
                      <a:gd name="connsiteX8" fmla="*/ 125553 w 138730"/>
                      <a:gd name="connsiteY8" fmla="*/ 28089 h 56140"/>
                      <a:gd name="connsiteX9" fmla="*/ 69356 w 138730"/>
                      <a:gd name="connsiteY9" fmla="*/ 13196 h 5614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</a:cxnLst>
                    <a:rect l="l" t="t" r="r" b="b"/>
                    <a:pathLst>
                      <a:path w="138730" h="56140">
                        <a:moveTo>
                          <a:pt x="69356" y="56141"/>
                        </a:moveTo>
                        <a:cubicBezTo>
                          <a:pt x="35955" y="56141"/>
                          <a:pt x="0" y="47362"/>
                          <a:pt x="0" y="28070"/>
                        </a:cubicBezTo>
                        <a:cubicBezTo>
                          <a:pt x="0" y="8779"/>
                          <a:pt x="35955" y="0"/>
                          <a:pt x="69356" y="0"/>
                        </a:cubicBezTo>
                        <a:cubicBezTo>
                          <a:pt x="102757" y="0"/>
                          <a:pt x="138730" y="8779"/>
                          <a:pt x="138730" y="28070"/>
                        </a:cubicBezTo>
                        <a:cubicBezTo>
                          <a:pt x="138712" y="47362"/>
                          <a:pt x="102757" y="56141"/>
                          <a:pt x="69356" y="56141"/>
                        </a:cubicBezTo>
                        <a:close/>
                        <a:moveTo>
                          <a:pt x="69356" y="13196"/>
                        </a:moveTo>
                        <a:cubicBezTo>
                          <a:pt x="32861" y="13196"/>
                          <a:pt x="13159" y="23765"/>
                          <a:pt x="13159" y="28089"/>
                        </a:cubicBezTo>
                        <a:cubicBezTo>
                          <a:pt x="13159" y="32413"/>
                          <a:pt x="32842" y="42982"/>
                          <a:pt x="69356" y="42982"/>
                        </a:cubicBezTo>
                        <a:cubicBezTo>
                          <a:pt x="105851" y="42982"/>
                          <a:pt x="125553" y="32413"/>
                          <a:pt x="125553" y="28089"/>
                        </a:cubicBezTo>
                        <a:cubicBezTo>
                          <a:pt x="125534" y="23765"/>
                          <a:pt x="105851" y="13196"/>
                          <a:pt x="69356" y="13196"/>
                        </a:cubicBezTo>
                        <a:close/>
                      </a:path>
                    </a:pathLst>
                  </a:custGeom>
                  <a:grpFill/>
                  <a:ln w="1863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189" name="Freihandform: Form 1263">
                    <a:extLst>
                      <a:ext uri="{FF2B5EF4-FFF2-40B4-BE49-F238E27FC236}">
                        <a16:creationId xmlns:a16="http://schemas.microsoft.com/office/drawing/2014/main" id="{74A969D9-80EA-E4AB-856D-42A762766428}"/>
                      </a:ext>
                    </a:extLst>
                  </p:cNvPr>
                  <p:cNvSpPr/>
                  <p:nvPr/>
                </p:nvSpPr>
                <p:spPr>
                  <a:xfrm>
                    <a:off x="5455826" y="2479419"/>
                    <a:ext cx="138711" cy="61490"/>
                  </a:xfrm>
                  <a:custGeom>
                    <a:avLst/>
                    <a:gdLst>
                      <a:gd name="connsiteX0" fmla="*/ 69356 w 138711"/>
                      <a:gd name="connsiteY0" fmla="*/ 61490 h 61490"/>
                      <a:gd name="connsiteX1" fmla="*/ 0 w 138711"/>
                      <a:gd name="connsiteY1" fmla="*/ 33420 h 61490"/>
                      <a:gd name="connsiteX2" fmla="*/ 0 w 138711"/>
                      <a:gd name="connsiteY2" fmla="*/ 6580 h 61490"/>
                      <a:gd name="connsiteX3" fmla="*/ 6580 w 138711"/>
                      <a:gd name="connsiteY3" fmla="*/ 0 h 61490"/>
                      <a:gd name="connsiteX4" fmla="*/ 13159 w 138711"/>
                      <a:gd name="connsiteY4" fmla="*/ 6580 h 61490"/>
                      <a:gd name="connsiteX5" fmla="*/ 13159 w 138711"/>
                      <a:gd name="connsiteY5" fmla="*/ 33420 h 61490"/>
                      <a:gd name="connsiteX6" fmla="*/ 69356 w 138711"/>
                      <a:gd name="connsiteY6" fmla="*/ 48312 h 61490"/>
                      <a:gd name="connsiteX7" fmla="*/ 125553 w 138711"/>
                      <a:gd name="connsiteY7" fmla="*/ 33420 h 61490"/>
                      <a:gd name="connsiteX8" fmla="*/ 125553 w 138711"/>
                      <a:gd name="connsiteY8" fmla="*/ 6580 h 61490"/>
                      <a:gd name="connsiteX9" fmla="*/ 132132 w 138711"/>
                      <a:gd name="connsiteY9" fmla="*/ 0 h 61490"/>
                      <a:gd name="connsiteX10" fmla="*/ 138712 w 138711"/>
                      <a:gd name="connsiteY10" fmla="*/ 6580 h 61490"/>
                      <a:gd name="connsiteX11" fmla="*/ 138712 w 138711"/>
                      <a:gd name="connsiteY11" fmla="*/ 33420 h 61490"/>
                      <a:gd name="connsiteX12" fmla="*/ 69356 w 138711"/>
                      <a:gd name="connsiteY12" fmla="*/ 61490 h 6149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</a:cxnLst>
                    <a:rect l="l" t="t" r="r" b="b"/>
                    <a:pathLst>
                      <a:path w="138711" h="61490">
                        <a:moveTo>
                          <a:pt x="69356" y="61490"/>
                        </a:moveTo>
                        <a:cubicBezTo>
                          <a:pt x="35955" y="61490"/>
                          <a:pt x="0" y="52711"/>
                          <a:pt x="0" y="33420"/>
                        </a:cubicBezTo>
                        <a:lnTo>
                          <a:pt x="0" y="6580"/>
                        </a:lnTo>
                        <a:cubicBezTo>
                          <a:pt x="0" y="2945"/>
                          <a:pt x="2945" y="0"/>
                          <a:pt x="6580" y="0"/>
                        </a:cubicBezTo>
                        <a:cubicBezTo>
                          <a:pt x="10214" y="0"/>
                          <a:pt x="13159" y="2945"/>
                          <a:pt x="13159" y="6580"/>
                        </a:cubicBezTo>
                        <a:lnTo>
                          <a:pt x="13159" y="33420"/>
                        </a:lnTo>
                        <a:cubicBezTo>
                          <a:pt x="13159" y="37744"/>
                          <a:pt x="32842" y="48312"/>
                          <a:pt x="69356" y="48312"/>
                        </a:cubicBezTo>
                        <a:cubicBezTo>
                          <a:pt x="105851" y="48312"/>
                          <a:pt x="125553" y="37744"/>
                          <a:pt x="125553" y="33420"/>
                        </a:cubicBezTo>
                        <a:lnTo>
                          <a:pt x="125553" y="6580"/>
                        </a:lnTo>
                        <a:cubicBezTo>
                          <a:pt x="125553" y="2945"/>
                          <a:pt x="128498" y="0"/>
                          <a:pt x="132132" y="0"/>
                        </a:cubicBezTo>
                        <a:cubicBezTo>
                          <a:pt x="135767" y="0"/>
                          <a:pt x="138712" y="2945"/>
                          <a:pt x="138712" y="6580"/>
                        </a:cubicBezTo>
                        <a:lnTo>
                          <a:pt x="138712" y="33420"/>
                        </a:lnTo>
                        <a:cubicBezTo>
                          <a:pt x="138712" y="52693"/>
                          <a:pt x="102757" y="61490"/>
                          <a:pt x="69356" y="61490"/>
                        </a:cubicBezTo>
                        <a:close/>
                      </a:path>
                    </a:pathLst>
                  </a:custGeom>
                  <a:grpFill/>
                  <a:ln w="1863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</a:endParaRPr>
                  </a:p>
                </p:txBody>
              </p:sp>
            </p:grpSp>
          </p:grpSp>
          <p:grpSp>
            <p:nvGrpSpPr>
              <p:cNvPr id="183" name="Grafik 318">
                <a:extLst>
                  <a:ext uri="{FF2B5EF4-FFF2-40B4-BE49-F238E27FC236}">
                    <a16:creationId xmlns:a16="http://schemas.microsoft.com/office/drawing/2014/main" id="{FA3632F5-596D-45EB-B8E9-9FADAC9BCA5F}"/>
                  </a:ext>
                </a:extLst>
              </p:cNvPr>
              <p:cNvGrpSpPr/>
              <p:nvPr/>
            </p:nvGrpSpPr>
            <p:grpSpPr>
              <a:xfrm>
                <a:off x="5455826" y="2532149"/>
                <a:ext cx="138711" cy="61490"/>
                <a:chOff x="5455826" y="2532149"/>
                <a:chExt cx="138711" cy="61490"/>
              </a:xfrm>
              <a:grpFill/>
            </p:grpSpPr>
            <p:sp>
              <p:nvSpPr>
                <p:cNvPr id="184" name="Freihandform: Form 1265">
                  <a:extLst>
                    <a:ext uri="{FF2B5EF4-FFF2-40B4-BE49-F238E27FC236}">
                      <a16:creationId xmlns:a16="http://schemas.microsoft.com/office/drawing/2014/main" id="{278B52B8-062A-C2E3-FC53-AB7F1CE71852}"/>
                    </a:ext>
                  </a:extLst>
                </p:cNvPr>
                <p:cNvSpPr/>
                <p:nvPr/>
              </p:nvSpPr>
              <p:spPr>
                <a:xfrm>
                  <a:off x="5455826" y="2532149"/>
                  <a:ext cx="138711" cy="61490"/>
                </a:xfrm>
                <a:custGeom>
                  <a:avLst/>
                  <a:gdLst>
                    <a:gd name="connsiteX0" fmla="*/ 69356 w 138711"/>
                    <a:gd name="connsiteY0" fmla="*/ 61490 h 61490"/>
                    <a:gd name="connsiteX1" fmla="*/ 0 w 138711"/>
                    <a:gd name="connsiteY1" fmla="*/ 33420 h 61490"/>
                    <a:gd name="connsiteX2" fmla="*/ 0 w 138711"/>
                    <a:gd name="connsiteY2" fmla="*/ 6580 h 61490"/>
                    <a:gd name="connsiteX3" fmla="*/ 6580 w 138711"/>
                    <a:gd name="connsiteY3" fmla="*/ 0 h 61490"/>
                    <a:gd name="connsiteX4" fmla="*/ 13159 w 138711"/>
                    <a:gd name="connsiteY4" fmla="*/ 6580 h 61490"/>
                    <a:gd name="connsiteX5" fmla="*/ 13159 w 138711"/>
                    <a:gd name="connsiteY5" fmla="*/ 33420 h 61490"/>
                    <a:gd name="connsiteX6" fmla="*/ 69356 w 138711"/>
                    <a:gd name="connsiteY6" fmla="*/ 48312 h 61490"/>
                    <a:gd name="connsiteX7" fmla="*/ 125553 w 138711"/>
                    <a:gd name="connsiteY7" fmla="*/ 33420 h 61490"/>
                    <a:gd name="connsiteX8" fmla="*/ 125553 w 138711"/>
                    <a:gd name="connsiteY8" fmla="*/ 6580 h 61490"/>
                    <a:gd name="connsiteX9" fmla="*/ 132132 w 138711"/>
                    <a:gd name="connsiteY9" fmla="*/ 0 h 61490"/>
                    <a:gd name="connsiteX10" fmla="*/ 138712 w 138711"/>
                    <a:gd name="connsiteY10" fmla="*/ 6580 h 61490"/>
                    <a:gd name="connsiteX11" fmla="*/ 138712 w 138711"/>
                    <a:gd name="connsiteY11" fmla="*/ 33420 h 61490"/>
                    <a:gd name="connsiteX12" fmla="*/ 69356 w 138711"/>
                    <a:gd name="connsiteY12" fmla="*/ 61490 h 614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</a:cxnLst>
                  <a:rect l="l" t="t" r="r" b="b"/>
                  <a:pathLst>
                    <a:path w="138711" h="61490">
                      <a:moveTo>
                        <a:pt x="69356" y="61490"/>
                      </a:moveTo>
                      <a:cubicBezTo>
                        <a:pt x="35955" y="61490"/>
                        <a:pt x="0" y="52711"/>
                        <a:pt x="0" y="33420"/>
                      </a:cubicBezTo>
                      <a:lnTo>
                        <a:pt x="0" y="6580"/>
                      </a:lnTo>
                      <a:cubicBezTo>
                        <a:pt x="0" y="2945"/>
                        <a:pt x="2945" y="0"/>
                        <a:pt x="6580" y="0"/>
                      </a:cubicBezTo>
                      <a:cubicBezTo>
                        <a:pt x="10214" y="0"/>
                        <a:pt x="13159" y="2945"/>
                        <a:pt x="13159" y="6580"/>
                      </a:cubicBezTo>
                      <a:lnTo>
                        <a:pt x="13159" y="33420"/>
                      </a:lnTo>
                      <a:cubicBezTo>
                        <a:pt x="13159" y="37744"/>
                        <a:pt x="32842" y="48312"/>
                        <a:pt x="69356" y="48312"/>
                      </a:cubicBezTo>
                      <a:cubicBezTo>
                        <a:pt x="105851" y="48312"/>
                        <a:pt x="125553" y="37744"/>
                        <a:pt x="125553" y="33420"/>
                      </a:cubicBezTo>
                      <a:lnTo>
                        <a:pt x="125553" y="6580"/>
                      </a:lnTo>
                      <a:cubicBezTo>
                        <a:pt x="125553" y="2945"/>
                        <a:pt x="128498" y="0"/>
                        <a:pt x="132132" y="0"/>
                      </a:cubicBezTo>
                      <a:cubicBezTo>
                        <a:pt x="135767" y="0"/>
                        <a:pt x="138712" y="2945"/>
                        <a:pt x="138712" y="6580"/>
                      </a:cubicBezTo>
                      <a:lnTo>
                        <a:pt x="138712" y="33420"/>
                      </a:lnTo>
                      <a:cubicBezTo>
                        <a:pt x="138712" y="52711"/>
                        <a:pt x="102757" y="61490"/>
                        <a:pt x="69356" y="61490"/>
                      </a:cubicBezTo>
                      <a:close/>
                    </a:path>
                  </a:pathLst>
                </a:custGeom>
                <a:grpFill/>
                <a:ln w="186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85" name="Freihandform: Form 1266">
                  <a:extLst>
                    <a:ext uri="{FF2B5EF4-FFF2-40B4-BE49-F238E27FC236}">
                      <a16:creationId xmlns:a16="http://schemas.microsoft.com/office/drawing/2014/main" id="{8EEE5CE2-1C53-258D-6906-375D87F55C4B}"/>
                    </a:ext>
                  </a:extLst>
                </p:cNvPr>
                <p:cNvSpPr/>
                <p:nvPr/>
              </p:nvSpPr>
              <p:spPr>
                <a:xfrm>
                  <a:off x="5455826" y="2532149"/>
                  <a:ext cx="138711" cy="34649"/>
                </a:xfrm>
                <a:custGeom>
                  <a:avLst/>
                  <a:gdLst>
                    <a:gd name="connsiteX0" fmla="*/ 69356 w 138711"/>
                    <a:gd name="connsiteY0" fmla="*/ 34650 h 34649"/>
                    <a:gd name="connsiteX1" fmla="*/ 0 w 138711"/>
                    <a:gd name="connsiteY1" fmla="*/ 6580 h 34649"/>
                    <a:gd name="connsiteX2" fmla="*/ 6580 w 138711"/>
                    <a:gd name="connsiteY2" fmla="*/ 0 h 34649"/>
                    <a:gd name="connsiteX3" fmla="*/ 13159 w 138711"/>
                    <a:gd name="connsiteY3" fmla="*/ 6580 h 34649"/>
                    <a:gd name="connsiteX4" fmla="*/ 69356 w 138711"/>
                    <a:gd name="connsiteY4" fmla="*/ 21472 h 34649"/>
                    <a:gd name="connsiteX5" fmla="*/ 125553 w 138711"/>
                    <a:gd name="connsiteY5" fmla="*/ 6580 h 34649"/>
                    <a:gd name="connsiteX6" fmla="*/ 132132 w 138711"/>
                    <a:gd name="connsiteY6" fmla="*/ 0 h 34649"/>
                    <a:gd name="connsiteX7" fmla="*/ 138712 w 138711"/>
                    <a:gd name="connsiteY7" fmla="*/ 6580 h 34649"/>
                    <a:gd name="connsiteX8" fmla="*/ 69356 w 138711"/>
                    <a:gd name="connsiteY8" fmla="*/ 34650 h 3464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138711" h="34649">
                      <a:moveTo>
                        <a:pt x="69356" y="34650"/>
                      </a:moveTo>
                      <a:cubicBezTo>
                        <a:pt x="35955" y="34650"/>
                        <a:pt x="0" y="25871"/>
                        <a:pt x="0" y="6580"/>
                      </a:cubicBezTo>
                      <a:cubicBezTo>
                        <a:pt x="0" y="2945"/>
                        <a:pt x="2945" y="0"/>
                        <a:pt x="6580" y="0"/>
                      </a:cubicBezTo>
                      <a:cubicBezTo>
                        <a:pt x="10214" y="0"/>
                        <a:pt x="13159" y="2945"/>
                        <a:pt x="13159" y="6580"/>
                      </a:cubicBezTo>
                      <a:cubicBezTo>
                        <a:pt x="13159" y="10904"/>
                        <a:pt x="32842" y="21472"/>
                        <a:pt x="69356" y="21472"/>
                      </a:cubicBezTo>
                      <a:cubicBezTo>
                        <a:pt x="105851" y="21472"/>
                        <a:pt x="125553" y="10904"/>
                        <a:pt x="125553" y="6580"/>
                      </a:cubicBezTo>
                      <a:cubicBezTo>
                        <a:pt x="125553" y="2945"/>
                        <a:pt x="128498" y="0"/>
                        <a:pt x="132132" y="0"/>
                      </a:cubicBezTo>
                      <a:cubicBezTo>
                        <a:pt x="135767" y="0"/>
                        <a:pt x="138712" y="2945"/>
                        <a:pt x="138712" y="6580"/>
                      </a:cubicBezTo>
                      <a:cubicBezTo>
                        <a:pt x="138712" y="25871"/>
                        <a:pt x="102757" y="34650"/>
                        <a:pt x="69356" y="34650"/>
                      </a:cubicBezTo>
                      <a:close/>
                    </a:path>
                  </a:pathLst>
                </a:custGeom>
                <a:grpFill/>
                <a:ln w="186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</a:endParaRPr>
                </a:p>
              </p:txBody>
            </p:sp>
          </p:grpSp>
        </p:grpSp>
        <p:sp>
          <p:nvSpPr>
            <p:cNvPr id="174" name="Freihandform: Form 1270">
              <a:extLst>
                <a:ext uri="{FF2B5EF4-FFF2-40B4-BE49-F238E27FC236}">
                  <a16:creationId xmlns:a16="http://schemas.microsoft.com/office/drawing/2014/main" id="{FFF5C009-29EF-708C-C34F-19335A986100}"/>
                </a:ext>
              </a:extLst>
            </p:cNvPr>
            <p:cNvSpPr/>
            <p:nvPr/>
          </p:nvSpPr>
          <p:spPr>
            <a:xfrm>
              <a:off x="5638581" y="2762858"/>
              <a:ext cx="113269" cy="128744"/>
            </a:xfrm>
            <a:custGeom>
              <a:avLst/>
              <a:gdLst>
                <a:gd name="connsiteX0" fmla="*/ 56644 w 113269"/>
                <a:gd name="connsiteY0" fmla="*/ 128744 h 128744"/>
                <a:gd name="connsiteX1" fmla="*/ 53345 w 113269"/>
                <a:gd name="connsiteY1" fmla="*/ 127869 h 128744"/>
                <a:gd name="connsiteX2" fmla="*/ 3299 w 113269"/>
                <a:gd name="connsiteY2" fmla="*/ 98978 h 128744"/>
                <a:gd name="connsiteX3" fmla="*/ 0 w 113269"/>
                <a:gd name="connsiteY3" fmla="*/ 93274 h 128744"/>
                <a:gd name="connsiteX4" fmla="*/ 0 w 113269"/>
                <a:gd name="connsiteY4" fmla="*/ 35493 h 128744"/>
                <a:gd name="connsiteX5" fmla="*/ 3299 w 113269"/>
                <a:gd name="connsiteY5" fmla="*/ 29790 h 128744"/>
                <a:gd name="connsiteX6" fmla="*/ 53345 w 113269"/>
                <a:gd name="connsiteY6" fmla="*/ 881 h 128744"/>
                <a:gd name="connsiteX7" fmla="*/ 59925 w 113269"/>
                <a:gd name="connsiteY7" fmla="*/ 881 h 128744"/>
                <a:gd name="connsiteX8" fmla="*/ 109970 w 113269"/>
                <a:gd name="connsiteY8" fmla="*/ 29771 h 128744"/>
                <a:gd name="connsiteX9" fmla="*/ 113269 w 113269"/>
                <a:gd name="connsiteY9" fmla="*/ 35475 h 128744"/>
                <a:gd name="connsiteX10" fmla="*/ 113269 w 113269"/>
                <a:gd name="connsiteY10" fmla="*/ 93256 h 128744"/>
                <a:gd name="connsiteX11" fmla="*/ 109970 w 113269"/>
                <a:gd name="connsiteY11" fmla="*/ 98959 h 128744"/>
                <a:gd name="connsiteX12" fmla="*/ 59925 w 113269"/>
                <a:gd name="connsiteY12" fmla="*/ 127850 h 128744"/>
                <a:gd name="connsiteX13" fmla="*/ 56644 w 113269"/>
                <a:gd name="connsiteY13" fmla="*/ 128744 h 128744"/>
                <a:gd name="connsiteX14" fmla="*/ 13178 w 113269"/>
                <a:gd name="connsiteY14" fmla="*/ 89453 h 128744"/>
                <a:gd name="connsiteX15" fmla="*/ 56644 w 113269"/>
                <a:gd name="connsiteY15" fmla="*/ 114542 h 128744"/>
                <a:gd name="connsiteX16" fmla="*/ 100110 w 113269"/>
                <a:gd name="connsiteY16" fmla="*/ 89453 h 128744"/>
                <a:gd name="connsiteX17" fmla="*/ 100110 w 113269"/>
                <a:gd name="connsiteY17" fmla="*/ 39277 h 128744"/>
                <a:gd name="connsiteX18" fmla="*/ 56644 w 113269"/>
                <a:gd name="connsiteY18" fmla="*/ 14189 h 128744"/>
                <a:gd name="connsiteX19" fmla="*/ 13178 w 113269"/>
                <a:gd name="connsiteY19" fmla="*/ 39277 h 128744"/>
                <a:gd name="connsiteX20" fmla="*/ 13178 w 113269"/>
                <a:gd name="connsiteY20" fmla="*/ 89453 h 1287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13269" h="128744">
                  <a:moveTo>
                    <a:pt x="56644" y="128744"/>
                  </a:moveTo>
                  <a:cubicBezTo>
                    <a:pt x="55507" y="128744"/>
                    <a:pt x="54370" y="128446"/>
                    <a:pt x="53345" y="127869"/>
                  </a:cubicBezTo>
                  <a:lnTo>
                    <a:pt x="3299" y="98978"/>
                  </a:lnTo>
                  <a:cubicBezTo>
                    <a:pt x="1267" y="97804"/>
                    <a:pt x="0" y="95623"/>
                    <a:pt x="0" y="93274"/>
                  </a:cubicBezTo>
                  <a:lnTo>
                    <a:pt x="0" y="35493"/>
                  </a:lnTo>
                  <a:cubicBezTo>
                    <a:pt x="0" y="33145"/>
                    <a:pt x="1249" y="30964"/>
                    <a:pt x="3299" y="29790"/>
                  </a:cubicBezTo>
                  <a:lnTo>
                    <a:pt x="53345" y="881"/>
                  </a:lnTo>
                  <a:cubicBezTo>
                    <a:pt x="55377" y="-294"/>
                    <a:pt x="57893" y="-294"/>
                    <a:pt x="59925" y="881"/>
                  </a:cubicBezTo>
                  <a:lnTo>
                    <a:pt x="109970" y="29771"/>
                  </a:lnTo>
                  <a:cubicBezTo>
                    <a:pt x="112002" y="30945"/>
                    <a:pt x="113269" y="33126"/>
                    <a:pt x="113269" y="35475"/>
                  </a:cubicBezTo>
                  <a:lnTo>
                    <a:pt x="113269" y="93256"/>
                  </a:lnTo>
                  <a:cubicBezTo>
                    <a:pt x="113269" y="95604"/>
                    <a:pt x="112021" y="97785"/>
                    <a:pt x="109970" y="98959"/>
                  </a:cubicBezTo>
                  <a:lnTo>
                    <a:pt x="59925" y="127850"/>
                  </a:lnTo>
                  <a:cubicBezTo>
                    <a:pt x="58918" y="128446"/>
                    <a:pt x="57781" y="128744"/>
                    <a:pt x="56644" y="128744"/>
                  </a:cubicBezTo>
                  <a:close/>
                  <a:moveTo>
                    <a:pt x="13178" y="89453"/>
                  </a:moveTo>
                  <a:lnTo>
                    <a:pt x="56644" y="114542"/>
                  </a:lnTo>
                  <a:lnTo>
                    <a:pt x="100110" y="89453"/>
                  </a:lnTo>
                  <a:lnTo>
                    <a:pt x="100110" y="39277"/>
                  </a:lnTo>
                  <a:lnTo>
                    <a:pt x="56644" y="14189"/>
                  </a:lnTo>
                  <a:lnTo>
                    <a:pt x="13178" y="39277"/>
                  </a:lnTo>
                  <a:lnTo>
                    <a:pt x="13178" y="89453"/>
                  </a:lnTo>
                  <a:close/>
                </a:path>
              </a:pathLst>
            </a:custGeom>
            <a:grpFill/>
            <a:ln w="186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75" name="Freihandform: Form 1271">
              <a:extLst>
                <a:ext uri="{FF2B5EF4-FFF2-40B4-BE49-F238E27FC236}">
                  <a16:creationId xmlns:a16="http://schemas.microsoft.com/office/drawing/2014/main" id="{3CE0B43E-79B0-4A09-45D2-0F9568FA6900}"/>
                </a:ext>
              </a:extLst>
            </p:cNvPr>
            <p:cNvSpPr/>
            <p:nvPr/>
          </p:nvSpPr>
          <p:spPr>
            <a:xfrm>
              <a:off x="5468444" y="2762877"/>
              <a:ext cx="113269" cy="128725"/>
            </a:xfrm>
            <a:custGeom>
              <a:avLst/>
              <a:gdLst>
                <a:gd name="connsiteX0" fmla="*/ 56644 w 113269"/>
                <a:gd name="connsiteY0" fmla="*/ 128726 h 128725"/>
                <a:gd name="connsiteX1" fmla="*/ 53345 w 113269"/>
                <a:gd name="connsiteY1" fmla="*/ 127850 h 128725"/>
                <a:gd name="connsiteX2" fmla="*/ 3299 w 113269"/>
                <a:gd name="connsiteY2" fmla="*/ 98959 h 128725"/>
                <a:gd name="connsiteX3" fmla="*/ 0 w 113269"/>
                <a:gd name="connsiteY3" fmla="*/ 93256 h 128725"/>
                <a:gd name="connsiteX4" fmla="*/ 0 w 113269"/>
                <a:gd name="connsiteY4" fmla="*/ 35475 h 128725"/>
                <a:gd name="connsiteX5" fmla="*/ 3299 w 113269"/>
                <a:gd name="connsiteY5" fmla="*/ 29771 h 128725"/>
                <a:gd name="connsiteX6" fmla="*/ 53345 w 113269"/>
                <a:gd name="connsiteY6" fmla="*/ 881 h 128725"/>
                <a:gd name="connsiteX7" fmla="*/ 59925 w 113269"/>
                <a:gd name="connsiteY7" fmla="*/ 881 h 128725"/>
                <a:gd name="connsiteX8" fmla="*/ 109970 w 113269"/>
                <a:gd name="connsiteY8" fmla="*/ 29771 h 128725"/>
                <a:gd name="connsiteX9" fmla="*/ 113269 w 113269"/>
                <a:gd name="connsiteY9" fmla="*/ 35475 h 128725"/>
                <a:gd name="connsiteX10" fmla="*/ 113269 w 113269"/>
                <a:gd name="connsiteY10" fmla="*/ 93256 h 128725"/>
                <a:gd name="connsiteX11" fmla="*/ 109970 w 113269"/>
                <a:gd name="connsiteY11" fmla="*/ 98959 h 128725"/>
                <a:gd name="connsiteX12" fmla="*/ 59925 w 113269"/>
                <a:gd name="connsiteY12" fmla="*/ 127850 h 128725"/>
                <a:gd name="connsiteX13" fmla="*/ 56644 w 113269"/>
                <a:gd name="connsiteY13" fmla="*/ 128726 h 128725"/>
                <a:gd name="connsiteX14" fmla="*/ 13178 w 113269"/>
                <a:gd name="connsiteY14" fmla="*/ 89435 h 128725"/>
                <a:gd name="connsiteX15" fmla="*/ 56644 w 113269"/>
                <a:gd name="connsiteY15" fmla="*/ 114523 h 128725"/>
                <a:gd name="connsiteX16" fmla="*/ 100092 w 113269"/>
                <a:gd name="connsiteY16" fmla="*/ 89435 h 128725"/>
                <a:gd name="connsiteX17" fmla="*/ 100092 w 113269"/>
                <a:gd name="connsiteY17" fmla="*/ 39258 h 128725"/>
                <a:gd name="connsiteX18" fmla="*/ 56625 w 113269"/>
                <a:gd name="connsiteY18" fmla="*/ 14170 h 128725"/>
                <a:gd name="connsiteX19" fmla="*/ 13159 w 113269"/>
                <a:gd name="connsiteY19" fmla="*/ 39258 h 128725"/>
                <a:gd name="connsiteX20" fmla="*/ 13159 w 113269"/>
                <a:gd name="connsiteY20" fmla="*/ 89435 h 1287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13269" h="128725">
                  <a:moveTo>
                    <a:pt x="56644" y="128726"/>
                  </a:moveTo>
                  <a:cubicBezTo>
                    <a:pt x="55507" y="128726"/>
                    <a:pt x="54370" y="128428"/>
                    <a:pt x="53345" y="127850"/>
                  </a:cubicBezTo>
                  <a:lnTo>
                    <a:pt x="3299" y="98959"/>
                  </a:lnTo>
                  <a:cubicBezTo>
                    <a:pt x="1267" y="97785"/>
                    <a:pt x="0" y="95604"/>
                    <a:pt x="0" y="93256"/>
                  </a:cubicBezTo>
                  <a:lnTo>
                    <a:pt x="0" y="35475"/>
                  </a:lnTo>
                  <a:cubicBezTo>
                    <a:pt x="0" y="33126"/>
                    <a:pt x="1249" y="30945"/>
                    <a:pt x="3299" y="29771"/>
                  </a:cubicBezTo>
                  <a:lnTo>
                    <a:pt x="53345" y="881"/>
                  </a:lnTo>
                  <a:cubicBezTo>
                    <a:pt x="55377" y="-294"/>
                    <a:pt x="57893" y="-294"/>
                    <a:pt x="59925" y="881"/>
                  </a:cubicBezTo>
                  <a:lnTo>
                    <a:pt x="109970" y="29771"/>
                  </a:lnTo>
                  <a:cubicBezTo>
                    <a:pt x="112002" y="30945"/>
                    <a:pt x="113269" y="33126"/>
                    <a:pt x="113269" y="35475"/>
                  </a:cubicBezTo>
                  <a:lnTo>
                    <a:pt x="113269" y="93256"/>
                  </a:lnTo>
                  <a:cubicBezTo>
                    <a:pt x="113269" y="95604"/>
                    <a:pt x="112021" y="97785"/>
                    <a:pt x="109970" y="98959"/>
                  </a:cubicBezTo>
                  <a:lnTo>
                    <a:pt x="59925" y="127850"/>
                  </a:lnTo>
                  <a:cubicBezTo>
                    <a:pt x="58918" y="128428"/>
                    <a:pt x="57781" y="128726"/>
                    <a:pt x="56644" y="128726"/>
                  </a:cubicBezTo>
                  <a:close/>
                  <a:moveTo>
                    <a:pt x="13178" y="89435"/>
                  </a:moveTo>
                  <a:lnTo>
                    <a:pt x="56644" y="114523"/>
                  </a:lnTo>
                  <a:lnTo>
                    <a:pt x="100092" y="89435"/>
                  </a:lnTo>
                  <a:lnTo>
                    <a:pt x="100092" y="39258"/>
                  </a:lnTo>
                  <a:lnTo>
                    <a:pt x="56625" y="14170"/>
                  </a:lnTo>
                  <a:lnTo>
                    <a:pt x="13159" y="39258"/>
                  </a:lnTo>
                  <a:lnTo>
                    <a:pt x="13159" y="89435"/>
                  </a:lnTo>
                  <a:close/>
                </a:path>
              </a:pathLst>
            </a:custGeom>
            <a:grpFill/>
            <a:ln w="186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76" name="Freihandform: Form 1272">
              <a:extLst>
                <a:ext uri="{FF2B5EF4-FFF2-40B4-BE49-F238E27FC236}">
                  <a16:creationId xmlns:a16="http://schemas.microsoft.com/office/drawing/2014/main" id="{89DBBE3B-405F-6ED9-1CBD-0689CF5D6F76}"/>
                </a:ext>
              </a:extLst>
            </p:cNvPr>
            <p:cNvSpPr/>
            <p:nvPr/>
          </p:nvSpPr>
          <p:spPr>
            <a:xfrm>
              <a:off x="5296741" y="2762858"/>
              <a:ext cx="113288" cy="128744"/>
            </a:xfrm>
            <a:custGeom>
              <a:avLst/>
              <a:gdLst>
                <a:gd name="connsiteX0" fmla="*/ 56644 w 113288"/>
                <a:gd name="connsiteY0" fmla="*/ 128744 h 128744"/>
                <a:gd name="connsiteX1" fmla="*/ 53345 w 113288"/>
                <a:gd name="connsiteY1" fmla="*/ 127869 h 128744"/>
                <a:gd name="connsiteX2" fmla="*/ 3299 w 113288"/>
                <a:gd name="connsiteY2" fmla="*/ 98978 h 128744"/>
                <a:gd name="connsiteX3" fmla="*/ 0 w 113288"/>
                <a:gd name="connsiteY3" fmla="*/ 93274 h 128744"/>
                <a:gd name="connsiteX4" fmla="*/ 0 w 113288"/>
                <a:gd name="connsiteY4" fmla="*/ 35493 h 128744"/>
                <a:gd name="connsiteX5" fmla="*/ 3299 w 113288"/>
                <a:gd name="connsiteY5" fmla="*/ 29790 h 128744"/>
                <a:gd name="connsiteX6" fmla="*/ 53364 w 113288"/>
                <a:gd name="connsiteY6" fmla="*/ 881 h 128744"/>
                <a:gd name="connsiteX7" fmla="*/ 59943 w 113288"/>
                <a:gd name="connsiteY7" fmla="*/ 881 h 128744"/>
                <a:gd name="connsiteX8" fmla="*/ 109989 w 113288"/>
                <a:gd name="connsiteY8" fmla="*/ 29771 h 128744"/>
                <a:gd name="connsiteX9" fmla="*/ 113288 w 113288"/>
                <a:gd name="connsiteY9" fmla="*/ 35475 h 128744"/>
                <a:gd name="connsiteX10" fmla="*/ 113288 w 113288"/>
                <a:gd name="connsiteY10" fmla="*/ 93256 h 128744"/>
                <a:gd name="connsiteX11" fmla="*/ 109989 w 113288"/>
                <a:gd name="connsiteY11" fmla="*/ 98959 h 128744"/>
                <a:gd name="connsiteX12" fmla="*/ 59943 w 113288"/>
                <a:gd name="connsiteY12" fmla="*/ 127850 h 128744"/>
                <a:gd name="connsiteX13" fmla="*/ 56644 w 113288"/>
                <a:gd name="connsiteY13" fmla="*/ 128744 h 128744"/>
                <a:gd name="connsiteX14" fmla="*/ 13196 w 113288"/>
                <a:gd name="connsiteY14" fmla="*/ 89453 h 128744"/>
                <a:gd name="connsiteX15" fmla="*/ 56663 w 113288"/>
                <a:gd name="connsiteY15" fmla="*/ 114542 h 128744"/>
                <a:gd name="connsiteX16" fmla="*/ 100129 w 113288"/>
                <a:gd name="connsiteY16" fmla="*/ 89453 h 128744"/>
                <a:gd name="connsiteX17" fmla="*/ 100129 w 113288"/>
                <a:gd name="connsiteY17" fmla="*/ 39277 h 128744"/>
                <a:gd name="connsiteX18" fmla="*/ 56663 w 113288"/>
                <a:gd name="connsiteY18" fmla="*/ 14189 h 128744"/>
                <a:gd name="connsiteX19" fmla="*/ 13196 w 113288"/>
                <a:gd name="connsiteY19" fmla="*/ 39277 h 128744"/>
                <a:gd name="connsiteX20" fmla="*/ 13196 w 113288"/>
                <a:gd name="connsiteY20" fmla="*/ 89453 h 1287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13288" h="128744">
                  <a:moveTo>
                    <a:pt x="56644" y="128744"/>
                  </a:moveTo>
                  <a:cubicBezTo>
                    <a:pt x="55507" y="128744"/>
                    <a:pt x="54370" y="128446"/>
                    <a:pt x="53345" y="127869"/>
                  </a:cubicBezTo>
                  <a:lnTo>
                    <a:pt x="3299" y="98978"/>
                  </a:lnTo>
                  <a:cubicBezTo>
                    <a:pt x="1267" y="97804"/>
                    <a:pt x="0" y="95623"/>
                    <a:pt x="0" y="93274"/>
                  </a:cubicBezTo>
                  <a:lnTo>
                    <a:pt x="0" y="35493"/>
                  </a:lnTo>
                  <a:cubicBezTo>
                    <a:pt x="0" y="33145"/>
                    <a:pt x="1249" y="30964"/>
                    <a:pt x="3299" y="29790"/>
                  </a:cubicBezTo>
                  <a:lnTo>
                    <a:pt x="53364" y="881"/>
                  </a:lnTo>
                  <a:cubicBezTo>
                    <a:pt x="55395" y="-294"/>
                    <a:pt x="57911" y="-294"/>
                    <a:pt x="59943" y="881"/>
                  </a:cubicBezTo>
                  <a:lnTo>
                    <a:pt x="109989" y="29771"/>
                  </a:lnTo>
                  <a:cubicBezTo>
                    <a:pt x="112021" y="30945"/>
                    <a:pt x="113288" y="33126"/>
                    <a:pt x="113288" y="35475"/>
                  </a:cubicBezTo>
                  <a:lnTo>
                    <a:pt x="113288" y="93256"/>
                  </a:lnTo>
                  <a:cubicBezTo>
                    <a:pt x="113288" y="95604"/>
                    <a:pt x="112039" y="97785"/>
                    <a:pt x="109989" y="98959"/>
                  </a:cubicBezTo>
                  <a:lnTo>
                    <a:pt x="59943" y="127850"/>
                  </a:lnTo>
                  <a:cubicBezTo>
                    <a:pt x="58918" y="128446"/>
                    <a:pt x="57781" y="128744"/>
                    <a:pt x="56644" y="128744"/>
                  </a:cubicBezTo>
                  <a:close/>
                  <a:moveTo>
                    <a:pt x="13196" y="89453"/>
                  </a:moveTo>
                  <a:lnTo>
                    <a:pt x="56663" y="114542"/>
                  </a:lnTo>
                  <a:lnTo>
                    <a:pt x="100129" y="89453"/>
                  </a:lnTo>
                  <a:lnTo>
                    <a:pt x="100129" y="39277"/>
                  </a:lnTo>
                  <a:lnTo>
                    <a:pt x="56663" y="14189"/>
                  </a:lnTo>
                  <a:lnTo>
                    <a:pt x="13196" y="39277"/>
                  </a:lnTo>
                  <a:lnTo>
                    <a:pt x="13196" y="89453"/>
                  </a:lnTo>
                  <a:close/>
                </a:path>
              </a:pathLst>
            </a:custGeom>
            <a:grpFill/>
            <a:ln w="186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77" name="Freihandform: Form 1273">
              <a:extLst>
                <a:ext uri="{FF2B5EF4-FFF2-40B4-BE49-F238E27FC236}">
                  <a16:creationId xmlns:a16="http://schemas.microsoft.com/office/drawing/2014/main" id="{7349D234-06AE-FD3C-DB6C-2A790C9CB55A}"/>
                </a:ext>
              </a:extLst>
            </p:cNvPr>
            <p:cNvSpPr/>
            <p:nvPr/>
          </p:nvSpPr>
          <p:spPr>
            <a:xfrm>
              <a:off x="5505443" y="2805453"/>
              <a:ext cx="39514" cy="26336"/>
            </a:xfrm>
            <a:custGeom>
              <a:avLst/>
              <a:gdLst>
                <a:gd name="connsiteX0" fmla="*/ 32898 w 39514"/>
                <a:gd name="connsiteY0" fmla="*/ 26337 h 26336"/>
                <a:gd name="connsiteX1" fmla="*/ 26318 w 39514"/>
                <a:gd name="connsiteY1" fmla="*/ 19757 h 26336"/>
                <a:gd name="connsiteX2" fmla="*/ 19739 w 39514"/>
                <a:gd name="connsiteY2" fmla="*/ 13178 h 26336"/>
                <a:gd name="connsiteX3" fmla="*/ 13159 w 39514"/>
                <a:gd name="connsiteY3" fmla="*/ 19757 h 26336"/>
                <a:gd name="connsiteX4" fmla="*/ 6580 w 39514"/>
                <a:gd name="connsiteY4" fmla="*/ 26337 h 26336"/>
                <a:gd name="connsiteX5" fmla="*/ 0 w 39514"/>
                <a:gd name="connsiteY5" fmla="*/ 19757 h 26336"/>
                <a:gd name="connsiteX6" fmla="*/ 19757 w 39514"/>
                <a:gd name="connsiteY6" fmla="*/ 0 h 26336"/>
                <a:gd name="connsiteX7" fmla="*/ 39515 w 39514"/>
                <a:gd name="connsiteY7" fmla="*/ 19757 h 26336"/>
                <a:gd name="connsiteX8" fmla="*/ 32898 w 39514"/>
                <a:gd name="connsiteY8" fmla="*/ 26337 h 263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9514" h="26336">
                  <a:moveTo>
                    <a:pt x="32898" y="26337"/>
                  </a:moveTo>
                  <a:cubicBezTo>
                    <a:pt x="29263" y="26337"/>
                    <a:pt x="26318" y="23392"/>
                    <a:pt x="26318" y="19757"/>
                  </a:cubicBezTo>
                  <a:cubicBezTo>
                    <a:pt x="26318" y="16123"/>
                    <a:pt x="23355" y="13178"/>
                    <a:pt x="19739" y="13178"/>
                  </a:cubicBezTo>
                  <a:cubicBezTo>
                    <a:pt x="16104" y="13178"/>
                    <a:pt x="13159" y="16141"/>
                    <a:pt x="13159" y="19757"/>
                  </a:cubicBezTo>
                  <a:cubicBezTo>
                    <a:pt x="13159" y="23392"/>
                    <a:pt x="10214" y="26337"/>
                    <a:pt x="6580" y="26337"/>
                  </a:cubicBezTo>
                  <a:cubicBezTo>
                    <a:pt x="2945" y="26337"/>
                    <a:pt x="0" y="23392"/>
                    <a:pt x="0" y="19757"/>
                  </a:cubicBezTo>
                  <a:cubicBezTo>
                    <a:pt x="0" y="8854"/>
                    <a:pt x="8872" y="0"/>
                    <a:pt x="19757" y="0"/>
                  </a:cubicBezTo>
                  <a:cubicBezTo>
                    <a:pt x="30643" y="0"/>
                    <a:pt x="39515" y="8872"/>
                    <a:pt x="39515" y="19757"/>
                  </a:cubicBezTo>
                  <a:cubicBezTo>
                    <a:pt x="39496" y="23373"/>
                    <a:pt x="36551" y="26337"/>
                    <a:pt x="32898" y="26337"/>
                  </a:cubicBezTo>
                  <a:close/>
                </a:path>
              </a:pathLst>
            </a:custGeom>
            <a:grpFill/>
            <a:ln w="186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78" name="Freihandform: Form 1274">
              <a:extLst>
                <a:ext uri="{FF2B5EF4-FFF2-40B4-BE49-F238E27FC236}">
                  <a16:creationId xmlns:a16="http://schemas.microsoft.com/office/drawing/2014/main" id="{ECDCAA10-9F2F-18AF-ADD7-8F205CB9B8A5}"/>
                </a:ext>
              </a:extLst>
            </p:cNvPr>
            <p:cNvSpPr/>
            <p:nvPr/>
          </p:nvSpPr>
          <p:spPr>
            <a:xfrm>
              <a:off x="5334169" y="2805453"/>
              <a:ext cx="39514" cy="26336"/>
            </a:xfrm>
            <a:custGeom>
              <a:avLst/>
              <a:gdLst>
                <a:gd name="connsiteX0" fmla="*/ 32898 w 39514"/>
                <a:gd name="connsiteY0" fmla="*/ 26337 h 26336"/>
                <a:gd name="connsiteX1" fmla="*/ 26318 w 39514"/>
                <a:gd name="connsiteY1" fmla="*/ 19757 h 26336"/>
                <a:gd name="connsiteX2" fmla="*/ 19739 w 39514"/>
                <a:gd name="connsiteY2" fmla="*/ 13178 h 26336"/>
                <a:gd name="connsiteX3" fmla="*/ 13159 w 39514"/>
                <a:gd name="connsiteY3" fmla="*/ 19757 h 26336"/>
                <a:gd name="connsiteX4" fmla="*/ 6580 w 39514"/>
                <a:gd name="connsiteY4" fmla="*/ 26337 h 26336"/>
                <a:gd name="connsiteX5" fmla="*/ 0 w 39514"/>
                <a:gd name="connsiteY5" fmla="*/ 19757 h 26336"/>
                <a:gd name="connsiteX6" fmla="*/ 19757 w 39514"/>
                <a:gd name="connsiteY6" fmla="*/ 0 h 26336"/>
                <a:gd name="connsiteX7" fmla="*/ 39515 w 39514"/>
                <a:gd name="connsiteY7" fmla="*/ 19757 h 26336"/>
                <a:gd name="connsiteX8" fmla="*/ 32898 w 39514"/>
                <a:gd name="connsiteY8" fmla="*/ 26337 h 263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9514" h="26336">
                  <a:moveTo>
                    <a:pt x="32898" y="26337"/>
                  </a:moveTo>
                  <a:cubicBezTo>
                    <a:pt x="29263" y="26337"/>
                    <a:pt x="26318" y="23392"/>
                    <a:pt x="26318" y="19757"/>
                  </a:cubicBezTo>
                  <a:cubicBezTo>
                    <a:pt x="26318" y="16123"/>
                    <a:pt x="23355" y="13178"/>
                    <a:pt x="19739" y="13178"/>
                  </a:cubicBezTo>
                  <a:cubicBezTo>
                    <a:pt x="16104" y="13178"/>
                    <a:pt x="13159" y="16141"/>
                    <a:pt x="13159" y="19757"/>
                  </a:cubicBezTo>
                  <a:cubicBezTo>
                    <a:pt x="13159" y="23392"/>
                    <a:pt x="10214" y="26337"/>
                    <a:pt x="6580" y="26337"/>
                  </a:cubicBezTo>
                  <a:cubicBezTo>
                    <a:pt x="2945" y="26337"/>
                    <a:pt x="0" y="23392"/>
                    <a:pt x="0" y="19757"/>
                  </a:cubicBezTo>
                  <a:cubicBezTo>
                    <a:pt x="0" y="8854"/>
                    <a:pt x="8872" y="0"/>
                    <a:pt x="19757" y="0"/>
                  </a:cubicBezTo>
                  <a:cubicBezTo>
                    <a:pt x="30643" y="0"/>
                    <a:pt x="39515" y="8872"/>
                    <a:pt x="39515" y="19757"/>
                  </a:cubicBezTo>
                  <a:cubicBezTo>
                    <a:pt x="39477" y="23373"/>
                    <a:pt x="36533" y="26337"/>
                    <a:pt x="32898" y="26337"/>
                  </a:cubicBezTo>
                  <a:close/>
                </a:path>
              </a:pathLst>
            </a:custGeom>
            <a:grpFill/>
            <a:ln w="186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79" name="Freihandform: Form 1275">
              <a:extLst>
                <a:ext uri="{FF2B5EF4-FFF2-40B4-BE49-F238E27FC236}">
                  <a16:creationId xmlns:a16="http://schemas.microsoft.com/office/drawing/2014/main" id="{499B4D2F-E1F4-6C25-6900-861B72D95433}"/>
                </a:ext>
              </a:extLst>
            </p:cNvPr>
            <p:cNvSpPr/>
            <p:nvPr/>
          </p:nvSpPr>
          <p:spPr>
            <a:xfrm>
              <a:off x="5676736" y="2805453"/>
              <a:ext cx="39514" cy="26336"/>
            </a:xfrm>
            <a:custGeom>
              <a:avLst/>
              <a:gdLst>
                <a:gd name="connsiteX0" fmla="*/ 32898 w 39514"/>
                <a:gd name="connsiteY0" fmla="*/ 26337 h 26336"/>
                <a:gd name="connsiteX1" fmla="*/ 26318 w 39514"/>
                <a:gd name="connsiteY1" fmla="*/ 19757 h 26336"/>
                <a:gd name="connsiteX2" fmla="*/ 19739 w 39514"/>
                <a:gd name="connsiteY2" fmla="*/ 13178 h 26336"/>
                <a:gd name="connsiteX3" fmla="*/ 13159 w 39514"/>
                <a:gd name="connsiteY3" fmla="*/ 19757 h 26336"/>
                <a:gd name="connsiteX4" fmla="*/ 6580 w 39514"/>
                <a:gd name="connsiteY4" fmla="*/ 26337 h 26336"/>
                <a:gd name="connsiteX5" fmla="*/ 0 w 39514"/>
                <a:gd name="connsiteY5" fmla="*/ 19757 h 26336"/>
                <a:gd name="connsiteX6" fmla="*/ 19757 w 39514"/>
                <a:gd name="connsiteY6" fmla="*/ 0 h 26336"/>
                <a:gd name="connsiteX7" fmla="*/ 39515 w 39514"/>
                <a:gd name="connsiteY7" fmla="*/ 19757 h 26336"/>
                <a:gd name="connsiteX8" fmla="*/ 32898 w 39514"/>
                <a:gd name="connsiteY8" fmla="*/ 26337 h 263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9514" h="26336">
                  <a:moveTo>
                    <a:pt x="32898" y="26337"/>
                  </a:moveTo>
                  <a:cubicBezTo>
                    <a:pt x="29263" y="26337"/>
                    <a:pt x="26318" y="23392"/>
                    <a:pt x="26318" y="19757"/>
                  </a:cubicBezTo>
                  <a:cubicBezTo>
                    <a:pt x="26318" y="16123"/>
                    <a:pt x="23355" y="13178"/>
                    <a:pt x="19739" y="13178"/>
                  </a:cubicBezTo>
                  <a:cubicBezTo>
                    <a:pt x="16104" y="13178"/>
                    <a:pt x="13159" y="16141"/>
                    <a:pt x="13159" y="19757"/>
                  </a:cubicBezTo>
                  <a:cubicBezTo>
                    <a:pt x="13159" y="23392"/>
                    <a:pt x="10214" y="26337"/>
                    <a:pt x="6580" y="26337"/>
                  </a:cubicBezTo>
                  <a:cubicBezTo>
                    <a:pt x="2945" y="26337"/>
                    <a:pt x="0" y="23392"/>
                    <a:pt x="0" y="19757"/>
                  </a:cubicBezTo>
                  <a:cubicBezTo>
                    <a:pt x="0" y="8854"/>
                    <a:pt x="8872" y="0"/>
                    <a:pt x="19757" y="0"/>
                  </a:cubicBezTo>
                  <a:cubicBezTo>
                    <a:pt x="30661" y="0"/>
                    <a:pt x="39515" y="8872"/>
                    <a:pt x="39515" y="19757"/>
                  </a:cubicBezTo>
                  <a:cubicBezTo>
                    <a:pt x="39478" y="23373"/>
                    <a:pt x="36533" y="26337"/>
                    <a:pt x="32898" y="26337"/>
                  </a:cubicBezTo>
                  <a:close/>
                </a:path>
              </a:pathLst>
            </a:custGeom>
            <a:grpFill/>
            <a:ln w="186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200" name="Grafik 319">
            <a:extLst>
              <a:ext uri="{FF2B5EF4-FFF2-40B4-BE49-F238E27FC236}">
                <a16:creationId xmlns:a16="http://schemas.microsoft.com/office/drawing/2014/main" id="{1940E816-E1E8-2AF6-602C-339C69E68E5F}"/>
              </a:ext>
            </a:extLst>
          </p:cNvPr>
          <p:cNvGrpSpPr/>
          <p:nvPr/>
        </p:nvGrpSpPr>
        <p:grpSpPr>
          <a:xfrm>
            <a:off x="7445998" y="2565485"/>
            <a:ext cx="409588" cy="225679"/>
            <a:chOff x="3374317" y="1796789"/>
            <a:chExt cx="479289" cy="264083"/>
          </a:xfrm>
          <a:solidFill>
            <a:schemeClr val="tx2"/>
          </a:solidFill>
        </p:grpSpPr>
        <p:sp>
          <p:nvSpPr>
            <p:cNvPr id="207" name="Freihandform: Form 330">
              <a:extLst>
                <a:ext uri="{FF2B5EF4-FFF2-40B4-BE49-F238E27FC236}">
                  <a16:creationId xmlns:a16="http://schemas.microsoft.com/office/drawing/2014/main" id="{5176C572-7810-B039-28AF-0445314D2517}"/>
                </a:ext>
              </a:extLst>
            </p:cNvPr>
            <p:cNvSpPr/>
            <p:nvPr/>
          </p:nvSpPr>
          <p:spPr>
            <a:xfrm>
              <a:off x="3556632" y="1936951"/>
              <a:ext cx="66997" cy="97281"/>
            </a:xfrm>
            <a:custGeom>
              <a:avLst/>
              <a:gdLst>
                <a:gd name="connsiteX0" fmla="*/ 60396 w 66997"/>
                <a:gd name="connsiteY0" fmla="*/ 97282 h 97281"/>
                <a:gd name="connsiteX1" fmla="*/ 54828 w 66997"/>
                <a:gd name="connsiteY1" fmla="*/ 94241 h 97281"/>
                <a:gd name="connsiteX2" fmla="*/ 1035 w 66997"/>
                <a:gd name="connsiteY2" fmla="*/ 10146 h 97281"/>
                <a:gd name="connsiteX3" fmla="*/ 3047 w 66997"/>
                <a:gd name="connsiteY3" fmla="*/ 1045 h 97281"/>
                <a:gd name="connsiteX4" fmla="*/ 12170 w 66997"/>
                <a:gd name="connsiteY4" fmla="*/ 3037 h 97281"/>
                <a:gd name="connsiteX5" fmla="*/ 65963 w 66997"/>
                <a:gd name="connsiteY5" fmla="*/ 87131 h 97281"/>
                <a:gd name="connsiteX6" fmla="*/ 63951 w 66997"/>
                <a:gd name="connsiteY6" fmla="*/ 96233 h 97281"/>
                <a:gd name="connsiteX7" fmla="*/ 60396 w 66997"/>
                <a:gd name="connsiteY7" fmla="*/ 97282 h 972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66997" h="97281">
                  <a:moveTo>
                    <a:pt x="60396" y="97282"/>
                  </a:moveTo>
                  <a:cubicBezTo>
                    <a:pt x="58211" y="97282"/>
                    <a:pt x="56091" y="96211"/>
                    <a:pt x="54828" y="94241"/>
                  </a:cubicBezTo>
                  <a:lnTo>
                    <a:pt x="1035" y="10146"/>
                  </a:lnTo>
                  <a:cubicBezTo>
                    <a:pt x="-914" y="7084"/>
                    <a:pt x="-36" y="2994"/>
                    <a:pt x="3047" y="1045"/>
                  </a:cubicBezTo>
                  <a:cubicBezTo>
                    <a:pt x="6110" y="-925"/>
                    <a:pt x="10200" y="-26"/>
                    <a:pt x="12170" y="3037"/>
                  </a:cubicBezTo>
                  <a:lnTo>
                    <a:pt x="65963" y="87131"/>
                  </a:lnTo>
                  <a:cubicBezTo>
                    <a:pt x="67912" y="90194"/>
                    <a:pt x="67034" y="94284"/>
                    <a:pt x="63951" y="96233"/>
                  </a:cubicBezTo>
                  <a:cubicBezTo>
                    <a:pt x="62837" y="96961"/>
                    <a:pt x="61616" y="97282"/>
                    <a:pt x="60396" y="97282"/>
                  </a:cubicBezTo>
                  <a:close/>
                </a:path>
              </a:pathLst>
            </a:custGeom>
            <a:grpFill/>
            <a:ln w="213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208" name="Freihandform: Form 331">
              <a:extLst>
                <a:ext uri="{FF2B5EF4-FFF2-40B4-BE49-F238E27FC236}">
                  <a16:creationId xmlns:a16="http://schemas.microsoft.com/office/drawing/2014/main" id="{0A4066ED-F3DB-E2C0-80C9-BA376C871C51}"/>
                </a:ext>
              </a:extLst>
            </p:cNvPr>
            <p:cNvSpPr/>
            <p:nvPr/>
          </p:nvSpPr>
          <p:spPr>
            <a:xfrm>
              <a:off x="3433618" y="1975285"/>
              <a:ext cx="34380" cy="46763"/>
            </a:xfrm>
            <a:custGeom>
              <a:avLst/>
              <a:gdLst>
                <a:gd name="connsiteX0" fmla="*/ 6590 w 34380"/>
                <a:gd name="connsiteY0" fmla="*/ 46764 h 46763"/>
                <a:gd name="connsiteX1" fmla="*/ 3078 w 34380"/>
                <a:gd name="connsiteY1" fmla="*/ 45736 h 46763"/>
                <a:gd name="connsiteX2" fmla="*/ 1022 w 34380"/>
                <a:gd name="connsiteY2" fmla="*/ 36634 h 46763"/>
                <a:gd name="connsiteX3" fmla="*/ 22201 w 34380"/>
                <a:gd name="connsiteY3" fmla="*/ 3078 h 46763"/>
                <a:gd name="connsiteX4" fmla="*/ 31302 w 34380"/>
                <a:gd name="connsiteY4" fmla="*/ 1022 h 46763"/>
                <a:gd name="connsiteX5" fmla="*/ 33358 w 34380"/>
                <a:gd name="connsiteY5" fmla="*/ 10123 h 46763"/>
                <a:gd name="connsiteX6" fmla="*/ 12179 w 34380"/>
                <a:gd name="connsiteY6" fmla="*/ 43680 h 46763"/>
                <a:gd name="connsiteX7" fmla="*/ 6590 w 34380"/>
                <a:gd name="connsiteY7" fmla="*/ 46764 h 467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4380" h="46763">
                  <a:moveTo>
                    <a:pt x="6590" y="46764"/>
                  </a:moveTo>
                  <a:cubicBezTo>
                    <a:pt x="5391" y="46764"/>
                    <a:pt x="4170" y="46442"/>
                    <a:pt x="3078" y="45736"/>
                  </a:cubicBezTo>
                  <a:cubicBezTo>
                    <a:pt x="-6" y="43787"/>
                    <a:pt x="-927" y="39718"/>
                    <a:pt x="1022" y="36634"/>
                  </a:cubicBezTo>
                  <a:lnTo>
                    <a:pt x="22201" y="3078"/>
                  </a:lnTo>
                  <a:cubicBezTo>
                    <a:pt x="24150" y="-6"/>
                    <a:pt x="28240" y="-927"/>
                    <a:pt x="31302" y="1022"/>
                  </a:cubicBezTo>
                  <a:cubicBezTo>
                    <a:pt x="34386" y="2971"/>
                    <a:pt x="35307" y="7040"/>
                    <a:pt x="33358" y="10123"/>
                  </a:cubicBezTo>
                  <a:lnTo>
                    <a:pt x="12179" y="43680"/>
                  </a:lnTo>
                  <a:cubicBezTo>
                    <a:pt x="10937" y="45671"/>
                    <a:pt x="8796" y="46764"/>
                    <a:pt x="6590" y="46764"/>
                  </a:cubicBezTo>
                  <a:close/>
                </a:path>
              </a:pathLst>
            </a:custGeom>
            <a:grpFill/>
            <a:ln w="213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209" name="Freihandform: Form 332">
              <a:extLst>
                <a:ext uri="{FF2B5EF4-FFF2-40B4-BE49-F238E27FC236}">
                  <a16:creationId xmlns:a16="http://schemas.microsoft.com/office/drawing/2014/main" id="{82C3B830-1CC4-CC45-2C28-8FB6A0DE7FB1}"/>
                </a:ext>
              </a:extLst>
            </p:cNvPr>
            <p:cNvSpPr/>
            <p:nvPr/>
          </p:nvSpPr>
          <p:spPr>
            <a:xfrm>
              <a:off x="3421821" y="2009101"/>
              <a:ext cx="89694" cy="51772"/>
            </a:xfrm>
            <a:custGeom>
              <a:avLst/>
              <a:gdLst>
                <a:gd name="connsiteX0" fmla="*/ 76677 w 89694"/>
                <a:gd name="connsiteY0" fmla="*/ 51772 h 51772"/>
                <a:gd name="connsiteX1" fmla="*/ 71324 w 89694"/>
                <a:gd name="connsiteY1" fmla="*/ 49031 h 51772"/>
                <a:gd name="connsiteX2" fmla="*/ 72823 w 89694"/>
                <a:gd name="connsiteY2" fmla="*/ 39823 h 51772"/>
                <a:gd name="connsiteX3" fmla="*/ 76420 w 89694"/>
                <a:gd name="connsiteY3" fmla="*/ 32328 h 51772"/>
                <a:gd name="connsiteX4" fmla="*/ 69161 w 89694"/>
                <a:gd name="connsiteY4" fmla="*/ 21385 h 51772"/>
                <a:gd name="connsiteX5" fmla="*/ 5752 w 89694"/>
                <a:gd name="connsiteY5" fmla="*/ 13140 h 51772"/>
                <a:gd name="connsiteX6" fmla="*/ 56 w 89694"/>
                <a:gd name="connsiteY6" fmla="*/ 5752 h 51772"/>
                <a:gd name="connsiteX7" fmla="*/ 7444 w 89694"/>
                <a:gd name="connsiteY7" fmla="*/ 56 h 51772"/>
                <a:gd name="connsiteX8" fmla="*/ 70896 w 89694"/>
                <a:gd name="connsiteY8" fmla="*/ 8322 h 51772"/>
                <a:gd name="connsiteX9" fmla="*/ 89526 w 89694"/>
                <a:gd name="connsiteY9" fmla="*/ 33805 h 51772"/>
                <a:gd name="connsiteX10" fmla="*/ 80532 w 89694"/>
                <a:gd name="connsiteY10" fmla="*/ 50552 h 51772"/>
                <a:gd name="connsiteX11" fmla="*/ 76677 w 89694"/>
                <a:gd name="connsiteY11" fmla="*/ 51772 h 517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89694" h="51772">
                  <a:moveTo>
                    <a:pt x="76677" y="51772"/>
                  </a:moveTo>
                  <a:cubicBezTo>
                    <a:pt x="74622" y="51772"/>
                    <a:pt x="72609" y="50830"/>
                    <a:pt x="71324" y="49031"/>
                  </a:cubicBezTo>
                  <a:cubicBezTo>
                    <a:pt x="69204" y="46076"/>
                    <a:pt x="69867" y="41943"/>
                    <a:pt x="72823" y="39823"/>
                  </a:cubicBezTo>
                  <a:cubicBezTo>
                    <a:pt x="74643" y="38495"/>
                    <a:pt x="76078" y="35561"/>
                    <a:pt x="76420" y="32328"/>
                  </a:cubicBezTo>
                  <a:cubicBezTo>
                    <a:pt x="76677" y="30036"/>
                    <a:pt x="76913" y="22434"/>
                    <a:pt x="69161" y="21385"/>
                  </a:cubicBezTo>
                  <a:lnTo>
                    <a:pt x="5752" y="13140"/>
                  </a:lnTo>
                  <a:cubicBezTo>
                    <a:pt x="2133" y="12669"/>
                    <a:pt x="-415" y="9350"/>
                    <a:pt x="56" y="5752"/>
                  </a:cubicBezTo>
                  <a:cubicBezTo>
                    <a:pt x="527" y="2133"/>
                    <a:pt x="3804" y="-415"/>
                    <a:pt x="7444" y="56"/>
                  </a:cubicBezTo>
                  <a:lnTo>
                    <a:pt x="70896" y="8322"/>
                  </a:lnTo>
                  <a:cubicBezTo>
                    <a:pt x="85436" y="10314"/>
                    <a:pt x="90747" y="22927"/>
                    <a:pt x="89526" y="33805"/>
                  </a:cubicBezTo>
                  <a:cubicBezTo>
                    <a:pt x="88734" y="40787"/>
                    <a:pt x="85372" y="47040"/>
                    <a:pt x="80532" y="50552"/>
                  </a:cubicBezTo>
                  <a:cubicBezTo>
                    <a:pt x="79354" y="51365"/>
                    <a:pt x="78005" y="51772"/>
                    <a:pt x="76677" y="51772"/>
                  </a:cubicBezTo>
                  <a:close/>
                </a:path>
              </a:pathLst>
            </a:custGeom>
            <a:grpFill/>
            <a:ln w="213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210" name="Freihandform: Form 333">
              <a:extLst>
                <a:ext uri="{FF2B5EF4-FFF2-40B4-BE49-F238E27FC236}">
                  <a16:creationId xmlns:a16="http://schemas.microsoft.com/office/drawing/2014/main" id="{899EEA61-4D2D-0773-3E5F-6A7DE7900E65}"/>
                </a:ext>
              </a:extLst>
            </p:cNvPr>
            <p:cNvSpPr/>
            <p:nvPr/>
          </p:nvSpPr>
          <p:spPr>
            <a:xfrm>
              <a:off x="3374317" y="1915490"/>
              <a:ext cx="203993" cy="145126"/>
            </a:xfrm>
            <a:custGeom>
              <a:avLst/>
              <a:gdLst>
                <a:gd name="connsiteX0" fmla="*/ 25246 w 203993"/>
                <a:gd name="connsiteY0" fmla="*/ 145126 h 145126"/>
                <a:gd name="connsiteX1" fmla="*/ 23876 w 203993"/>
                <a:gd name="connsiteY1" fmla="*/ 144976 h 145126"/>
                <a:gd name="connsiteX2" fmla="*/ 2547 w 203993"/>
                <a:gd name="connsiteY2" fmla="*/ 126988 h 145126"/>
                <a:gd name="connsiteX3" fmla="*/ 3553 w 203993"/>
                <a:gd name="connsiteY3" fmla="*/ 101505 h 145126"/>
                <a:gd name="connsiteX4" fmla="*/ 49016 w 203993"/>
                <a:gd name="connsiteY4" fmla="*/ 24927 h 145126"/>
                <a:gd name="connsiteX5" fmla="*/ 105015 w 203993"/>
                <a:gd name="connsiteY5" fmla="*/ 0 h 145126"/>
                <a:gd name="connsiteX6" fmla="*/ 151185 w 203993"/>
                <a:gd name="connsiteY6" fmla="*/ 0 h 145126"/>
                <a:gd name="connsiteX7" fmla="*/ 203950 w 203993"/>
                <a:gd name="connsiteY7" fmla="*/ 59361 h 145126"/>
                <a:gd name="connsiteX8" fmla="*/ 203950 w 203993"/>
                <a:gd name="connsiteY8" fmla="*/ 59361 h 145126"/>
                <a:gd name="connsiteX9" fmla="*/ 203993 w 203993"/>
                <a:gd name="connsiteY9" fmla="*/ 138509 h 145126"/>
                <a:gd name="connsiteX10" fmla="*/ 197398 w 203993"/>
                <a:gd name="connsiteY10" fmla="*/ 145105 h 145126"/>
                <a:gd name="connsiteX11" fmla="*/ 190802 w 203993"/>
                <a:gd name="connsiteY11" fmla="*/ 138509 h 145126"/>
                <a:gd name="connsiteX12" fmla="*/ 190759 w 203993"/>
                <a:gd name="connsiteY12" fmla="*/ 59382 h 145126"/>
                <a:gd name="connsiteX13" fmla="*/ 151185 w 203993"/>
                <a:gd name="connsiteY13" fmla="*/ 13213 h 145126"/>
                <a:gd name="connsiteX14" fmla="*/ 105015 w 203993"/>
                <a:gd name="connsiteY14" fmla="*/ 13213 h 145126"/>
                <a:gd name="connsiteX15" fmla="*/ 60238 w 203993"/>
                <a:gd name="connsiteY15" fmla="*/ 31886 h 145126"/>
                <a:gd name="connsiteX16" fmla="*/ 14817 w 203993"/>
                <a:gd name="connsiteY16" fmla="*/ 108422 h 145126"/>
                <a:gd name="connsiteX17" fmla="*/ 14732 w 203993"/>
                <a:gd name="connsiteY17" fmla="*/ 121891 h 145126"/>
                <a:gd name="connsiteX18" fmla="*/ 26638 w 203993"/>
                <a:gd name="connsiteY18" fmla="*/ 132106 h 145126"/>
                <a:gd name="connsiteX19" fmla="*/ 31735 w 203993"/>
                <a:gd name="connsiteY19" fmla="*/ 139923 h 145126"/>
                <a:gd name="connsiteX20" fmla="*/ 25246 w 203993"/>
                <a:gd name="connsiteY20" fmla="*/ 145126 h 1451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203993" h="145126">
                  <a:moveTo>
                    <a:pt x="25246" y="145126"/>
                  </a:moveTo>
                  <a:cubicBezTo>
                    <a:pt x="24796" y="145126"/>
                    <a:pt x="24325" y="145083"/>
                    <a:pt x="23876" y="144976"/>
                  </a:cubicBezTo>
                  <a:cubicBezTo>
                    <a:pt x="14282" y="142942"/>
                    <a:pt x="6509" y="136389"/>
                    <a:pt x="2547" y="126988"/>
                  </a:cubicBezTo>
                  <a:cubicBezTo>
                    <a:pt x="-1179" y="118144"/>
                    <a:pt x="-794" y="108379"/>
                    <a:pt x="3553" y="101505"/>
                  </a:cubicBezTo>
                  <a:lnTo>
                    <a:pt x="49016" y="24927"/>
                  </a:lnTo>
                  <a:cubicBezTo>
                    <a:pt x="64349" y="1199"/>
                    <a:pt x="80282" y="0"/>
                    <a:pt x="105015" y="0"/>
                  </a:cubicBezTo>
                  <a:lnTo>
                    <a:pt x="151185" y="0"/>
                  </a:lnTo>
                  <a:cubicBezTo>
                    <a:pt x="173092" y="0"/>
                    <a:pt x="203950" y="18416"/>
                    <a:pt x="203950" y="59361"/>
                  </a:cubicBezTo>
                  <a:lnTo>
                    <a:pt x="203950" y="59361"/>
                  </a:lnTo>
                  <a:cubicBezTo>
                    <a:pt x="203950" y="59361"/>
                    <a:pt x="203993" y="97736"/>
                    <a:pt x="203993" y="138509"/>
                  </a:cubicBezTo>
                  <a:cubicBezTo>
                    <a:pt x="203993" y="142150"/>
                    <a:pt x="201038" y="145105"/>
                    <a:pt x="197398" y="145105"/>
                  </a:cubicBezTo>
                  <a:cubicBezTo>
                    <a:pt x="193757" y="145105"/>
                    <a:pt x="190802" y="142150"/>
                    <a:pt x="190802" y="138509"/>
                  </a:cubicBezTo>
                  <a:cubicBezTo>
                    <a:pt x="190802" y="97736"/>
                    <a:pt x="190759" y="59382"/>
                    <a:pt x="190759" y="59382"/>
                  </a:cubicBezTo>
                  <a:cubicBezTo>
                    <a:pt x="190759" y="24498"/>
                    <a:pt x="164098" y="13213"/>
                    <a:pt x="151185" y="13213"/>
                  </a:cubicBezTo>
                  <a:lnTo>
                    <a:pt x="105015" y="13213"/>
                  </a:lnTo>
                  <a:cubicBezTo>
                    <a:pt x="80774" y="13213"/>
                    <a:pt x="71309" y="14733"/>
                    <a:pt x="60238" y="31886"/>
                  </a:cubicBezTo>
                  <a:lnTo>
                    <a:pt x="14817" y="108422"/>
                  </a:lnTo>
                  <a:cubicBezTo>
                    <a:pt x="12697" y="111762"/>
                    <a:pt x="12719" y="117116"/>
                    <a:pt x="14732" y="121891"/>
                  </a:cubicBezTo>
                  <a:cubicBezTo>
                    <a:pt x="16059" y="125039"/>
                    <a:pt x="19379" y="130564"/>
                    <a:pt x="26638" y="132106"/>
                  </a:cubicBezTo>
                  <a:cubicBezTo>
                    <a:pt x="30214" y="132856"/>
                    <a:pt x="32484" y="136368"/>
                    <a:pt x="31735" y="139923"/>
                  </a:cubicBezTo>
                  <a:cubicBezTo>
                    <a:pt x="31050" y="143006"/>
                    <a:pt x="28308" y="145126"/>
                    <a:pt x="25246" y="145126"/>
                  </a:cubicBezTo>
                  <a:close/>
                </a:path>
              </a:pathLst>
            </a:custGeom>
            <a:grpFill/>
            <a:ln w="213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211" name="Freihandform: Form 334">
              <a:extLst>
                <a:ext uri="{FF2B5EF4-FFF2-40B4-BE49-F238E27FC236}">
                  <a16:creationId xmlns:a16="http://schemas.microsoft.com/office/drawing/2014/main" id="{C8D1112C-50E0-3F1E-0FBB-6A96077A7CE3}"/>
                </a:ext>
              </a:extLst>
            </p:cNvPr>
            <p:cNvSpPr/>
            <p:nvPr/>
          </p:nvSpPr>
          <p:spPr>
            <a:xfrm>
              <a:off x="3452949" y="1796789"/>
              <a:ext cx="92339" cy="105530"/>
            </a:xfrm>
            <a:custGeom>
              <a:avLst/>
              <a:gdLst>
                <a:gd name="connsiteX0" fmla="*/ 46170 w 92339"/>
                <a:gd name="connsiteY0" fmla="*/ 105531 h 105530"/>
                <a:gd name="connsiteX1" fmla="*/ 0 w 92339"/>
                <a:gd name="connsiteY1" fmla="*/ 52765 h 105530"/>
                <a:gd name="connsiteX2" fmla="*/ 46170 w 92339"/>
                <a:gd name="connsiteY2" fmla="*/ 0 h 105530"/>
                <a:gd name="connsiteX3" fmla="*/ 92339 w 92339"/>
                <a:gd name="connsiteY3" fmla="*/ 52765 h 105530"/>
                <a:gd name="connsiteX4" fmla="*/ 46170 w 92339"/>
                <a:gd name="connsiteY4" fmla="*/ 105531 h 105530"/>
                <a:gd name="connsiteX5" fmla="*/ 46170 w 92339"/>
                <a:gd name="connsiteY5" fmla="*/ 13191 h 105530"/>
                <a:gd name="connsiteX6" fmla="*/ 13191 w 92339"/>
                <a:gd name="connsiteY6" fmla="*/ 52765 h 105530"/>
                <a:gd name="connsiteX7" fmla="*/ 46170 w 92339"/>
                <a:gd name="connsiteY7" fmla="*/ 92339 h 105530"/>
                <a:gd name="connsiteX8" fmla="*/ 79148 w 92339"/>
                <a:gd name="connsiteY8" fmla="*/ 52765 h 105530"/>
                <a:gd name="connsiteX9" fmla="*/ 46170 w 92339"/>
                <a:gd name="connsiteY9" fmla="*/ 13191 h 1055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92339" h="105530">
                  <a:moveTo>
                    <a:pt x="46170" y="105531"/>
                  </a:moveTo>
                  <a:cubicBezTo>
                    <a:pt x="18566" y="105531"/>
                    <a:pt x="0" y="84330"/>
                    <a:pt x="0" y="52765"/>
                  </a:cubicBezTo>
                  <a:cubicBezTo>
                    <a:pt x="0" y="21200"/>
                    <a:pt x="18566" y="0"/>
                    <a:pt x="46170" y="0"/>
                  </a:cubicBezTo>
                  <a:cubicBezTo>
                    <a:pt x="73773" y="0"/>
                    <a:pt x="92339" y="21200"/>
                    <a:pt x="92339" y="52765"/>
                  </a:cubicBezTo>
                  <a:cubicBezTo>
                    <a:pt x="92339" y="84330"/>
                    <a:pt x="73773" y="105531"/>
                    <a:pt x="46170" y="105531"/>
                  </a:cubicBezTo>
                  <a:close/>
                  <a:moveTo>
                    <a:pt x="46170" y="13191"/>
                  </a:moveTo>
                  <a:cubicBezTo>
                    <a:pt x="21822" y="13191"/>
                    <a:pt x="13191" y="34499"/>
                    <a:pt x="13191" y="52765"/>
                  </a:cubicBezTo>
                  <a:cubicBezTo>
                    <a:pt x="13191" y="71032"/>
                    <a:pt x="21822" y="92339"/>
                    <a:pt x="46170" y="92339"/>
                  </a:cubicBezTo>
                  <a:cubicBezTo>
                    <a:pt x="70518" y="92339"/>
                    <a:pt x="79148" y="71032"/>
                    <a:pt x="79148" y="52765"/>
                  </a:cubicBezTo>
                  <a:cubicBezTo>
                    <a:pt x="79148" y="34499"/>
                    <a:pt x="70497" y="13191"/>
                    <a:pt x="46170" y="13191"/>
                  </a:cubicBezTo>
                  <a:close/>
                </a:path>
              </a:pathLst>
            </a:custGeom>
            <a:grpFill/>
            <a:ln w="213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212" name="Freihandform: Form 335">
              <a:extLst>
                <a:ext uri="{FF2B5EF4-FFF2-40B4-BE49-F238E27FC236}">
                  <a16:creationId xmlns:a16="http://schemas.microsoft.com/office/drawing/2014/main" id="{AB0957DF-F8F3-DA34-743F-3D3CB58BD8FE}"/>
                </a:ext>
              </a:extLst>
            </p:cNvPr>
            <p:cNvSpPr/>
            <p:nvPr/>
          </p:nvSpPr>
          <p:spPr>
            <a:xfrm>
              <a:off x="3399563" y="2047425"/>
              <a:ext cx="435314" cy="13191"/>
            </a:xfrm>
            <a:custGeom>
              <a:avLst/>
              <a:gdLst>
                <a:gd name="connsiteX0" fmla="*/ 428719 w 435314"/>
                <a:gd name="connsiteY0" fmla="*/ 13191 h 13191"/>
                <a:gd name="connsiteX1" fmla="*/ 6596 w 435314"/>
                <a:gd name="connsiteY1" fmla="*/ 13191 h 13191"/>
                <a:gd name="connsiteX2" fmla="*/ 0 w 435314"/>
                <a:gd name="connsiteY2" fmla="*/ 6596 h 13191"/>
                <a:gd name="connsiteX3" fmla="*/ 6596 w 435314"/>
                <a:gd name="connsiteY3" fmla="*/ 0 h 13191"/>
                <a:gd name="connsiteX4" fmla="*/ 428719 w 435314"/>
                <a:gd name="connsiteY4" fmla="*/ 0 h 13191"/>
                <a:gd name="connsiteX5" fmla="*/ 435314 w 435314"/>
                <a:gd name="connsiteY5" fmla="*/ 6596 h 13191"/>
                <a:gd name="connsiteX6" fmla="*/ 428719 w 435314"/>
                <a:gd name="connsiteY6" fmla="*/ 13191 h 131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35314" h="13191">
                  <a:moveTo>
                    <a:pt x="428719" y="13191"/>
                  </a:moveTo>
                  <a:lnTo>
                    <a:pt x="6596" y="13191"/>
                  </a:lnTo>
                  <a:cubicBezTo>
                    <a:pt x="2955" y="13191"/>
                    <a:pt x="0" y="10236"/>
                    <a:pt x="0" y="6596"/>
                  </a:cubicBezTo>
                  <a:cubicBezTo>
                    <a:pt x="0" y="2955"/>
                    <a:pt x="2955" y="0"/>
                    <a:pt x="6596" y="0"/>
                  </a:cubicBezTo>
                  <a:lnTo>
                    <a:pt x="428719" y="0"/>
                  </a:lnTo>
                  <a:cubicBezTo>
                    <a:pt x="432359" y="0"/>
                    <a:pt x="435314" y="2955"/>
                    <a:pt x="435314" y="6596"/>
                  </a:cubicBezTo>
                  <a:cubicBezTo>
                    <a:pt x="435314" y="10236"/>
                    <a:pt x="432359" y="13191"/>
                    <a:pt x="428719" y="13191"/>
                  </a:cubicBezTo>
                  <a:close/>
                </a:path>
              </a:pathLst>
            </a:custGeom>
            <a:grpFill/>
            <a:ln w="213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213" name="Freihandform: Form 336">
              <a:extLst>
                <a:ext uri="{FF2B5EF4-FFF2-40B4-BE49-F238E27FC236}">
                  <a16:creationId xmlns:a16="http://schemas.microsoft.com/office/drawing/2014/main" id="{7AF84A6C-BD80-2238-B450-B00C8137B311}"/>
                </a:ext>
              </a:extLst>
            </p:cNvPr>
            <p:cNvSpPr/>
            <p:nvPr/>
          </p:nvSpPr>
          <p:spPr>
            <a:xfrm>
              <a:off x="3565483" y="1922085"/>
              <a:ext cx="288123" cy="138530"/>
            </a:xfrm>
            <a:custGeom>
              <a:avLst/>
              <a:gdLst>
                <a:gd name="connsiteX0" fmla="*/ 249822 w 288123"/>
                <a:gd name="connsiteY0" fmla="*/ 138531 h 138530"/>
                <a:gd name="connsiteX1" fmla="*/ 6596 w 288123"/>
                <a:gd name="connsiteY1" fmla="*/ 138531 h 138530"/>
                <a:gd name="connsiteX2" fmla="*/ 0 w 288123"/>
                <a:gd name="connsiteY2" fmla="*/ 131935 h 138530"/>
                <a:gd name="connsiteX3" fmla="*/ 0 w 288123"/>
                <a:gd name="connsiteY3" fmla="*/ 105552 h 138530"/>
                <a:gd name="connsiteX4" fmla="*/ 6596 w 288123"/>
                <a:gd name="connsiteY4" fmla="*/ 98957 h 138530"/>
                <a:gd name="connsiteX5" fmla="*/ 73238 w 288123"/>
                <a:gd name="connsiteY5" fmla="*/ 98914 h 138530"/>
                <a:gd name="connsiteX6" fmla="*/ 102147 w 288123"/>
                <a:gd name="connsiteY6" fmla="*/ 4668 h 138530"/>
                <a:gd name="connsiteX7" fmla="*/ 108443 w 288123"/>
                <a:gd name="connsiteY7" fmla="*/ 0 h 138530"/>
                <a:gd name="connsiteX8" fmla="*/ 281515 w 288123"/>
                <a:gd name="connsiteY8" fmla="*/ 0 h 138530"/>
                <a:gd name="connsiteX9" fmla="*/ 286848 w 288123"/>
                <a:gd name="connsiteY9" fmla="*/ 2698 h 138530"/>
                <a:gd name="connsiteX10" fmla="*/ 287811 w 288123"/>
                <a:gd name="connsiteY10" fmla="*/ 8609 h 138530"/>
                <a:gd name="connsiteX11" fmla="*/ 256439 w 288123"/>
                <a:gd name="connsiteY11" fmla="*/ 106516 h 138530"/>
                <a:gd name="connsiteX12" fmla="*/ 256439 w 288123"/>
                <a:gd name="connsiteY12" fmla="*/ 131913 h 138530"/>
                <a:gd name="connsiteX13" fmla="*/ 249822 w 288123"/>
                <a:gd name="connsiteY13" fmla="*/ 138531 h 138530"/>
                <a:gd name="connsiteX14" fmla="*/ 13191 w 288123"/>
                <a:gd name="connsiteY14" fmla="*/ 125339 h 138530"/>
                <a:gd name="connsiteX15" fmla="*/ 243226 w 288123"/>
                <a:gd name="connsiteY15" fmla="*/ 125339 h 138530"/>
                <a:gd name="connsiteX16" fmla="*/ 243226 w 288123"/>
                <a:gd name="connsiteY16" fmla="*/ 105552 h 138530"/>
                <a:gd name="connsiteX17" fmla="*/ 243547 w 288123"/>
                <a:gd name="connsiteY17" fmla="*/ 103496 h 138530"/>
                <a:gd name="connsiteX18" fmla="*/ 272478 w 288123"/>
                <a:gd name="connsiteY18" fmla="*/ 13213 h 138530"/>
                <a:gd name="connsiteX19" fmla="*/ 113326 w 288123"/>
                <a:gd name="connsiteY19" fmla="*/ 13213 h 138530"/>
                <a:gd name="connsiteX20" fmla="*/ 84416 w 288123"/>
                <a:gd name="connsiteY20" fmla="*/ 107437 h 138530"/>
                <a:gd name="connsiteX21" fmla="*/ 78120 w 288123"/>
                <a:gd name="connsiteY21" fmla="*/ 112105 h 138530"/>
                <a:gd name="connsiteX22" fmla="*/ 13191 w 288123"/>
                <a:gd name="connsiteY22" fmla="*/ 112148 h 138530"/>
                <a:gd name="connsiteX23" fmla="*/ 13191 w 288123"/>
                <a:gd name="connsiteY23" fmla="*/ 125339 h 138530"/>
                <a:gd name="connsiteX24" fmla="*/ 78120 w 288123"/>
                <a:gd name="connsiteY24" fmla="*/ 105531 h 138530"/>
                <a:gd name="connsiteX25" fmla="*/ 78184 w 288123"/>
                <a:gd name="connsiteY25" fmla="*/ 105531 h 138530"/>
                <a:gd name="connsiteX26" fmla="*/ 78120 w 288123"/>
                <a:gd name="connsiteY26" fmla="*/ 105531 h 1385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288123" h="138530">
                  <a:moveTo>
                    <a:pt x="249822" y="138531"/>
                  </a:moveTo>
                  <a:lnTo>
                    <a:pt x="6596" y="138531"/>
                  </a:lnTo>
                  <a:cubicBezTo>
                    <a:pt x="2955" y="138531"/>
                    <a:pt x="0" y="135575"/>
                    <a:pt x="0" y="131935"/>
                  </a:cubicBezTo>
                  <a:lnTo>
                    <a:pt x="0" y="105552"/>
                  </a:lnTo>
                  <a:cubicBezTo>
                    <a:pt x="0" y="101912"/>
                    <a:pt x="2955" y="98957"/>
                    <a:pt x="6596" y="98957"/>
                  </a:cubicBezTo>
                  <a:lnTo>
                    <a:pt x="73238" y="98914"/>
                  </a:lnTo>
                  <a:lnTo>
                    <a:pt x="102147" y="4668"/>
                  </a:lnTo>
                  <a:cubicBezTo>
                    <a:pt x="103004" y="1906"/>
                    <a:pt x="105552" y="0"/>
                    <a:pt x="108443" y="0"/>
                  </a:cubicBezTo>
                  <a:lnTo>
                    <a:pt x="281515" y="0"/>
                  </a:lnTo>
                  <a:cubicBezTo>
                    <a:pt x="283614" y="0"/>
                    <a:pt x="285606" y="1006"/>
                    <a:pt x="286848" y="2698"/>
                  </a:cubicBezTo>
                  <a:cubicBezTo>
                    <a:pt x="288090" y="4390"/>
                    <a:pt x="288454" y="6596"/>
                    <a:pt x="287811" y="8609"/>
                  </a:cubicBezTo>
                  <a:lnTo>
                    <a:pt x="256439" y="106516"/>
                  </a:lnTo>
                  <a:lnTo>
                    <a:pt x="256439" y="131913"/>
                  </a:lnTo>
                  <a:cubicBezTo>
                    <a:pt x="256418" y="135575"/>
                    <a:pt x="253462" y="138531"/>
                    <a:pt x="249822" y="138531"/>
                  </a:cubicBezTo>
                  <a:close/>
                  <a:moveTo>
                    <a:pt x="13191" y="125339"/>
                  </a:moveTo>
                  <a:lnTo>
                    <a:pt x="243226" y="125339"/>
                  </a:lnTo>
                  <a:lnTo>
                    <a:pt x="243226" y="105552"/>
                  </a:lnTo>
                  <a:cubicBezTo>
                    <a:pt x="243226" y="104867"/>
                    <a:pt x="243333" y="104160"/>
                    <a:pt x="243547" y="103496"/>
                  </a:cubicBezTo>
                  <a:lnTo>
                    <a:pt x="272478" y="13213"/>
                  </a:lnTo>
                  <a:lnTo>
                    <a:pt x="113326" y="13213"/>
                  </a:lnTo>
                  <a:lnTo>
                    <a:pt x="84416" y="107437"/>
                  </a:lnTo>
                  <a:cubicBezTo>
                    <a:pt x="83560" y="110199"/>
                    <a:pt x="81011" y="112105"/>
                    <a:pt x="78120" y="112105"/>
                  </a:cubicBezTo>
                  <a:lnTo>
                    <a:pt x="13191" y="112148"/>
                  </a:lnTo>
                  <a:lnTo>
                    <a:pt x="13191" y="125339"/>
                  </a:lnTo>
                  <a:close/>
                  <a:moveTo>
                    <a:pt x="78120" y="105531"/>
                  </a:moveTo>
                  <a:lnTo>
                    <a:pt x="78184" y="105531"/>
                  </a:lnTo>
                  <a:lnTo>
                    <a:pt x="78120" y="105531"/>
                  </a:lnTo>
                  <a:close/>
                </a:path>
              </a:pathLst>
            </a:custGeom>
            <a:grpFill/>
            <a:ln w="213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201" name="Gruppieren 1308">
            <a:extLst>
              <a:ext uri="{FF2B5EF4-FFF2-40B4-BE49-F238E27FC236}">
                <a16:creationId xmlns:a16="http://schemas.microsoft.com/office/drawing/2014/main" id="{C5500163-8AC4-1EE5-A90A-01A240205AC6}"/>
              </a:ext>
            </a:extLst>
          </p:cNvPr>
          <p:cNvGrpSpPr/>
          <p:nvPr/>
        </p:nvGrpSpPr>
        <p:grpSpPr>
          <a:xfrm>
            <a:off x="7570259" y="2420364"/>
            <a:ext cx="264911" cy="214186"/>
            <a:chOff x="3519724" y="1626972"/>
            <a:chExt cx="309992" cy="250635"/>
          </a:xfrm>
          <a:solidFill>
            <a:srgbClr val="9CB40D"/>
          </a:solidFill>
        </p:grpSpPr>
        <p:sp>
          <p:nvSpPr>
            <p:cNvPr id="202" name="Freihandform: Form 337">
              <a:extLst>
                <a:ext uri="{FF2B5EF4-FFF2-40B4-BE49-F238E27FC236}">
                  <a16:creationId xmlns:a16="http://schemas.microsoft.com/office/drawing/2014/main" id="{19C123CF-B063-EF45-EF84-2B0D123EB044}"/>
                </a:ext>
              </a:extLst>
            </p:cNvPr>
            <p:cNvSpPr/>
            <p:nvPr/>
          </p:nvSpPr>
          <p:spPr>
            <a:xfrm>
              <a:off x="3592272" y="1805033"/>
              <a:ext cx="52765" cy="72552"/>
            </a:xfrm>
            <a:custGeom>
              <a:avLst/>
              <a:gdLst>
                <a:gd name="connsiteX0" fmla="*/ 46170 w 52765"/>
                <a:gd name="connsiteY0" fmla="*/ 72552 h 72552"/>
                <a:gd name="connsiteX1" fmla="*/ 39574 w 52765"/>
                <a:gd name="connsiteY1" fmla="*/ 65957 h 72552"/>
                <a:gd name="connsiteX2" fmla="*/ 39574 w 52765"/>
                <a:gd name="connsiteY2" fmla="*/ 13191 h 72552"/>
                <a:gd name="connsiteX3" fmla="*/ 13191 w 52765"/>
                <a:gd name="connsiteY3" fmla="*/ 13191 h 72552"/>
                <a:gd name="connsiteX4" fmla="*/ 13191 w 52765"/>
                <a:gd name="connsiteY4" fmla="*/ 65957 h 72552"/>
                <a:gd name="connsiteX5" fmla="*/ 6596 w 52765"/>
                <a:gd name="connsiteY5" fmla="*/ 72552 h 72552"/>
                <a:gd name="connsiteX6" fmla="*/ 0 w 52765"/>
                <a:gd name="connsiteY6" fmla="*/ 65957 h 72552"/>
                <a:gd name="connsiteX7" fmla="*/ 0 w 52765"/>
                <a:gd name="connsiteY7" fmla="*/ 13191 h 72552"/>
                <a:gd name="connsiteX8" fmla="*/ 13191 w 52765"/>
                <a:gd name="connsiteY8" fmla="*/ 0 h 72552"/>
                <a:gd name="connsiteX9" fmla="*/ 39574 w 52765"/>
                <a:gd name="connsiteY9" fmla="*/ 0 h 72552"/>
                <a:gd name="connsiteX10" fmla="*/ 52765 w 52765"/>
                <a:gd name="connsiteY10" fmla="*/ 13191 h 72552"/>
                <a:gd name="connsiteX11" fmla="*/ 52765 w 52765"/>
                <a:gd name="connsiteY11" fmla="*/ 65957 h 72552"/>
                <a:gd name="connsiteX12" fmla="*/ 46170 w 52765"/>
                <a:gd name="connsiteY12" fmla="*/ 72552 h 725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2765" h="72552">
                  <a:moveTo>
                    <a:pt x="46170" y="72552"/>
                  </a:moveTo>
                  <a:cubicBezTo>
                    <a:pt x="42529" y="72552"/>
                    <a:pt x="39574" y="69597"/>
                    <a:pt x="39574" y="65957"/>
                  </a:cubicBezTo>
                  <a:lnTo>
                    <a:pt x="39574" y="13191"/>
                  </a:lnTo>
                  <a:lnTo>
                    <a:pt x="13191" y="13191"/>
                  </a:lnTo>
                  <a:lnTo>
                    <a:pt x="13191" y="65957"/>
                  </a:lnTo>
                  <a:cubicBezTo>
                    <a:pt x="13191" y="69597"/>
                    <a:pt x="10236" y="72552"/>
                    <a:pt x="6596" y="72552"/>
                  </a:cubicBezTo>
                  <a:cubicBezTo>
                    <a:pt x="2955" y="72552"/>
                    <a:pt x="0" y="69597"/>
                    <a:pt x="0" y="65957"/>
                  </a:cubicBezTo>
                  <a:lnTo>
                    <a:pt x="0" y="13191"/>
                  </a:lnTo>
                  <a:cubicBezTo>
                    <a:pt x="0" y="5910"/>
                    <a:pt x="5910" y="0"/>
                    <a:pt x="13191" y="0"/>
                  </a:cubicBezTo>
                  <a:lnTo>
                    <a:pt x="39574" y="0"/>
                  </a:lnTo>
                  <a:cubicBezTo>
                    <a:pt x="46855" y="0"/>
                    <a:pt x="52765" y="5910"/>
                    <a:pt x="52765" y="13191"/>
                  </a:cubicBezTo>
                  <a:lnTo>
                    <a:pt x="52765" y="65957"/>
                  </a:lnTo>
                  <a:cubicBezTo>
                    <a:pt x="52765" y="69619"/>
                    <a:pt x="49810" y="72552"/>
                    <a:pt x="46170" y="72552"/>
                  </a:cubicBezTo>
                  <a:close/>
                </a:path>
              </a:pathLst>
            </a:custGeom>
            <a:grpFill/>
            <a:ln w="213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203" name="Freihandform: Form 338">
              <a:extLst>
                <a:ext uri="{FF2B5EF4-FFF2-40B4-BE49-F238E27FC236}">
                  <a16:creationId xmlns:a16="http://schemas.microsoft.com/office/drawing/2014/main" id="{00DC44CD-B98E-374D-E8B3-6992C0A08EF8}"/>
                </a:ext>
              </a:extLst>
            </p:cNvPr>
            <p:cNvSpPr/>
            <p:nvPr/>
          </p:nvSpPr>
          <p:spPr>
            <a:xfrm>
              <a:off x="3684612" y="1758864"/>
              <a:ext cx="52765" cy="118722"/>
            </a:xfrm>
            <a:custGeom>
              <a:avLst/>
              <a:gdLst>
                <a:gd name="connsiteX0" fmla="*/ 46170 w 52765"/>
                <a:gd name="connsiteY0" fmla="*/ 118722 h 118722"/>
                <a:gd name="connsiteX1" fmla="*/ 39574 w 52765"/>
                <a:gd name="connsiteY1" fmla="*/ 112126 h 118722"/>
                <a:gd name="connsiteX2" fmla="*/ 39574 w 52765"/>
                <a:gd name="connsiteY2" fmla="*/ 13191 h 118722"/>
                <a:gd name="connsiteX3" fmla="*/ 13191 w 52765"/>
                <a:gd name="connsiteY3" fmla="*/ 13191 h 118722"/>
                <a:gd name="connsiteX4" fmla="*/ 13191 w 52765"/>
                <a:gd name="connsiteY4" fmla="*/ 112126 h 118722"/>
                <a:gd name="connsiteX5" fmla="*/ 6596 w 52765"/>
                <a:gd name="connsiteY5" fmla="*/ 118722 h 118722"/>
                <a:gd name="connsiteX6" fmla="*/ 0 w 52765"/>
                <a:gd name="connsiteY6" fmla="*/ 112126 h 118722"/>
                <a:gd name="connsiteX7" fmla="*/ 0 w 52765"/>
                <a:gd name="connsiteY7" fmla="*/ 13191 h 118722"/>
                <a:gd name="connsiteX8" fmla="*/ 13191 w 52765"/>
                <a:gd name="connsiteY8" fmla="*/ 0 h 118722"/>
                <a:gd name="connsiteX9" fmla="*/ 39574 w 52765"/>
                <a:gd name="connsiteY9" fmla="*/ 0 h 118722"/>
                <a:gd name="connsiteX10" fmla="*/ 52765 w 52765"/>
                <a:gd name="connsiteY10" fmla="*/ 13191 h 118722"/>
                <a:gd name="connsiteX11" fmla="*/ 52765 w 52765"/>
                <a:gd name="connsiteY11" fmla="*/ 112126 h 118722"/>
                <a:gd name="connsiteX12" fmla="*/ 46170 w 52765"/>
                <a:gd name="connsiteY12" fmla="*/ 118722 h 1187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2765" h="118722">
                  <a:moveTo>
                    <a:pt x="46170" y="118722"/>
                  </a:moveTo>
                  <a:cubicBezTo>
                    <a:pt x="42529" y="118722"/>
                    <a:pt x="39574" y="115767"/>
                    <a:pt x="39574" y="112126"/>
                  </a:cubicBezTo>
                  <a:lnTo>
                    <a:pt x="39574" y="13191"/>
                  </a:lnTo>
                  <a:lnTo>
                    <a:pt x="13191" y="13191"/>
                  </a:lnTo>
                  <a:lnTo>
                    <a:pt x="13191" y="112126"/>
                  </a:lnTo>
                  <a:cubicBezTo>
                    <a:pt x="13191" y="115767"/>
                    <a:pt x="10236" y="118722"/>
                    <a:pt x="6596" y="118722"/>
                  </a:cubicBezTo>
                  <a:cubicBezTo>
                    <a:pt x="2955" y="118722"/>
                    <a:pt x="0" y="115767"/>
                    <a:pt x="0" y="112126"/>
                  </a:cubicBezTo>
                  <a:lnTo>
                    <a:pt x="0" y="13191"/>
                  </a:lnTo>
                  <a:cubicBezTo>
                    <a:pt x="0" y="5910"/>
                    <a:pt x="5910" y="0"/>
                    <a:pt x="13191" y="0"/>
                  </a:cubicBezTo>
                  <a:lnTo>
                    <a:pt x="39574" y="0"/>
                  </a:lnTo>
                  <a:cubicBezTo>
                    <a:pt x="46855" y="0"/>
                    <a:pt x="52765" y="5910"/>
                    <a:pt x="52765" y="13191"/>
                  </a:cubicBezTo>
                  <a:lnTo>
                    <a:pt x="52765" y="112126"/>
                  </a:lnTo>
                  <a:cubicBezTo>
                    <a:pt x="52765" y="115788"/>
                    <a:pt x="49810" y="118722"/>
                    <a:pt x="46170" y="118722"/>
                  </a:cubicBezTo>
                  <a:close/>
                </a:path>
              </a:pathLst>
            </a:custGeom>
            <a:grpFill/>
            <a:ln w="213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204" name="Freihandform: Form 339">
              <a:extLst>
                <a:ext uri="{FF2B5EF4-FFF2-40B4-BE49-F238E27FC236}">
                  <a16:creationId xmlns:a16="http://schemas.microsoft.com/office/drawing/2014/main" id="{F7AFD672-2980-CEB3-10B8-4345426AC3AC}"/>
                </a:ext>
              </a:extLst>
            </p:cNvPr>
            <p:cNvSpPr/>
            <p:nvPr/>
          </p:nvSpPr>
          <p:spPr>
            <a:xfrm>
              <a:off x="3776951" y="1699524"/>
              <a:ext cx="52765" cy="178083"/>
            </a:xfrm>
            <a:custGeom>
              <a:avLst/>
              <a:gdLst>
                <a:gd name="connsiteX0" fmla="*/ 46170 w 52765"/>
                <a:gd name="connsiteY0" fmla="*/ 178062 h 178083"/>
                <a:gd name="connsiteX1" fmla="*/ 39574 w 52765"/>
                <a:gd name="connsiteY1" fmla="*/ 171466 h 178083"/>
                <a:gd name="connsiteX2" fmla="*/ 39574 w 52765"/>
                <a:gd name="connsiteY2" fmla="*/ 13191 h 178083"/>
                <a:gd name="connsiteX3" fmla="*/ 13191 w 52765"/>
                <a:gd name="connsiteY3" fmla="*/ 13191 h 178083"/>
                <a:gd name="connsiteX4" fmla="*/ 13191 w 52765"/>
                <a:gd name="connsiteY4" fmla="*/ 171488 h 178083"/>
                <a:gd name="connsiteX5" fmla="*/ 6596 w 52765"/>
                <a:gd name="connsiteY5" fmla="*/ 178083 h 178083"/>
                <a:gd name="connsiteX6" fmla="*/ 0 w 52765"/>
                <a:gd name="connsiteY6" fmla="*/ 171488 h 178083"/>
                <a:gd name="connsiteX7" fmla="*/ 0 w 52765"/>
                <a:gd name="connsiteY7" fmla="*/ 13191 h 178083"/>
                <a:gd name="connsiteX8" fmla="*/ 13191 w 52765"/>
                <a:gd name="connsiteY8" fmla="*/ 0 h 178083"/>
                <a:gd name="connsiteX9" fmla="*/ 39574 w 52765"/>
                <a:gd name="connsiteY9" fmla="*/ 0 h 178083"/>
                <a:gd name="connsiteX10" fmla="*/ 52765 w 52765"/>
                <a:gd name="connsiteY10" fmla="*/ 13191 h 178083"/>
                <a:gd name="connsiteX11" fmla="*/ 52765 w 52765"/>
                <a:gd name="connsiteY11" fmla="*/ 171488 h 178083"/>
                <a:gd name="connsiteX12" fmla="*/ 46170 w 52765"/>
                <a:gd name="connsiteY12" fmla="*/ 178062 h 178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2765" h="178083">
                  <a:moveTo>
                    <a:pt x="46170" y="178062"/>
                  </a:moveTo>
                  <a:cubicBezTo>
                    <a:pt x="42529" y="178062"/>
                    <a:pt x="39574" y="175107"/>
                    <a:pt x="39574" y="171466"/>
                  </a:cubicBezTo>
                  <a:lnTo>
                    <a:pt x="39574" y="13191"/>
                  </a:lnTo>
                  <a:lnTo>
                    <a:pt x="13191" y="13191"/>
                  </a:lnTo>
                  <a:lnTo>
                    <a:pt x="13191" y="171488"/>
                  </a:lnTo>
                  <a:cubicBezTo>
                    <a:pt x="13191" y="175128"/>
                    <a:pt x="10236" y="178083"/>
                    <a:pt x="6596" y="178083"/>
                  </a:cubicBezTo>
                  <a:cubicBezTo>
                    <a:pt x="2955" y="178083"/>
                    <a:pt x="0" y="175128"/>
                    <a:pt x="0" y="171488"/>
                  </a:cubicBezTo>
                  <a:lnTo>
                    <a:pt x="0" y="13191"/>
                  </a:lnTo>
                  <a:cubicBezTo>
                    <a:pt x="0" y="5910"/>
                    <a:pt x="5910" y="0"/>
                    <a:pt x="13191" y="0"/>
                  </a:cubicBezTo>
                  <a:lnTo>
                    <a:pt x="39574" y="0"/>
                  </a:lnTo>
                  <a:cubicBezTo>
                    <a:pt x="46855" y="0"/>
                    <a:pt x="52765" y="5910"/>
                    <a:pt x="52765" y="13191"/>
                  </a:cubicBezTo>
                  <a:lnTo>
                    <a:pt x="52765" y="171488"/>
                  </a:lnTo>
                  <a:cubicBezTo>
                    <a:pt x="52765" y="175128"/>
                    <a:pt x="49810" y="178062"/>
                    <a:pt x="46170" y="178062"/>
                  </a:cubicBezTo>
                  <a:close/>
                </a:path>
              </a:pathLst>
            </a:custGeom>
            <a:grpFill/>
            <a:ln w="213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205" name="Freihandform: Form 340">
              <a:extLst>
                <a:ext uri="{FF2B5EF4-FFF2-40B4-BE49-F238E27FC236}">
                  <a16:creationId xmlns:a16="http://schemas.microsoft.com/office/drawing/2014/main" id="{EAB20F8C-E07A-8858-039D-72B9AA55C628}"/>
                </a:ext>
              </a:extLst>
            </p:cNvPr>
            <p:cNvSpPr/>
            <p:nvPr/>
          </p:nvSpPr>
          <p:spPr>
            <a:xfrm>
              <a:off x="3519724" y="1626991"/>
              <a:ext cx="290193" cy="138490"/>
            </a:xfrm>
            <a:custGeom>
              <a:avLst/>
              <a:gdLst>
                <a:gd name="connsiteX0" fmla="*/ 6592 w 290193"/>
                <a:gd name="connsiteY0" fmla="*/ 138490 h 138490"/>
                <a:gd name="connsiteX1" fmla="*/ 2352 w 290193"/>
                <a:gd name="connsiteY1" fmla="*/ 136948 h 138490"/>
                <a:gd name="connsiteX2" fmla="*/ 1538 w 290193"/>
                <a:gd name="connsiteY2" fmla="*/ 127654 h 138490"/>
                <a:gd name="connsiteX3" fmla="*/ 29205 w 290193"/>
                <a:gd name="connsiteY3" fmla="*/ 94676 h 138490"/>
                <a:gd name="connsiteX4" fmla="*/ 37257 w 290193"/>
                <a:gd name="connsiteY4" fmla="*/ 93048 h 138490"/>
                <a:gd name="connsiteX5" fmla="*/ 96661 w 290193"/>
                <a:gd name="connsiteY5" fmla="*/ 123350 h 138490"/>
                <a:gd name="connsiteX6" fmla="*/ 139576 w 290193"/>
                <a:gd name="connsiteY6" fmla="*/ 58207 h 138490"/>
                <a:gd name="connsiteX7" fmla="*/ 148484 w 290193"/>
                <a:gd name="connsiteY7" fmla="*/ 56194 h 138490"/>
                <a:gd name="connsiteX8" fmla="*/ 190135 w 290193"/>
                <a:gd name="connsiteY8" fmla="*/ 81292 h 138490"/>
                <a:gd name="connsiteX9" fmla="*/ 279199 w 290193"/>
                <a:gd name="connsiteY9" fmla="*/ 1673 h 138490"/>
                <a:gd name="connsiteX10" fmla="*/ 288514 w 290193"/>
                <a:gd name="connsiteY10" fmla="*/ 2187 h 138490"/>
                <a:gd name="connsiteX11" fmla="*/ 288000 w 290193"/>
                <a:gd name="connsiteY11" fmla="*/ 11502 h 138490"/>
                <a:gd name="connsiteX12" fmla="*/ 195318 w 290193"/>
                <a:gd name="connsiteY12" fmla="*/ 94355 h 138490"/>
                <a:gd name="connsiteX13" fmla="*/ 187523 w 290193"/>
                <a:gd name="connsiteY13" fmla="*/ 95083 h 138490"/>
                <a:gd name="connsiteX14" fmla="*/ 147135 w 290193"/>
                <a:gd name="connsiteY14" fmla="*/ 70734 h 138490"/>
                <a:gd name="connsiteX15" fmla="*/ 104456 w 290193"/>
                <a:gd name="connsiteY15" fmla="*/ 135513 h 138490"/>
                <a:gd name="connsiteX16" fmla="*/ 95954 w 290193"/>
                <a:gd name="connsiteY16" fmla="*/ 137762 h 138490"/>
                <a:gd name="connsiteX17" fmla="*/ 35972 w 290193"/>
                <a:gd name="connsiteY17" fmla="*/ 107161 h 138490"/>
                <a:gd name="connsiteX18" fmla="*/ 11688 w 290193"/>
                <a:gd name="connsiteY18" fmla="*/ 136113 h 138490"/>
                <a:gd name="connsiteX19" fmla="*/ 6592 w 290193"/>
                <a:gd name="connsiteY19" fmla="*/ 138490 h 1384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290193" h="138490">
                  <a:moveTo>
                    <a:pt x="6592" y="138490"/>
                  </a:moveTo>
                  <a:cubicBezTo>
                    <a:pt x="5093" y="138490"/>
                    <a:pt x="3593" y="137976"/>
                    <a:pt x="2352" y="136948"/>
                  </a:cubicBezTo>
                  <a:cubicBezTo>
                    <a:pt x="-432" y="134614"/>
                    <a:pt x="-796" y="130438"/>
                    <a:pt x="1538" y="127654"/>
                  </a:cubicBezTo>
                  <a:lnTo>
                    <a:pt x="29205" y="94676"/>
                  </a:lnTo>
                  <a:cubicBezTo>
                    <a:pt x="31175" y="92320"/>
                    <a:pt x="34516" y="91635"/>
                    <a:pt x="37257" y="93048"/>
                  </a:cubicBezTo>
                  <a:lnTo>
                    <a:pt x="96661" y="123350"/>
                  </a:lnTo>
                  <a:lnTo>
                    <a:pt x="139576" y="58207"/>
                  </a:lnTo>
                  <a:cubicBezTo>
                    <a:pt x="141525" y="55252"/>
                    <a:pt x="145443" y="54352"/>
                    <a:pt x="148484" y="56194"/>
                  </a:cubicBezTo>
                  <a:lnTo>
                    <a:pt x="190135" y="81292"/>
                  </a:lnTo>
                  <a:lnTo>
                    <a:pt x="279199" y="1673"/>
                  </a:lnTo>
                  <a:cubicBezTo>
                    <a:pt x="281918" y="-747"/>
                    <a:pt x="286073" y="-512"/>
                    <a:pt x="288514" y="2187"/>
                  </a:cubicBezTo>
                  <a:cubicBezTo>
                    <a:pt x="290934" y="4906"/>
                    <a:pt x="290720" y="9082"/>
                    <a:pt x="288000" y="11502"/>
                  </a:cubicBezTo>
                  <a:lnTo>
                    <a:pt x="195318" y="94355"/>
                  </a:lnTo>
                  <a:cubicBezTo>
                    <a:pt x="193176" y="96282"/>
                    <a:pt x="190007" y="96582"/>
                    <a:pt x="187523" y="95083"/>
                  </a:cubicBezTo>
                  <a:lnTo>
                    <a:pt x="147135" y="70734"/>
                  </a:lnTo>
                  <a:lnTo>
                    <a:pt x="104456" y="135513"/>
                  </a:lnTo>
                  <a:cubicBezTo>
                    <a:pt x="102614" y="138319"/>
                    <a:pt x="98952" y="139282"/>
                    <a:pt x="95954" y="137762"/>
                  </a:cubicBezTo>
                  <a:lnTo>
                    <a:pt x="35972" y="107161"/>
                  </a:lnTo>
                  <a:lnTo>
                    <a:pt x="11688" y="136113"/>
                  </a:lnTo>
                  <a:cubicBezTo>
                    <a:pt x="10361" y="137676"/>
                    <a:pt x="8476" y="138490"/>
                    <a:pt x="6592" y="138490"/>
                  </a:cubicBezTo>
                  <a:close/>
                </a:path>
              </a:pathLst>
            </a:custGeom>
            <a:grpFill/>
            <a:ln w="213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206" name="Freihandform: Form 341">
              <a:extLst>
                <a:ext uri="{FF2B5EF4-FFF2-40B4-BE49-F238E27FC236}">
                  <a16:creationId xmlns:a16="http://schemas.microsoft.com/office/drawing/2014/main" id="{A5D748DD-EABB-BC19-32F3-75FE4CFC8271}"/>
                </a:ext>
              </a:extLst>
            </p:cNvPr>
            <p:cNvSpPr/>
            <p:nvPr/>
          </p:nvSpPr>
          <p:spPr>
            <a:xfrm>
              <a:off x="3763760" y="1626972"/>
              <a:ext cx="46169" cy="46169"/>
            </a:xfrm>
            <a:custGeom>
              <a:avLst/>
              <a:gdLst>
                <a:gd name="connsiteX0" fmla="*/ 39574 w 46169"/>
                <a:gd name="connsiteY0" fmla="*/ 46170 h 46169"/>
                <a:gd name="connsiteX1" fmla="*/ 32978 w 46169"/>
                <a:gd name="connsiteY1" fmla="*/ 39574 h 46169"/>
                <a:gd name="connsiteX2" fmla="*/ 32978 w 46169"/>
                <a:gd name="connsiteY2" fmla="*/ 13191 h 46169"/>
                <a:gd name="connsiteX3" fmla="*/ 6596 w 46169"/>
                <a:gd name="connsiteY3" fmla="*/ 13191 h 46169"/>
                <a:gd name="connsiteX4" fmla="*/ 0 w 46169"/>
                <a:gd name="connsiteY4" fmla="*/ 6596 h 46169"/>
                <a:gd name="connsiteX5" fmla="*/ 6596 w 46169"/>
                <a:gd name="connsiteY5" fmla="*/ 0 h 46169"/>
                <a:gd name="connsiteX6" fmla="*/ 39574 w 46169"/>
                <a:gd name="connsiteY6" fmla="*/ 0 h 46169"/>
                <a:gd name="connsiteX7" fmla="*/ 46170 w 46169"/>
                <a:gd name="connsiteY7" fmla="*/ 6596 h 46169"/>
                <a:gd name="connsiteX8" fmla="*/ 46170 w 46169"/>
                <a:gd name="connsiteY8" fmla="*/ 39574 h 46169"/>
                <a:gd name="connsiteX9" fmla="*/ 39574 w 46169"/>
                <a:gd name="connsiteY9" fmla="*/ 46170 h 461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6169" h="46169">
                  <a:moveTo>
                    <a:pt x="39574" y="46170"/>
                  </a:moveTo>
                  <a:cubicBezTo>
                    <a:pt x="35934" y="46170"/>
                    <a:pt x="32978" y="43215"/>
                    <a:pt x="32978" y="39574"/>
                  </a:cubicBezTo>
                  <a:lnTo>
                    <a:pt x="32978" y="13191"/>
                  </a:lnTo>
                  <a:lnTo>
                    <a:pt x="6596" y="13191"/>
                  </a:lnTo>
                  <a:cubicBezTo>
                    <a:pt x="2955" y="13191"/>
                    <a:pt x="0" y="10236"/>
                    <a:pt x="0" y="6596"/>
                  </a:cubicBezTo>
                  <a:cubicBezTo>
                    <a:pt x="0" y="2955"/>
                    <a:pt x="2955" y="0"/>
                    <a:pt x="6596" y="0"/>
                  </a:cubicBezTo>
                  <a:lnTo>
                    <a:pt x="39574" y="0"/>
                  </a:lnTo>
                  <a:cubicBezTo>
                    <a:pt x="43215" y="0"/>
                    <a:pt x="46170" y="2955"/>
                    <a:pt x="46170" y="6596"/>
                  </a:cubicBezTo>
                  <a:lnTo>
                    <a:pt x="46170" y="39574"/>
                  </a:lnTo>
                  <a:cubicBezTo>
                    <a:pt x="46170" y="43215"/>
                    <a:pt x="43215" y="46170"/>
                    <a:pt x="39574" y="46170"/>
                  </a:cubicBezTo>
                  <a:close/>
                </a:path>
              </a:pathLst>
            </a:custGeom>
            <a:grpFill/>
            <a:ln w="213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215" name="Grafik 354">
            <a:extLst>
              <a:ext uri="{FF2B5EF4-FFF2-40B4-BE49-F238E27FC236}">
                <a16:creationId xmlns:a16="http://schemas.microsoft.com/office/drawing/2014/main" id="{5CEFEA20-CAB0-3C7D-F8C4-17A42923CBF6}"/>
              </a:ext>
            </a:extLst>
          </p:cNvPr>
          <p:cNvGrpSpPr/>
          <p:nvPr/>
        </p:nvGrpSpPr>
        <p:grpSpPr>
          <a:xfrm>
            <a:off x="1358394" y="4342765"/>
            <a:ext cx="269645" cy="325281"/>
            <a:chOff x="7884742" y="4173558"/>
            <a:chExt cx="320517" cy="386650"/>
          </a:xfrm>
          <a:solidFill>
            <a:schemeClr val="tx2"/>
          </a:solidFill>
        </p:grpSpPr>
        <p:sp>
          <p:nvSpPr>
            <p:cNvPr id="219" name="Freihandform: Form 575">
              <a:extLst>
                <a:ext uri="{FF2B5EF4-FFF2-40B4-BE49-F238E27FC236}">
                  <a16:creationId xmlns:a16="http://schemas.microsoft.com/office/drawing/2014/main" id="{5D574CF3-6026-CD32-411C-207C17C935F0}"/>
                </a:ext>
              </a:extLst>
            </p:cNvPr>
            <p:cNvSpPr/>
            <p:nvPr/>
          </p:nvSpPr>
          <p:spPr>
            <a:xfrm>
              <a:off x="7884742" y="4173558"/>
              <a:ext cx="320517" cy="386650"/>
            </a:xfrm>
            <a:custGeom>
              <a:avLst/>
              <a:gdLst>
                <a:gd name="connsiteX0" fmla="*/ 160262 w 320517"/>
                <a:gd name="connsiteY0" fmla="*/ 386650 h 386650"/>
                <a:gd name="connsiteX1" fmla="*/ 155534 w 320517"/>
                <a:gd name="connsiteY1" fmla="*/ 384668 h 386650"/>
                <a:gd name="connsiteX2" fmla="*/ 46855 w 320517"/>
                <a:gd name="connsiteY2" fmla="*/ 275337 h 386650"/>
                <a:gd name="connsiteX3" fmla="*/ 46855 w 320517"/>
                <a:gd name="connsiteY3" fmla="*/ 275337 h 386650"/>
                <a:gd name="connsiteX4" fmla="*/ 46855 w 320517"/>
                <a:gd name="connsiteY4" fmla="*/ 47245 h 386650"/>
                <a:gd name="connsiteX5" fmla="*/ 160262 w 320517"/>
                <a:gd name="connsiteY5" fmla="*/ 0 h 386650"/>
                <a:gd name="connsiteX6" fmla="*/ 273643 w 320517"/>
                <a:gd name="connsiteY6" fmla="*/ 47245 h 386650"/>
                <a:gd name="connsiteX7" fmla="*/ 273643 w 320517"/>
                <a:gd name="connsiteY7" fmla="*/ 275337 h 386650"/>
                <a:gd name="connsiteX8" fmla="*/ 164989 w 320517"/>
                <a:gd name="connsiteY8" fmla="*/ 384668 h 386650"/>
                <a:gd name="connsiteX9" fmla="*/ 160262 w 320517"/>
                <a:gd name="connsiteY9" fmla="*/ 386650 h 386650"/>
                <a:gd name="connsiteX10" fmla="*/ 56310 w 320517"/>
                <a:gd name="connsiteY10" fmla="*/ 265959 h 386650"/>
                <a:gd name="connsiteX11" fmla="*/ 160262 w 320517"/>
                <a:gd name="connsiteY11" fmla="*/ 370538 h 386650"/>
                <a:gd name="connsiteX12" fmla="*/ 264214 w 320517"/>
                <a:gd name="connsiteY12" fmla="*/ 265959 h 386650"/>
                <a:gd name="connsiteX13" fmla="*/ 264214 w 320517"/>
                <a:gd name="connsiteY13" fmla="*/ 56648 h 386650"/>
                <a:gd name="connsiteX14" fmla="*/ 160262 w 320517"/>
                <a:gd name="connsiteY14" fmla="*/ 13317 h 386650"/>
                <a:gd name="connsiteX15" fmla="*/ 56310 w 320517"/>
                <a:gd name="connsiteY15" fmla="*/ 56648 h 386650"/>
                <a:gd name="connsiteX16" fmla="*/ 56310 w 320517"/>
                <a:gd name="connsiteY16" fmla="*/ 265959 h 386650"/>
                <a:gd name="connsiteX17" fmla="*/ 56310 w 320517"/>
                <a:gd name="connsiteY17" fmla="*/ 265959 h 3866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320517" h="386650">
                  <a:moveTo>
                    <a:pt x="160262" y="386650"/>
                  </a:moveTo>
                  <a:cubicBezTo>
                    <a:pt x="158483" y="386650"/>
                    <a:pt x="156780" y="385939"/>
                    <a:pt x="155534" y="384668"/>
                  </a:cubicBezTo>
                  <a:lnTo>
                    <a:pt x="46855" y="275337"/>
                  </a:lnTo>
                  <a:lnTo>
                    <a:pt x="46855" y="275337"/>
                  </a:lnTo>
                  <a:cubicBezTo>
                    <a:pt x="-15618" y="212462"/>
                    <a:pt x="-15618" y="110145"/>
                    <a:pt x="46855" y="47245"/>
                  </a:cubicBezTo>
                  <a:cubicBezTo>
                    <a:pt x="77151" y="16773"/>
                    <a:pt x="117410" y="0"/>
                    <a:pt x="160262" y="0"/>
                  </a:cubicBezTo>
                  <a:cubicBezTo>
                    <a:pt x="203088" y="0"/>
                    <a:pt x="243373" y="16773"/>
                    <a:pt x="273643" y="47245"/>
                  </a:cubicBezTo>
                  <a:cubicBezTo>
                    <a:pt x="336142" y="110119"/>
                    <a:pt x="336142" y="212462"/>
                    <a:pt x="273643" y="275337"/>
                  </a:cubicBezTo>
                  <a:lnTo>
                    <a:pt x="164989" y="384668"/>
                  </a:lnTo>
                  <a:cubicBezTo>
                    <a:pt x="163718" y="385939"/>
                    <a:pt x="162041" y="386650"/>
                    <a:pt x="160262" y="386650"/>
                  </a:cubicBezTo>
                  <a:close/>
                  <a:moveTo>
                    <a:pt x="56310" y="265959"/>
                  </a:moveTo>
                  <a:lnTo>
                    <a:pt x="160262" y="370538"/>
                  </a:lnTo>
                  <a:lnTo>
                    <a:pt x="264214" y="265959"/>
                  </a:lnTo>
                  <a:cubicBezTo>
                    <a:pt x="321553" y="208243"/>
                    <a:pt x="321553" y="114364"/>
                    <a:pt x="264214" y="56648"/>
                  </a:cubicBezTo>
                  <a:cubicBezTo>
                    <a:pt x="236434" y="28718"/>
                    <a:pt x="199530" y="13317"/>
                    <a:pt x="160262" y="13317"/>
                  </a:cubicBezTo>
                  <a:cubicBezTo>
                    <a:pt x="120994" y="13317"/>
                    <a:pt x="84089" y="28718"/>
                    <a:pt x="56310" y="56648"/>
                  </a:cubicBezTo>
                  <a:cubicBezTo>
                    <a:pt x="-1029" y="114338"/>
                    <a:pt x="-1029" y="208243"/>
                    <a:pt x="56310" y="265959"/>
                  </a:cubicBezTo>
                  <a:lnTo>
                    <a:pt x="56310" y="265959"/>
                  </a:lnTo>
                  <a:close/>
                </a:path>
              </a:pathLst>
            </a:custGeom>
            <a:grpFill/>
            <a:ln w="25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220" name="Freihandform: Form 576">
              <a:extLst>
                <a:ext uri="{FF2B5EF4-FFF2-40B4-BE49-F238E27FC236}">
                  <a16:creationId xmlns:a16="http://schemas.microsoft.com/office/drawing/2014/main" id="{97DC50B0-527D-1B86-981B-1689B425242B}"/>
                </a:ext>
              </a:extLst>
            </p:cNvPr>
            <p:cNvSpPr/>
            <p:nvPr/>
          </p:nvSpPr>
          <p:spPr>
            <a:xfrm>
              <a:off x="7970064" y="4260131"/>
              <a:ext cx="149854" cy="149879"/>
            </a:xfrm>
            <a:custGeom>
              <a:avLst/>
              <a:gdLst>
                <a:gd name="connsiteX0" fmla="*/ 74940 w 149854"/>
                <a:gd name="connsiteY0" fmla="*/ 149880 h 149879"/>
                <a:gd name="connsiteX1" fmla="*/ 21921 w 149854"/>
                <a:gd name="connsiteY1" fmla="*/ 127922 h 149879"/>
                <a:gd name="connsiteX2" fmla="*/ 21921 w 149854"/>
                <a:gd name="connsiteY2" fmla="*/ 21920 h 149879"/>
                <a:gd name="connsiteX3" fmla="*/ 127933 w 149854"/>
                <a:gd name="connsiteY3" fmla="*/ 21920 h 149879"/>
                <a:gd name="connsiteX4" fmla="*/ 127933 w 149854"/>
                <a:gd name="connsiteY4" fmla="*/ 127922 h 149879"/>
                <a:gd name="connsiteX5" fmla="*/ 127933 w 149854"/>
                <a:gd name="connsiteY5" fmla="*/ 127922 h 149879"/>
                <a:gd name="connsiteX6" fmla="*/ 74940 w 149854"/>
                <a:gd name="connsiteY6" fmla="*/ 149880 h 149879"/>
                <a:gd name="connsiteX7" fmla="*/ 74940 w 149854"/>
                <a:gd name="connsiteY7" fmla="*/ 13279 h 149879"/>
                <a:gd name="connsiteX8" fmla="*/ 31351 w 149854"/>
                <a:gd name="connsiteY8" fmla="*/ 31348 h 149879"/>
                <a:gd name="connsiteX9" fmla="*/ 31351 w 149854"/>
                <a:gd name="connsiteY9" fmla="*/ 118519 h 149879"/>
                <a:gd name="connsiteX10" fmla="*/ 74940 w 149854"/>
                <a:gd name="connsiteY10" fmla="*/ 136563 h 149879"/>
                <a:gd name="connsiteX11" fmla="*/ 118529 w 149854"/>
                <a:gd name="connsiteY11" fmla="*/ 118519 h 149879"/>
                <a:gd name="connsiteX12" fmla="*/ 118529 w 149854"/>
                <a:gd name="connsiteY12" fmla="*/ 118519 h 149879"/>
                <a:gd name="connsiteX13" fmla="*/ 118529 w 149854"/>
                <a:gd name="connsiteY13" fmla="*/ 31348 h 149879"/>
                <a:gd name="connsiteX14" fmla="*/ 74940 w 149854"/>
                <a:gd name="connsiteY14" fmla="*/ 13279 h 1498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49854" h="149879">
                  <a:moveTo>
                    <a:pt x="74940" y="149880"/>
                  </a:moveTo>
                  <a:cubicBezTo>
                    <a:pt x="54912" y="149880"/>
                    <a:pt x="36078" y="142078"/>
                    <a:pt x="21921" y="127922"/>
                  </a:cubicBezTo>
                  <a:cubicBezTo>
                    <a:pt x="-7307" y="98696"/>
                    <a:pt x="-7307" y="51146"/>
                    <a:pt x="21921" y="21920"/>
                  </a:cubicBezTo>
                  <a:cubicBezTo>
                    <a:pt x="51150" y="-7307"/>
                    <a:pt x="98704" y="-7307"/>
                    <a:pt x="127933" y="21920"/>
                  </a:cubicBezTo>
                  <a:cubicBezTo>
                    <a:pt x="157161" y="51146"/>
                    <a:pt x="157161" y="98696"/>
                    <a:pt x="127933" y="127922"/>
                  </a:cubicBezTo>
                  <a:lnTo>
                    <a:pt x="127933" y="127922"/>
                  </a:lnTo>
                  <a:cubicBezTo>
                    <a:pt x="113776" y="142078"/>
                    <a:pt x="94968" y="149880"/>
                    <a:pt x="74940" y="149880"/>
                  </a:cubicBezTo>
                  <a:close/>
                  <a:moveTo>
                    <a:pt x="74940" y="13279"/>
                  </a:moveTo>
                  <a:cubicBezTo>
                    <a:pt x="58470" y="13279"/>
                    <a:pt x="42992" y="19709"/>
                    <a:pt x="31351" y="31348"/>
                  </a:cubicBezTo>
                  <a:cubicBezTo>
                    <a:pt x="7307" y="55365"/>
                    <a:pt x="7307" y="94477"/>
                    <a:pt x="31351" y="118519"/>
                  </a:cubicBezTo>
                  <a:cubicBezTo>
                    <a:pt x="42992" y="130159"/>
                    <a:pt x="58470" y="136563"/>
                    <a:pt x="74940" y="136563"/>
                  </a:cubicBezTo>
                  <a:cubicBezTo>
                    <a:pt x="91409" y="136563"/>
                    <a:pt x="106888" y="130159"/>
                    <a:pt x="118529" y="118519"/>
                  </a:cubicBezTo>
                  <a:lnTo>
                    <a:pt x="118529" y="118519"/>
                  </a:lnTo>
                  <a:cubicBezTo>
                    <a:pt x="142547" y="94477"/>
                    <a:pt x="142547" y="55365"/>
                    <a:pt x="118529" y="31348"/>
                  </a:cubicBezTo>
                  <a:cubicBezTo>
                    <a:pt x="106888" y="19709"/>
                    <a:pt x="91409" y="13279"/>
                    <a:pt x="74940" y="13279"/>
                  </a:cubicBezTo>
                  <a:close/>
                </a:path>
              </a:pathLst>
            </a:custGeom>
            <a:grpFill/>
            <a:ln w="25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216" name="Gruppieren 880">
            <a:extLst>
              <a:ext uri="{FF2B5EF4-FFF2-40B4-BE49-F238E27FC236}">
                <a16:creationId xmlns:a16="http://schemas.microsoft.com/office/drawing/2014/main" id="{122A93C0-EAE9-6FC5-5816-B0ADB337AFD9}"/>
              </a:ext>
            </a:extLst>
          </p:cNvPr>
          <p:cNvGrpSpPr/>
          <p:nvPr/>
        </p:nvGrpSpPr>
        <p:grpSpPr>
          <a:xfrm>
            <a:off x="1353144" y="4648008"/>
            <a:ext cx="280127" cy="65557"/>
            <a:chOff x="7878502" y="4536390"/>
            <a:chExt cx="332977" cy="77925"/>
          </a:xfrm>
          <a:solidFill>
            <a:srgbClr val="9CB40D"/>
          </a:solidFill>
        </p:grpSpPr>
        <p:sp>
          <p:nvSpPr>
            <p:cNvPr id="217" name="Freihandform: Form 577">
              <a:extLst>
                <a:ext uri="{FF2B5EF4-FFF2-40B4-BE49-F238E27FC236}">
                  <a16:creationId xmlns:a16="http://schemas.microsoft.com/office/drawing/2014/main" id="{8365DD5A-13B3-C4FB-4DC5-FE4A05B4B984}"/>
                </a:ext>
              </a:extLst>
            </p:cNvPr>
            <p:cNvSpPr/>
            <p:nvPr/>
          </p:nvSpPr>
          <p:spPr>
            <a:xfrm>
              <a:off x="7931775" y="4536390"/>
              <a:ext cx="226432" cy="51291"/>
            </a:xfrm>
            <a:custGeom>
              <a:avLst/>
              <a:gdLst>
                <a:gd name="connsiteX0" fmla="*/ 113229 w 226432"/>
                <a:gd name="connsiteY0" fmla="*/ 51292 h 51291"/>
                <a:gd name="connsiteX1" fmla="*/ 0 w 226432"/>
                <a:gd name="connsiteY1" fmla="*/ 24632 h 51291"/>
                <a:gd name="connsiteX2" fmla="*/ 66006 w 226432"/>
                <a:gd name="connsiteY2" fmla="*/ 31 h 51291"/>
                <a:gd name="connsiteX3" fmla="*/ 73224 w 226432"/>
                <a:gd name="connsiteY3" fmla="*/ 6080 h 51291"/>
                <a:gd name="connsiteX4" fmla="*/ 67200 w 226432"/>
                <a:gd name="connsiteY4" fmla="*/ 13323 h 51291"/>
                <a:gd name="connsiteX5" fmla="*/ 14411 w 226432"/>
                <a:gd name="connsiteY5" fmla="*/ 24683 h 51291"/>
                <a:gd name="connsiteX6" fmla="*/ 113229 w 226432"/>
                <a:gd name="connsiteY6" fmla="*/ 37975 h 51291"/>
                <a:gd name="connsiteX7" fmla="*/ 212047 w 226432"/>
                <a:gd name="connsiteY7" fmla="*/ 24683 h 51291"/>
                <a:gd name="connsiteX8" fmla="*/ 159232 w 226432"/>
                <a:gd name="connsiteY8" fmla="*/ 13323 h 51291"/>
                <a:gd name="connsiteX9" fmla="*/ 153209 w 226432"/>
                <a:gd name="connsiteY9" fmla="*/ 6080 h 51291"/>
                <a:gd name="connsiteX10" fmla="*/ 160452 w 226432"/>
                <a:gd name="connsiteY10" fmla="*/ 31 h 51291"/>
                <a:gd name="connsiteX11" fmla="*/ 226433 w 226432"/>
                <a:gd name="connsiteY11" fmla="*/ 24632 h 51291"/>
                <a:gd name="connsiteX12" fmla="*/ 113229 w 226432"/>
                <a:gd name="connsiteY12" fmla="*/ 51292 h 512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26432" h="51291">
                  <a:moveTo>
                    <a:pt x="113229" y="51292"/>
                  </a:moveTo>
                  <a:cubicBezTo>
                    <a:pt x="94319" y="51292"/>
                    <a:pt x="0" y="49995"/>
                    <a:pt x="0" y="24632"/>
                  </a:cubicBezTo>
                  <a:cubicBezTo>
                    <a:pt x="0" y="20058"/>
                    <a:pt x="0" y="6055"/>
                    <a:pt x="66006" y="31"/>
                  </a:cubicBezTo>
                  <a:cubicBezTo>
                    <a:pt x="69717" y="-299"/>
                    <a:pt x="72894" y="2395"/>
                    <a:pt x="73224" y="6080"/>
                  </a:cubicBezTo>
                  <a:cubicBezTo>
                    <a:pt x="73580" y="9740"/>
                    <a:pt x="70860" y="12967"/>
                    <a:pt x="67200" y="13323"/>
                  </a:cubicBezTo>
                  <a:cubicBezTo>
                    <a:pt x="33244" y="16423"/>
                    <a:pt x="18757" y="21862"/>
                    <a:pt x="14411" y="24683"/>
                  </a:cubicBezTo>
                  <a:cubicBezTo>
                    <a:pt x="21959" y="29791"/>
                    <a:pt x="55306" y="37975"/>
                    <a:pt x="113229" y="37975"/>
                  </a:cubicBezTo>
                  <a:cubicBezTo>
                    <a:pt x="171127" y="37975"/>
                    <a:pt x="204473" y="29791"/>
                    <a:pt x="212047" y="24683"/>
                  </a:cubicBezTo>
                  <a:cubicBezTo>
                    <a:pt x="207676" y="21862"/>
                    <a:pt x="193214" y="16423"/>
                    <a:pt x="159232" y="13323"/>
                  </a:cubicBezTo>
                  <a:cubicBezTo>
                    <a:pt x="155572" y="12967"/>
                    <a:pt x="152878" y="9740"/>
                    <a:pt x="153209" y="6080"/>
                  </a:cubicBezTo>
                  <a:cubicBezTo>
                    <a:pt x="153539" y="2395"/>
                    <a:pt x="156742" y="-325"/>
                    <a:pt x="160452" y="31"/>
                  </a:cubicBezTo>
                  <a:cubicBezTo>
                    <a:pt x="226433" y="6055"/>
                    <a:pt x="226433" y="20058"/>
                    <a:pt x="226433" y="24632"/>
                  </a:cubicBezTo>
                  <a:cubicBezTo>
                    <a:pt x="226433" y="49995"/>
                    <a:pt x="132113" y="51292"/>
                    <a:pt x="113229" y="51292"/>
                  </a:cubicBezTo>
                  <a:close/>
                </a:path>
              </a:pathLst>
            </a:custGeom>
            <a:grpFill/>
            <a:ln w="25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218" name="Freihandform: Form 578">
              <a:extLst>
                <a:ext uri="{FF2B5EF4-FFF2-40B4-BE49-F238E27FC236}">
                  <a16:creationId xmlns:a16="http://schemas.microsoft.com/office/drawing/2014/main" id="{A0FE6AA8-A17F-B8D4-FCF5-70B808008D23}"/>
                </a:ext>
              </a:extLst>
            </p:cNvPr>
            <p:cNvSpPr/>
            <p:nvPr/>
          </p:nvSpPr>
          <p:spPr>
            <a:xfrm>
              <a:off x="7878502" y="4544044"/>
              <a:ext cx="332977" cy="70271"/>
            </a:xfrm>
            <a:custGeom>
              <a:avLst/>
              <a:gdLst>
                <a:gd name="connsiteX0" fmla="*/ 166502 w 332977"/>
                <a:gd name="connsiteY0" fmla="*/ 70271 h 70271"/>
                <a:gd name="connsiteX1" fmla="*/ 0 w 332977"/>
                <a:gd name="connsiteY1" fmla="*/ 27118 h 70271"/>
                <a:gd name="connsiteX2" fmla="*/ 31999 w 332977"/>
                <a:gd name="connsiteY2" fmla="*/ 357 h 70271"/>
                <a:gd name="connsiteX3" fmla="*/ 40412 w 332977"/>
                <a:gd name="connsiteY3" fmla="*/ 4525 h 70271"/>
                <a:gd name="connsiteX4" fmla="*/ 36244 w 332977"/>
                <a:gd name="connsiteY4" fmla="*/ 12962 h 70271"/>
                <a:gd name="connsiteX5" fmla="*/ 13318 w 332977"/>
                <a:gd name="connsiteY5" fmla="*/ 27118 h 70271"/>
                <a:gd name="connsiteX6" fmla="*/ 166502 w 332977"/>
                <a:gd name="connsiteY6" fmla="*/ 56954 h 70271"/>
                <a:gd name="connsiteX7" fmla="*/ 319660 w 332977"/>
                <a:gd name="connsiteY7" fmla="*/ 27118 h 70271"/>
                <a:gd name="connsiteX8" fmla="*/ 297954 w 332977"/>
                <a:gd name="connsiteY8" fmla="*/ 13395 h 70271"/>
                <a:gd name="connsiteX9" fmla="*/ 293862 w 332977"/>
                <a:gd name="connsiteY9" fmla="*/ 4906 h 70271"/>
                <a:gd name="connsiteX10" fmla="*/ 302326 w 332977"/>
                <a:gd name="connsiteY10" fmla="*/ 815 h 70271"/>
                <a:gd name="connsiteX11" fmla="*/ 332978 w 332977"/>
                <a:gd name="connsiteY11" fmla="*/ 27118 h 70271"/>
                <a:gd name="connsiteX12" fmla="*/ 166502 w 332977"/>
                <a:gd name="connsiteY12" fmla="*/ 70271 h 702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32977" h="70271">
                  <a:moveTo>
                    <a:pt x="166502" y="70271"/>
                  </a:moveTo>
                  <a:cubicBezTo>
                    <a:pt x="86314" y="70271"/>
                    <a:pt x="0" y="56751"/>
                    <a:pt x="0" y="27118"/>
                  </a:cubicBezTo>
                  <a:cubicBezTo>
                    <a:pt x="0" y="16342"/>
                    <a:pt x="10472" y="7600"/>
                    <a:pt x="31999" y="357"/>
                  </a:cubicBezTo>
                  <a:cubicBezTo>
                    <a:pt x="35506" y="-837"/>
                    <a:pt x="39243" y="1069"/>
                    <a:pt x="40412" y="4525"/>
                  </a:cubicBezTo>
                  <a:cubicBezTo>
                    <a:pt x="41606" y="8032"/>
                    <a:pt x="39726" y="11793"/>
                    <a:pt x="36244" y="12962"/>
                  </a:cubicBezTo>
                  <a:cubicBezTo>
                    <a:pt x="18096" y="19087"/>
                    <a:pt x="13318" y="24882"/>
                    <a:pt x="13318" y="27118"/>
                  </a:cubicBezTo>
                  <a:cubicBezTo>
                    <a:pt x="13318" y="37233"/>
                    <a:pt x="67378" y="56954"/>
                    <a:pt x="166502" y="56954"/>
                  </a:cubicBezTo>
                  <a:cubicBezTo>
                    <a:pt x="265599" y="56954"/>
                    <a:pt x="319660" y="37233"/>
                    <a:pt x="319660" y="27118"/>
                  </a:cubicBezTo>
                  <a:cubicBezTo>
                    <a:pt x="319660" y="24983"/>
                    <a:pt x="315136" y="19341"/>
                    <a:pt x="297954" y="13395"/>
                  </a:cubicBezTo>
                  <a:cubicBezTo>
                    <a:pt x="294498" y="12175"/>
                    <a:pt x="292642" y="8388"/>
                    <a:pt x="293862" y="4906"/>
                  </a:cubicBezTo>
                  <a:cubicBezTo>
                    <a:pt x="295057" y="1450"/>
                    <a:pt x="298844" y="-431"/>
                    <a:pt x="302326" y="815"/>
                  </a:cubicBezTo>
                  <a:cubicBezTo>
                    <a:pt x="322964" y="7956"/>
                    <a:pt x="332978" y="16571"/>
                    <a:pt x="332978" y="27118"/>
                  </a:cubicBezTo>
                  <a:cubicBezTo>
                    <a:pt x="332978" y="56751"/>
                    <a:pt x="246690" y="70271"/>
                    <a:pt x="166502" y="70271"/>
                  </a:cubicBezTo>
                  <a:close/>
                </a:path>
              </a:pathLst>
            </a:custGeom>
            <a:grpFill/>
            <a:ln w="25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222" name="Gruppieren 1322">
            <a:extLst>
              <a:ext uri="{FF2B5EF4-FFF2-40B4-BE49-F238E27FC236}">
                <a16:creationId xmlns:a16="http://schemas.microsoft.com/office/drawing/2014/main" id="{3078C2CE-B13A-5D5F-23CE-E1E3077C17BB}"/>
              </a:ext>
            </a:extLst>
          </p:cNvPr>
          <p:cNvGrpSpPr/>
          <p:nvPr/>
        </p:nvGrpSpPr>
        <p:grpSpPr>
          <a:xfrm>
            <a:off x="4419896" y="4342765"/>
            <a:ext cx="237273" cy="357286"/>
            <a:chOff x="2585042" y="3209902"/>
            <a:chExt cx="312806" cy="471022"/>
          </a:xfrm>
          <a:solidFill>
            <a:schemeClr val="tx2"/>
          </a:solidFill>
        </p:grpSpPr>
        <p:sp>
          <p:nvSpPr>
            <p:cNvPr id="237" name="Freihandform: Form 455">
              <a:extLst>
                <a:ext uri="{FF2B5EF4-FFF2-40B4-BE49-F238E27FC236}">
                  <a16:creationId xmlns:a16="http://schemas.microsoft.com/office/drawing/2014/main" id="{B37D60EF-620E-5913-02A4-80C4D2F07786}"/>
                </a:ext>
              </a:extLst>
            </p:cNvPr>
            <p:cNvSpPr/>
            <p:nvPr/>
          </p:nvSpPr>
          <p:spPr>
            <a:xfrm>
              <a:off x="2609538" y="3447335"/>
              <a:ext cx="263827" cy="52765"/>
            </a:xfrm>
            <a:custGeom>
              <a:avLst/>
              <a:gdLst>
                <a:gd name="connsiteX0" fmla="*/ 250636 w 263827"/>
                <a:gd name="connsiteY0" fmla="*/ 52765 h 52765"/>
                <a:gd name="connsiteX1" fmla="*/ 13191 w 263827"/>
                <a:gd name="connsiteY1" fmla="*/ 52765 h 52765"/>
                <a:gd name="connsiteX2" fmla="*/ 0 w 263827"/>
                <a:gd name="connsiteY2" fmla="*/ 39574 h 52765"/>
                <a:gd name="connsiteX3" fmla="*/ 0 w 263827"/>
                <a:gd name="connsiteY3" fmla="*/ 13191 h 52765"/>
                <a:gd name="connsiteX4" fmla="*/ 13191 w 263827"/>
                <a:gd name="connsiteY4" fmla="*/ 0 h 52765"/>
                <a:gd name="connsiteX5" fmla="*/ 250636 w 263827"/>
                <a:gd name="connsiteY5" fmla="*/ 0 h 52765"/>
                <a:gd name="connsiteX6" fmla="*/ 263827 w 263827"/>
                <a:gd name="connsiteY6" fmla="*/ 13191 h 52765"/>
                <a:gd name="connsiteX7" fmla="*/ 263827 w 263827"/>
                <a:gd name="connsiteY7" fmla="*/ 39574 h 52765"/>
                <a:gd name="connsiteX8" fmla="*/ 250636 w 263827"/>
                <a:gd name="connsiteY8" fmla="*/ 52765 h 52765"/>
                <a:gd name="connsiteX9" fmla="*/ 13191 w 263827"/>
                <a:gd name="connsiteY9" fmla="*/ 13191 h 52765"/>
                <a:gd name="connsiteX10" fmla="*/ 13191 w 263827"/>
                <a:gd name="connsiteY10" fmla="*/ 39574 h 52765"/>
                <a:gd name="connsiteX11" fmla="*/ 250636 w 263827"/>
                <a:gd name="connsiteY11" fmla="*/ 39574 h 52765"/>
                <a:gd name="connsiteX12" fmla="*/ 250636 w 263827"/>
                <a:gd name="connsiteY12" fmla="*/ 13191 h 52765"/>
                <a:gd name="connsiteX13" fmla="*/ 13191 w 263827"/>
                <a:gd name="connsiteY13" fmla="*/ 13191 h 527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63827" h="52765">
                  <a:moveTo>
                    <a:pt x="250636" y="52765"/>
                  </a:moveTo>
                  <a:lnTo>
                    <a:pt x="13191" y="52765"/>
                  </a:lnTo>
                  <a:cubicBezTo>
                    <a:pt x="5910" y="52765"/>
                    <a:pt x="0" y="46855"/>
                    <a:pt x="0" y="39574"/>
                  </a:cubicBezTo>
                  <a:lnTo>
                    <a:pt x="0" y="13191"/>
                  </a:lnTo>
                  <a:cubicBezTo>
                    <a:pt x="0" y="5910"/>
                    <a:pt x="5910" y="0"/>
                    <a:pt x="13191" y="0"/>
                  </a:cubicBezTo>
                  <a:lnTo>
                    <a:pt x="250636" y="0"/>
                  </a:lnTo>
                  <a:cubicBezTo>
                    <a:pt x="257917" y="0"/>
                    <a:pt x="263827" y="5910"/>
                    <a:pt x="263827" y="13191"/>
                  </a:cubicBezTo>
                  <a:lnTo>
                    <a:pt x="263827" y="39574"/>
                  </a:lnTo>
                  <a:cubicBezTo>
                    <a:pt x="263827" y="46855"/>
                    <a:pt x="257895" y="52765"/>
                    <a:pt x="250636" y="52765"/>
                  </a:cubicBezTo>
                  <a:close/>
                  <a:moveTo>
                    <a:pt x="13191" y="13191"/>
                  </a:moveTo>
                  <a:lnTo>
                    <a:pt x="13191" y="39574"/>
                  </a:lnTo>
                  <a:lnTo>
                    <a:pt x="250636" y="39574"/>
                  </a:lnTo>
                  <a:lnTo>
                    <a:pt x="250636" y="13191"/>
                  </a:lnTo>
                  <a:lnTo>
                    <a:pt x="13191" y="13191"/>
                  </a:lnTo>
                  <a:close/>
                </a:path>
              </a:pathLst>
            </a:custGeom>
            <a:grpFill/>
            <a:ln w="213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grpSp>
          <p:nvGrpSpPr>
            <p:cNvPr id="238" name="Grafik 319">
              <a:extLst>
                <a:ext uri="{FF2B5EF4-FFF2-40B4-BE49-F238E27FC236}">
                  <a16:creationId xmlns:a16="http://schemas.microsoft.com/office/drawing/2014/main" id="{35FD3725-5454-9DE8-317F-FFA63F945435}"/>
                </a:ext>
              </a:extLst>
            </p:cNvPr>
            <p:cNvGrpSpPr/>
            <p:nvPr/>
          </p:nvGrpSpPr>
          <p:grpSpPr>
            <a:xfrm>
              <a:off x="2585042" y="3312973"/>
              <a:ext cx="143197" cy="147553"/>
              <a:chOff x="2585042" y="3312973"/>
              <a:chExt cx="143197" cy="147553"/>
            </a:xfrm>
            <a:grpFill/>
          </p:grpSpPr>
          <p:sp>
            <p:nvSpPr>
              <p:cNvPr id="245" name="Freihandform: Form 457">
                <a:extLst>
                  <a:ext uri="{FF2B5EF4-FFF2-40B4-BE49-F238E27FC236}">
                    <a16:creationId xmlns:a16="http://schemas.microsoft.com/office/drawing/2014/main" id="{A06B95BC-71EB-AA8B-9F1B-FA3727B9A965}"/>
                  </a:ext>
                </a:extLst>
              </p:cNvPr>
              <p:cNvSpPr/>
              <p:nvPr/>
            </p:nvSpPr>
            <p:spPr>
              <a:xfrm>
                <a:off x="2640779" y="3347729"/>
                <a:ext cx="87460" cy="112797"/>
              </a:xfrm>
              <a:custGeom>
                <a:avLst/>
                <a:gdLst>
                  <a:gd name="connsiteX0" fmla="*/ 80886 w 87460"/>
                  <a:gd name="connsiteY0" fmla="*/ 112798 h 112797"/>
                  <a:gd name="connsiteX1" fmla="*/ 74290 w 87460"/>
                  <a:gd name="connsiteY1" fmla="*/ 106202 h 112797"/>
                  <a:gd name="connsiteX2" fmla="*/ 74290 w 87460"/>
                  <a:gd name="connsiteY2" fmla="*/ 50781 h 112797"/>
                  <a:gd name="connsiteX3" fmla="*/ 3451 w 87460"/>
                  <a:gd name="connsiteY3" fmla="*/ 12385 h 112797"/>
                  <a:gd name="connsiteX4" fmla="*/ 795 w 87460"/>
                  <a:gd name="connsiteY4" fmla="*/ 3455 h 112797"/>
                  <a:gd name="connsiteX5" fmla="*/ 9725 w 87460"/>
                  <a:gd name="connsiteY5" fmla="*/ 800 h 112797"/>
                  <a:gd name="connsiteX6" fmla="*/ 84012 w 87460"/>
                  <a:gd name="connsiteY6" fmla="*/ 41059 h 112797"/>
                  <a:gd name="connsiteX7" fmla="*/ 87460 w 87460"/>
                  <a:gd name="connsiteY7" fmla="*/ 46862 h 112797"/>
                  <a:gd name="connsiteX8" fmla="*/ 87460 w 87460"/>
                  <a:gd name="connsiteY8" fmla="*/ 106223 h 112797"/>
                  <a:gd name="connsiteX9" fmla="*/ 80886 w 87460"/>
                  <a:gd name="connsiteY9" fmla="*/ 112798 h 1127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87460" h="112797">
                    <a:moveTo>
                      <a:pt x="80886" y="112798"/>
                    </a:moveTo>
                    <a:cubicBezTo>
                      <a:pt x="77245" y="112798"/>
                      <a:pt x="74290" y="109842"/>
                      <a:pt x="74290" y="106202"/>
                    </a:cubicBezTo>
                    <a:lnTo>
                      <a:pt x="74290" y="50781"/>
                    </a:lnTo>
                    <a:lnTo>
                      <a:pt x="3451" y="12385"/>
                    </a:lnTo>
                    <a:cubicBezTo>
                      <a:pt x="260" y="10650"/>
                      <a:pt x="-939" y="6646"/>
                      <a:pt x="795" y="3455"/>
                    </a:cubicBezTo>
                    <a:cubicBezTo>
                      <a:pt x="2530" y="243"/>
                      <a:pt x="6535" y="-935"/>
                      <a:pt x="9725" y="800"/>
                    </a:cubicBezTo>
                    <a:lnTo>
                      <a:pt x="84012" y="41059"/>
                    </a:lnTo>
                    <a:cubicBezTo>
                      <a:pt x="86132" y="42215"/>
                      <a:pt x="87460" y="44443"/>
                      <a:pt x="87460" y="46862"/>
                    </a:cubicBezTo>
                    <a:lnTo>
                      <a:pt x="87460" y="106223"/>
                    </a:lnTo>
                    <a:cubicBezTo>
                      <a:pt x="87481" y="109864"/>
                      <a:pt x="84526" y="112798"/>
                      <a:pt x="80886" y="112798"/>
                    </a:cubicBezTo>
                    <a:close/>
                  </a:path>
                </a:pathLst>
              </a:custGeom>
              <a:grpFill/>
              <a:ln w="213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46" name="Freihandform: Form 458">
                <a:extLst>
                  <a:ext uri="{FF2B5EF4-FFF2-40B4-BE49-F238E27FC236}">
                    <a16:creationId xmlns:a16="http://schemas.microsoft.com/office/drawing/2014/main" id="{675BA9F4-162F-1188-1E41-C9BF1CFF9D65}"/>
                  </a:ext>
                </a:extLst>
              </p:cNvPr>
              <p:cNvSpPr/>
              <p:nvPr/>
            </p:nvSpPr>
            <p:spPr>
              <a:xfrm>
                <a:off x="2585042" y="3312973"/>
                <a:ext cx="113941" cy="88685"/>
              </a:xfrm>
              <a:custGeom>
                <a:avLst/>
                <a:gdLst>
                  <a:gd name="connsiteX0" fmla="*/ 72850 w 113941"/>
                  <a:gd name="connsiteY0" fmla="*/ 88685 h 88685"/>
                  <a:gd name="connsiteX1" fmla="*/ 71822 w 113941"/>
                  <a:gd name="connsiteY1" fmla="*/ 88664 h 88685"/>
                  <a:gd name="connsiteX2" fmla="*/ 598 w 113941"/>
                  <a:gd name="connsiteY2" fmla="*/ 11892 h 88685"/>
                  <a:gd name="connsiteX3" fmla="*/ 790 w 113941"/>
                  <a:gd name="connsiteY3" fmla="*/ 6003 h 88685"/>
                  <a:gd name="connsiteX4" fmla="*/ 5630 w 113941"/>
                  <a:gd name="connsiteY4" fmla="*/ 2620 h 88685"/>
                  <a:gd name="connsiteX5" fmla="*/ 108762 w 113941"/>
                  <a:gd name="connsiteY5" fmla="*/ 20651 h 88685"/>
                  <a:gd name="connsiteX6" fmla="*/ 106171 w 113941"/>
                  <a:gd name="connsiteY6" fmla="*/ 63287 h 88685"/>
                  <a:gd name="connsiteX7" fmla="*/ 72850 w 113941"/>
                  <a:gd name="connsiteY7" fmla="*/ 88685 h 88685"/>
                  <a:gd name="connsiteX8" fmla="*/ 16594 w 113941"/>
                  <a:gd name="connsiteY8" fmla="*/ 14591 h 88685"/>
                  <a:gd name="connsiteX9" fmla="*/ 72272 w 113941"/>
                  <a:gd name="connsiteY9" fmla="*/ 75494 h 88685"/>
                  <a:gd name="connsiteX10" fmla="*/ 94586 w 113941"/>
                  <a:gd name="connsiteY10" fmla="*/ 57013 h 88685"/>
                  <a:gd name="connsiteX11" fmla="*/ 97948 w 113941"/>
                  <a:gd name="connsiteY11" fmla="*/ 28232 h 88685"/>
                  <a:gd name="connsiteX12" fmla="*/ 16594 w 113941"/>
                  <a:gd name="connsiteY12" fmla="*/ 14591 h 886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13941" h="88685">
                    <a:moveTo>
                      <a:pt x="72850" y="88685"/>
                    </a:moveTo>
                    <a:cubicBezTo>
                      <a:pt x="72508" y="88685"/>
                      <a:pt x="72165" y="88685"/>
                      <a:pt x="71822" y="88664"/>
                    </a:cubicBezTo>
                    <a:cubicBezTo>
                      <a:pt x="36210" y="87443"/>
                      <a:pt x="4131" y="19623"/>
                      <a:pt x="598" y="11892"/>
                    </a:cubicBezTo>
                    <a:cubicBezTo>
                      <a:pt x="-259" y="10008"/>
                      <a:pt x="-195" y="7824"/>
                      <a:pt x="790" y="6003"/>
                    </a:cubicBezTo>
                    <a:cubicBezTo>
                      <a:pt x="1775" y="4183"/>
                      <a:pt x="3574" y="2941"/>
                      <a:pt x="5630" y="2620"/>
                    </a:cubicBezTo>
                    <a:cubicBezTo>
                      <a:pt x="14046" y="1399"/>
                      <a:pt x="88354" y="-8580"/>
                      <a:pt x="108762" y="20651"/>
                    </a:cubicBezTo>
                    <a:cubicBezTo>
                      <a:pt x="116450" y="31637"/>
                      <a:pt x="115572" y="46006"/>
                      <a:pt x="106171" y="63287"/>
                    </a:cubicBezTo>
                    <a:cubicBezTo>
                      <a:pt x="97027" y="80141"/>
                      <a:pt x="85827" y="88685"/>
                      <a:pt x="72850" y="88685"/>
                    </a:cubicBezTo>
                    <a:close/>
                    <a:moveTo>
                      <a:pt x="16594" y="14591"/>
                    </a:moveTo>
                    <a:cubicBezTo>
                      <a:pt x="27987" y="36712"/>
                      <a:pt x="51778" y="74787"/>
                      <a:pt x="72272" y="75494"/>
                    </a:cubicBezTo>
                    <a:cubicBezTo>
                      <a:pt x="80303" y="75793"/>
                      <a:pt x="87776" y="69540"/>
                      <a:pt x="94586" y="57013"/>
                    </a:cubicBezTo>
                    <a:cubicBezTo>
                      <a:pt x="101396" y="44464"/>
                      <a:pt x="102531" y="34785"/>
                      <a:pt x="97948" y="28232"/>
                    </a:cubicBezTo>
                    <a:cubicBezTo>
                      <a:pt x="86234" y="11400"/>
                      <a:pt x="41349" y="12107"/>
                      <a:pt x="16594" y="14591"/>
                    </a:cubicBezTo>
                    <a:close/>
                  </a:path>
                </a:pathLst>
              </a:custGeom>
              <a:grpFill/>
              <a:ln w="213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</p:grpSp>
        <p:grpSp>
          <p:nvGrpSpPr>
            <p:cNvPr id="239" name="Grafik 319">
              <a:extLst>
                <a:ext uri="{FF2B5EF4-FFF2-40B4-BE49-F238E27FC236}">
                  <a16:creationId xmlns:a16="http://schemas.microsoft.com/office/drawing/2014/main" id="{CC28C50E-C612-7F6E-77EE-6305AEB8D09C}"/>
                </a:ext>
              </a:extLst>
            </p:cNvPr>
            <p:cNvGrpSpPr/>
            <p:nvPr/>
          </p:nvGrpSpPr>
          <p:grpSpPr>
            <a:xfrm>
              <a:off x="2754643" y="3312970"/>
              <a:ext cx="143205" cy="147556"/>
              <a:chOff x="2754643" y="3312970"/>
              <a:chExt cx="143205" cy="147556"/>
            </a:xfrm>
            <a:grpFill/>
          </p:grpSpPr>
          <p:sp>
            <p:nvSpPr>
              <p:cNvPr id="243" name="Freihandform: Form 460">
                <a:extLst>
                  <a:ext uri="{FF2B5EF4-FFF2-40B4-BE49-F238E27FC236}">
                    <a16:creationId xmlns:a16="http://schemas.microsoft.com/office/drawing/2014/main" id="{6439C48C-6092-BA1C-4283-FCA83C44810B}"/>
                  </a:ext>
                </a:extLst>
              </p:cNvPr>
              <p:cNvSpPr/>
              <p:nvPr/>
            </p:nvSpPr>
            <p:spPr>
              <a:xfrm>
                <a:off x="2754643" y="3347707"/>
                <a:ext cx="87464" cy="112819"/>
              </a:xfrm>
              <a:custGeom>
                <a:avLst/>
                <a:gdLst>
                  <a:gd name="connsiteX0" fmla="*/ 6596 w 87464"/>
                  <a:gd name="connsiteY0" fmla="*/ 112819 h 112819"/>
                  <a:gd name="connsiteX1" fmla="*/ 0 w 87464"/>
                  <a:gd name="connsiteY1" fmla="*/ 106223 h 112819"/>
                  <a:gd name="connsiteX2" fmla="*/ 0 w 87464"/>
                  <a:gd name="connsiteY2" fmla="*/ 46862 h 112819"/>
                  <a:gd name="connsiteX3" fmla="*/ 3448 w 87464"/>
                  <a:gd name="connsiteY3" fmla="*/ 41059 h 112819"/>
                  <a:gd name="connsiteX4" fmla="*/ 77735 w 87464"/>
                  <a:gd name="connsiteY4" fmla="*/ 800 h 112819"/>
                  <a:gd name="connsiteX5" fmla="*/ 86665 w 87464"/>
                  <a:gd name="connsiteY5" fmla="*/ 3455 h 112819"/>
                  <a:gd name="connsiteX6" fmla="*/ 84009 w 87464"/>
                  <a:gd name="connsiteY6" fmla="*/ 12385 h 112819"/>
                  <a:gd name="connsiteX7" fmla="*/ 13170 w 87464"/>
                  <a:gd name="connsiteY7" fmla="*/ 50781 h 112819"/>
                  <a:gd name="connsiteX8" fmla="*/ 13170 w 87464"/>
                  <a:gd name="connsiteY8" fmla="*/ 106202 h 112819"/>
                  <a:gd name="connsiteX9" fmla="*/ 6596 w 87464"/>
                  <a:gd name="connsiteY9" fmla="*/ 112819 h 1128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87464" h="112819">
                    <a:moveTo>
                      <a:pt x="6596" y="112819"/>
                    </a:moveTo>
                    <a:cubicBezTo>
                      <a:pt x="2955" y="112819"/>
                      <a:pt x="0" y="109864"/>
                      <a:pt x="0" y="106223"/>
                    </a:cubicBezTo>
                    <a:lnTo>
                      <a:pt x="0" y="46862"/>
                    </a:lnTo>
                    <a:cubicBezTo>
                      <a:pt x="0" y="44443"/>
                      <a:pt x="1328" y="42215"/>
                      <a:pt x="3448" y="41059"/>
                    </a:cubicBezTo>
                    <a:lnTo>
                      <a:pt x="77735" y="800"/>
                    </a:lnTo>
                    <a:cubicBezTo>
                      <a:pt x="80925" y="-935"/>
                      <a:pt x="84951" y="243"/>
                      <a:pt x="86665" y="3455"/>
                    </a:cubicBezTo>
                    <a:cubicBezTo>
                      <a:pt x="88399" y="6646"/>
                      <a:pt x="87221" y="10672"/>
                      <a:pt x="84009" y="12385"/>
                    </a:cubicBezTo>
                    <a:lnTo>
                      <a:pt x="13170" y="50781"/>
                    </a:lnTo>
                    <a:lnTo>
                      <a:pt x="13170" y="106202"/>
                    </a:lnTo>
                    <a:cubicBezTo>
                      <a:pt x="13191" y="109885"/>
                      <a:pt x="10236" y="112819"/>
                      <a:pt x="6596" y="112819"/>
                    </a:cubicBezTo>
                    <a:close/>
                  </a:path>
                </a:pathLst>
              </a:custGeom>
              <a:grpFill/>
              <a:ln w="213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44" name="Freihandform: Form 461">
                <a:extLst>
                  <a:ext uri="{FF2B5EF4-FFF2-40B4-BE49-F238E27FC236}">
                    <a16:creationId xmlns:a16="http://schemas.microsoft.com/office/drawing/2014/main" id="{E3385EA7-CC4E-71F4-87BE-4F0D9513AEB3}"/>
                  </a:ext>
                </a:extLst>
              </p:cNvPr>
              <p:cNvSpPr/>
              <p:nvPr/>
            </p:nvSpPr>
            <p:spPr>
              <a:xfrm>
                <a:off x="2783907" y="3312970"/>
                <a:ext cx="113940" cy="88688"/>
              </a:xfrm>
              <a:custGeom>
                <a:avLst/>
                <a:gdLst>
                  <a:gd name="connsiteX0" fmla="*/ 41104 w 113940"/>
                  <a:gd name="connsiteY0" fmla="*/ 88688 h 88688"/>
                  <a:gd name="connsiteX1" fmla="*/ 7761 w 113940"/>
                  <a:gd name="connsiteY1" fmla="*/ 63312 h 88688"/>
                  <a:gd name="connsiteX2" fmla="*/ 5170 w 113940"/>
                  <a:gd name="connsiteY2" fmla="*/ 20676 h 88688"/>
                  <a:gd name="connsiteX3" fmla="*/ 108302 w 113940"/>
                  <a:gd name="connsiteY3" fmla="*/ 2645 h 88688"/>
                  <a:gd name="connsiteX4" fmla="*/ 113142 w 113940"/>
                  <a:gd name="connsiteY4" fmla="*/ 6028 h 88688"/>
                  <a:gd name="connsiteX5" fmla="*/ 113335 w 113940"/>
                  <a:gd name="connsiteY5" fmla="*/ 11917 h 88688"/>
                  <a:gd name="connsiteX6" fmla="*/ 42110 w 113940"/>
                  <a:gd name="connsiteY6" fmla="*/ 88688 h 88688"/>
                  <a:gd name="connsiteX7" fmla="*/ 41104 w 113940"/>
                  <a:gd name="connsiteY7" fmla="*/ 88688 h 88688"/>
                  <a:gd name="connsiteX8" fmla="*/ 71084 w 113940"/>
                  <a:gd name="connsiteY8" fmla="*/ 13266 h 88688"/>
                  <a:gd name="connsiteX9" fmla="*/ 15984 w 113940"/>
                  <a:gd name="connsiteY9" fmla="*/ 28214 h 88688"/>
                  <a:gd name="connsiteX10" fmla="*/ 19346 w 113940"/>
                  <a:gd name="connsiteY10" fmla="*/ 56995 h 88688"/>
                  <a:gd name="connsiteX11" fmla="*/ 41660 w 113940"/>
                  <a:gd name="connsiteY11" fmla="*/ 75475 h 88688"/>
                  <a:gd name="connsiteX12" fmla="*/ 97338 w 113940"/>
                  <a:gd name="connsiteY12" fmla="*/ 14573 h 88688"/>
                  <a:gd name="connsiteX13" fmla="*/ 71084 w 113940"/>
                  <a:gd name="connsiteY13" fmla="*/ 13266 h 886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13940" h="88688">
                    <a:moveTo>
                      <a:pt x="41104" y="88688"/>
                    </a:moveTo>
                    <a:cubicBezTo>
                      <a:pt x="28126" y="88688"/>
                      <a:pt x="16927" y="80144"/>
                      <a:pt x="7761" y="63312"/>
                    </a:cubicBezTo>
                    <a:cubicBezTo>
                      <a:pt x="-1640" y="46009"/>
                      <a:pt x="-2496" y="31661"/>
                      <a:pt x="5170" y="20676"/>
                    </a:cubicBezTo>
                    <a:cubicBezTo>
                      <a:pt x="25578" y="-8577"/>
                      <a:pt x="99908" y="1381"/>
                      <a:pt x="108302" y="2645"/>
                    </a:cubicBezTo>
                    <a:cubicBezTo>
                      <a:pt x="110358" y="2944"/>
                      <a:pt x="112157" y="4208"/>
                      <a:pt x="113142" y="6028"/>
                    </a:cubicBezTo>
                    <a:cubicBezTo>
                      <a:pt x="114127" y="7849"/>
                      <a:pt x="114213" y="10033"/>
                      <a:pt x="113335" y="11917"/>
                    </a:cubicBezTo>
                    <a:cubicBezTo>
                      <a:pt x="109801" y="19648"/>
                      <a:pt x="77744" y="87468"/>
                      <a:pt x="42110" y="88688"/>
                    </a:cubicBezTo>
                    <a:cubicBezTo>
                      <a:pt x="41767" y="88667"/>
                      <a:pt x="41425" y="88688"/>
                      <a:pt x="41104" y="88688"/>
                    </a:cubicBezTo>
                    <a:close/>
                    <a:moveTo>
                      <a:pt x="71084" y="13266"/>
                    </a:moveTo>
                    <a:cubicBezTo>
                      <a:pt x="48663" y="13266"/>
                      <a:pt x="24207" y="16436"/>
                      <a:pt x="15984" y="28214"/>
                    </a:cubicBezTo>
                    <a:cubicBezTo>
                      <a:pt x="11402" y="34767"/>
                      <a:pt x="12537" y="44467"/>
                      <a:pt x="19346" y="56995"/>
                    </a:cubicBezTo>
                    <a:cubicBezTo>
                      <a:pt x="26156" y="69544"/>
                      <a:pt x="33587" y="75647"/>
                      <a:pt x="41660" y="75475"/>
                    </a:cubicBezTo>
                    <a:cubicBezTo>
                      <a:pt x="62154" y="74790"/>
                      <a:pt x="85946" y="36694"/>
                      <a:pt x="97338" y="14573"/>
                    </a:cubicBezTo>
                    <a:cubicBezTo>
                      <a:pt x="89929" y="13845"/>
                      <a:pt x="80678" y="13266"/>
                      <a:pt x="71084" y="13266"/>
                    </a:cubicBezTo>
                    <a:close/>
                  </a:path>
                </a:pathLst>
              </a:custGeom>
              <a:grpFill/>
              <a:ln w="213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240" name="Freihandform: Form 462">
              <a:extLst>
                <a:ext uri="{FF2B5EF4-FFF2-40B4-BE49-F238E27FC236}">
                  <a16:creationId xmlns:a16="http://schemas.microsoft.com/office/drawing/2014/main" id="{8ED04E4E-61D4-43D6-D2B9-3D519A61BFEA}"/>
                </a:ext>
              </a:extLst>
            </p:cNvPr>
            <p:cNvSpPr/>
            <p:nvPr/>
          </p:nvSpPr>
          <p:spPr>
            <a:xfrm>
              <a:off x="2682099" y="3209902"/>
              <a:ext cx="118726" cy="145115"/>
            </a:xfrm>
            <a:custGeom>
              <a:avLst/>
              <a:gdLst>
                <a:gd name="connsiteX0" fmla="*/ 79140 w 118726"/>
                <a:gd name="connsiteY0" fmla="*/ 145115 h 145115"/>
                <a:gd name="connsiteX1" fmla="*/ 72544 w 118726"/>
                <a:gd name="connsiteY1" fmla="*/ 138520 h 145115"/>
                <a:gd name="connsiteX2" fmla="*/ 72544 w 118726"/>
                <a:gd name="connsiteY2" fmla="*/ 52776 h 145115"/>
                <a:gd name="connsiteX3" fmla="*/ 79140 w 118726"/>
                <a:gd name="connsiteY3" fmla="*/ 46180 h 145115"/>
                <a:gd name="connsiteX4" fmla="*/ 94558 w 118726"/>
                <a:gd name="connsiteY4" fmla="*/ 46180 h 145115"/>
                <a:gd name="connsiteX5" fmla="*/ 59353 w 118726"/>
                <a:gd name="connsiteY5" fmla="*/ 15365 h 145115"/>
                <a:gd name="connsiteX6" fmla="*/ 24147 w 118726"/>
                <a:gd name="connsiteY6" fmla="*/ 46180 h 145115"/>
                <a:gd name="connsiteX7" fmla="*/ 39566 w 118726"/>
                <a:gd name="connsiteY7" fmla="*/ 46180 h 145115"/>
                <a:gd name="connsiteX8" fmla="*/ 46161 w 118726"/>
                <a:gd name="connsiteY8" fmla="*/ 52776 h 145115"/>
                <a:gd name="connsiteX9" fmla="*/ 46161 w 118726"/>
                <a:gd name="connsiteY9" fmla="*/ 79159 h 145115"/>
                <a:gd name="connsiteX10" fmla="*/ 39566 w 118726"/>
                <a:gd name="connsiteY10" fmla="*/ 85754 h 145115"/>
                <a:gd name="connsiteX11" fmla="*/ 32970 w 118726"/>
                <a:gd name="connsiteY11" fmla="*/ 79159 h 145115"/>
                <a:gd name="connsiteX12" fmla="*/ 32970 w 118726"/>
                <a:gd name="connsiteY12" fmla="*/ 59372 h 145115"/>
                <a:gd name="connsiteX13" fmla="*/ 6587 w 118726"/>
                <a:gd name="connsiteY13" fmla="*/ 59372 h 145115"/>
                <a:gd name="connsiteX14" fmla="*/ 420 w 118726"/>
                <a:gd name="connsiteY14" fmla="*/ 55089 h 145115"/>
                <a:gd name="connsiteX15" fmla="*/ 2262 w 118726"/>
                <a:gd name="connsiteY15" fmla="*/ 47808 h 145115"/>
                <a:gd name="connsiteX16" fmla="*/ 55027 w 118726"/>
                <a:gd name="connsiteY16" fmla="*/ 1638 h 145115"/>
                <a:gd name="connsiteX17" fmla="*/ 63700 w 118726"/>
                <a:gd name="connsiteY17" fmla="*/ 1638 h 145115"/>
                <a:gd name="connsiteX18" fmla="*/ 116465 w 118726"/>
                <a:gd name="connsiteY18" fmla="*/ 47808 h 145115"/>
                <a:gd name="connsiteX19" fmla="*/ 118307 w 118726"/>
                <a:gd name="connsiteY19" fmla="*/ 55089 h 145115"/>
                <a:gd name="connsiteX20" fmla="*/ 112140 w 118726"/>
                <a:gd name="connsiteY20" fmla="*/ 59372 h 145115"/>
                <a:gd name="connsiteX21" fmla="*/ 85757 w 118726"/>
                <a:gd name="connsiteY21" fmla="*/ 59372 h 145115"/>
                <a:gd name="connsiteX22" fmla="*/ 85757 w 118726"/>
                <a:gd name="connsiteY22" fmla="*/ 138520 h 145115"/>
                <a:gd name="connsiteX23" fmla="*/ 79140 w 118726"/>
                <a:gd name="connsiteY23" fmla="*/ 145115 h 1451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18726" h="145115">
                  <a:moveTo>
                    <a:pt x="79140" y="145115"/>
                  </a:moveTo>
                  <a:cubicBezTo>
                    <a:pt x="75499" y="145115"/>
                    <a:pt x="72544" y="142160"/>
                    <a:pt x="72544" y="138520"/>
                  </a:cubicBezTo>
                  <a:lnTo>
                    <a:pt x="72544" y="52776"/>
                  </a:lnTo>
                  <a:cubicBezTo>
                    <a:pt x="72544" y="49136"/>
                    <a:pt x="75499" y="46180"/>
                    <a:pt x="79140" y="46180"/>
                  </a:cubicBezTo>
                  <a:lnTo>
                    <a:pt x="94558" y="46180"/>
                  </a:lnTo>
                  <a:lnTo>
                    <a:pt x="59353" y="15365"/>
                  </a:lnTo>
                  <a:lnTo>
                    <a:pt x="24147" y="46180"/>
                  </a:lnTo>
                  <a:lnTo>
                    <a:pt x="39566" y="46180"/>
                  </a:lnTo>
                  <a:cubicBezTo>
                    <a:pt x="43206" y="46180"/>
                    <a:pt x="46161" y="49136"/>
                    <a:pt x="46161" y="52776"/>
                  </a:cubicBezTo>
                  <a:lnTo>
                    <a:pt x="46161" y="79159"/>
                  </a:lnTo>
                  <a:cubicBezTo>
                    <a:pt x="46161" y="82799"/>
                    <a:pt x="43206" y="85754"/>
                    <a:pt x="39566" y="85754"/>
                  </a:cubicBezTo>
                  <a:cubicBezTo>
                    <a:pt x="35925" y="85754"/>
                    <a:pt x="32970" y="82799"/>
                    <a:pt x="32970" y="79159"/>
                  </a:cubicBezTo>
                  <a:lnTo>
                    <a:pt x="32970" y="59372"/>
                  </a:lnTo>
                  <a:lnTo>
                    <a:pt x="6587" y="59372"/>
                  </a:lnTo>
                  <a:cubicBezTo>
                    <a:pt x="3846" y="59372"/>
                    <a:pt x="1384" y="57680"/>
                    <a:pt x="420" y="55089"/>
                  </a:cubicBezTo>
                  <a:cubicBezTo>
                    <a:pt x="-544" y="52519"/>
                    <a:pt x="184" y="49607"/>
                    <a:pt x="2262" y="47808"/>
                  </a:cubicBezTo>
                  <a:lnTo>
                    <a:pt x="55027" y="1638"/>
                  </a:lnTo>
                  <a:cubicBezTo>
                    <a:pt x="57511" y="-546"/>
                    <a:pt x="61216" y="-546"/>
                    <a:pt x="63700" y="1638"/>
                  </a:cubicBezTo>
                  <a:lnTo>
                    <a:pt x="116465" y="47808"/>
                  </a:lnTo>
                  <a:cubicBezTo>
                    <a:pt x="118542" y="49628"/>
                    <a:pt x="119271" y="52519"/>
                    <a:pt x="118307" y="55089"/>
                  </a:cubicBezTo>
                  <a:cubicBezTo>
                    <a:pt x="117343" y="57659"/>
                    <a:pt x="114881" y="59372"/>
                    <a:pt x="112140" y="59372"/>
                  </a:cubicBezTo>
                  <a:lnTo>
                    <a:pt x="85757" y="59372"/>
                  </a:lnTo>
                  <a:lnTo>
                    <a:pt x="85757" y="138520"/>
                  </a:lnTo>
                  <a:cubicBezTo>
                    <a:pt x="85735" y="142160"/>
                    <a:pt x="82780" y="145115"/>
                    <a:pt x="79140" y="145115"/>
                  </a:cubicBezTo>
                  <a:close/>
                </a:path>
              </a:pathLst>
            </a:custGeom>
            <a:grpFill/>
            <a:ln w="213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241" name="Freihandform: Form 463">
              <a:extLst>
                <a:ext uri="{FF2B5EF4-FFF2-40B4-BE49-F238E27FC236}">
                  <a16:creationId xmlns:a16="http://schemas.microsoft.com/office/drawing/2014/main" id="{D78A6DC0-E586-DF45-CC66-F3457C7711A1}"/>
                </a:ext>
              </a:extLst>
            </p:cNvPr>
            <p:cNvSpPr/>
            <p:nvPr/>
          </p:nvSpPr>
          <p:spPr>
            <a:xfrm>
              <a:off x="2715069" y="3308847"/>
              <a:ext cx="13191" cy="19787"/>
            </a:xfrm>
            <a:custGeom>
              <a:avLst/>
              <a:gdLst>
                <a:gd name="connsiteX0" fmla="*/ 6596 w 13191"/>
                <a:gd name="connsiteY0" fmla="*/ 19787 h 19787"/>
                <a:gd name="connsiteX1" fmla="*/ 0 w 13191"/>
                <a:gd name="connsiteY1" fmla="*/ 13191 h 19787"/>
                <a:gd name="connsiteX2" fmla="*/ 0 w 13191"/>
                <a:gd name="connsiteY2" fmla="*/ 6596 h 19787"/>
                <a:gd name="connsiteX3" fmla="*/ 6596 w 13191"/>
                <a:gd name="connsiteY3" fmla="*/ 0 h 19787"/>
                <a:gd name="connsiteX4" fmla="*/ 13191 w 13191"/>
                <a:gd name="connsiteY4" fmla="*/ 6596 h 19787"/>
                <a:gd name="connsiteX5" fmla="*/ 13191 w 13191"/>
                <a:gd name="connsiteY5" fmla="*/ 13191 h 19787"/>
                <a:gd name="connsiteX6" fmla="*/ 6596 w 13191"/>
                <a:gd name="connsiteY6" fmla="*/ 19787 h 197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3191" h="19787">
                  <a:moveTo>
                    <a:pt x="6596" y="19787"/>
                  </a:moveTo>
                  <a:cubicBezTo>
                    <a:pt x="2955" y="19787"/>
                    <a:pt x="0" y="16832"/>
                    <a:pt x="0" y="13191"/>
                  </a:cubicBezTo>
                  <a:lnTo>
                    <a:pt x="0" y="6596"/>
                  </a:lnTo>
                  <a:cubicBezTo>
                    <a:pt x="0" y="2955"/>
                    <a:pt x="2955" y="0"/>
                    <a:pt x="6596" y="0"/>
                  </a:cubicBezTo>
                  <a:cubicBezTo>
                    <a:pt x="10236" y="0"/>
                    <a:pt x="13191" y="2955"/>
                    <a:pt x="13191" y="6596"/>
                  </a:cubicBezTo>
                  <a:lnTo>
                    <a:pt x="13191" y="13191"/>
                  </a:lnTo>
                  <a:cubicBezTo>
                    <a:pt x="13191" y="16832"/>
                    <a:pt x="10236" y="19787"/>
                    <a:pt x="6596" y="19787"/>
                  </a:cubicBezTo>
                  <a:close/>
                </a:path>
              </a:pathLst>
            </a:custGeom>
            <a:grpFill/>
            <a:ln w="213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242" name="Freihandform: Form 464">
              <a:extLst>
                <a:ext uri="{FF2B5EF4-FFF2-40B4-BE49-F238E27FC236}">
                  <a16:creationId xmlns:a16="http://schemas.microsoft.com/office/drawing/2014/main" id="{DAB11723-5E64-808A-81ED-1D8B566086BF}"/>
                </a:ext>
              </a:extLst>
            </p:cNvPr>
            <p:cNvSpPr/>
            <p:nvPr/>
          </p:nvSpPr>
          <p:spPr>
            <a:xfrm>
              <a:off x="2642515" y="3486909"/>
              <a:ext cx="204467" cy="194015"/>
            </a:xfrm>
            <a:custGeom>
              <a:avLst/>
              <a:gdLst>
                <a:gd name="connsiteX0" fmla="*/ 108166 w 204467"/>
                <a:gd name="connsiteY0" fmla="*/ 194016 h 194015"/>
                <a:gd name="connsiteX1" fmla="*/ 104247 w 204467"/>
                <a:gd name="connsiteY1" fmla="*/ 193973 h 194015"/>
                <a:gd name="connsiteX2" fmla="*/ 98936 w 204467"/>
                <a:gd name="connsiteY2" fmla="*/ 193930 h 194015"/>
                <a:gd name="connsiteX3" fmla="*/ 41631 w 204467"/>
                <a:gd name="connsiteY3" fmla="*/ 187827 h 194015"/>
                <a:gd name="connsiteX4" fmla="*/ 17946 w 204467"/>
                <a:gd name="connsiteY4" fmla="*/ 162536 h 194015"/>
                <a:gd name="connsiteX5" fmla="*/ 44 w 204467"/>
                <a:gd name="connsiteY5" fmla="*/ 7345 h 194015"/>
                <a:gd name="connsiteX6" fmla="*/ 1671 w 204467"/>
                <a:gd name="connsiteY6" fmla="*/ 2206 h 194015"/>
                <a:gd name="connsiteX7" fmla="*/ 6596 w 204467"/>
                <a:gd name="connsiteY7" fmla="*/ 0 h 194015"/>
                <a:gd name="connsiteX8" fmla="*/ 197871 w 204467"/>
                <a:gd name="connsiteY8" fmla="*/ 0 h 194015"/>
                <a:gd name="connsiteX9" fmla="*/ 202796 w 204467"/>
                <a:gd name="connsiteY9" fmla="*/ 2206 h 194015"/>
                <a:gd name="connsiteX10" fmla="*/ 204424 w 204467"/>
                <a:gd name="connsiteY10" fmla="*/ 7345 h 194015"/>
                <a:gd name="connsiteX11" fmla="*/ 198663 w 204467"/>
                <a:gd name="connsiteY11" fmla="*/ 57348 h 194015"/>
                <a:gd name="connsiteX12" fmla="*/ 191361 w 204467"/>
                <a:gd name="connsiteY12" fmla="*/ 63151 h 194015"/>
                <a:gd name="connsiteX13" fmla="*/ 185558 w 204467"/>
                <a:gd name="connsiteY13" fmla="*/ 55849 h 194015"/>
                <a:gd name="connsiteX14" fmla="*/ 190483 w 204467"/>
                <a:gd name="connsiteY14" fmla="*/ 13213 h 194015"/>
                <a:gd name="connsiteX15" fmla="*/ 14006 w 204467"/>
                <a:gd name="connsiteY15" fmla="*/ 13213 h 194015"/>
                <a:gd name="connsiteX16" fmla="*/ 31052 w 204467"/>
                <a:gd name="connsiteY16" fmla="*/ 161037 h 194015"/>
                <a:gd name="connsiteX17" fmla="*/ 43965 w 204467"/>
                <a:gd name="connsiteY17" fmla="*/ 174850 h 194015"/>
                <a:gd name="connsiteX18" fmla="*/ 98936 w 204467"/>
                <a:gd name="connsiteY18" fmla="*/ 180739 h 194015"/>
                <a:gd name="connsiteX19" fmla="*/ 104418 w 204467"/>
                <a:gd name="connsiteY19" fmla="*/ 180781 h 194015"/>
                <a:gd name="connsiteX20" fmla="*/ 115404 w 204467"/>
                <a:gd name="connsiteY20" fmla="*/ 180567 h 194015"/>
                <a:gd name="connsiteX21" fmla="*/ 122428 w 204467"/>
                <a:gd name="connsiteY21" fmla="*/ 186713 h 194015"/>
                <a:gd name="connsiteX22" fmla="*/ 116282 w 204467"/>
                <a:gd name="connsiteY22" fmla="*/ 193737 h 194015"/>
                <a:gd name="connsiteX23" fmla="*/ 108166 w 204467"/>
                <a:gd name="connsiteY23" fmla="*/ 194016 h 194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204467" h="194015">
                  <a:moveTo>
                    <a:pt x="108166" y="194016"/>
                  </a:moveTo>
                  <a:cubicBezTo>
                    <a:pt x="106881" y="194016"/>
                    <a:pt x="105617" y="193994"/>
                    <a:pt x="104247" y="193973"/>
                  </a:cubicBezTo>
                  <a:cubicBezTo>
                    <a:pt x="102683" y="193951"/>
                    <a:pt x="100970" y="193930"/>
                    <a:pt x="98936" y="193930"/>
                  </a:cubicBezTo>
                  <a:cubicBezTo>
                    <a:pt x="79577" y="193930"/>
                    <a:pt x="57092" y="190611"/>
                    <a:pt x="41631" y="187827"/>
                  </a:cubicBezTo>
                  <a:cubicBezTo>
                    <a:pt x="28932" y="185557"/>
                    <a:pt x="19424" y="175385"/>
                    <a:pt x="17946" y="162536"/>
                  </a:cubicBezTo>
                  <a:lnTo>
                    <a:pt x="44" y="7345"/>
                  </a:lnTo>
                  <a:cubicBezTo>
                    <a:pt x="-170" y="5482"/>
                    <a:pt x="408" y="3619"/>
                    <a:pt x="1671" y="2206"/>
                  </a:cubicBezTo>
                  <a:cubicBezTo>
                    <a:pt x="2913" y="792"/>
                    <a:pt x="4712" y="0"/>
                    <a:pt x="6596" y="0"/>
                  </a:cubicBezTo>
                  <a:lnTo>
                    <a:pt x="197871" y="0"/>
                  </a:lnTo>
                  <a:cubicBezTo>
                    <a:pt x="199756" y="0"/>
                    <a:pt x="201533" y="814"/>
                    <a:pt x="202796" y="2206"/>
                  </a:cubicBezTo>
                  <a:cubicBezTo>
                    <a:pt x="204060" y="3619"/>
                    <a:pt x="204638" y="5482"/>
                    <a:pt x="204424" y="7345"/>
                  </a:cubicBezTo>
                  <a:lnTo>
                    <a:pt x="198663" y="57348"/>
                  </a:lnTo>
                  <a:cubicBezTo>
                    <a:pt x="198257" y="60967"/>
                    <a:pt x="194937" y="63644"/>
                    <a:pt x="191361" y="63151"/>
                  </a:cubicBezTo>
                  <a:cubicBezTo>
                    <a:pt x="187742" y="62723"/>
                    <a:pt x="185151" y="59468"/>
                    <a:pt x="185558" y="55849"/>
                  </a:cubicBezTo>
                  <a:lnTo>
                    <a:pt x="190483" y="13213"/>
                  </a:lnTo>
                  <a:lnTo>
                    <a:pt x="14006" y="13213"/>
                  </a:lnTo>
                  <a:lnTo>
                    <a:pt x="31052" y="161037"/>
                  </a:lnTo>
                  <a:cubicBezTo>
                    <a:pt x="31844" y="167954"/>
                    <a:pt x="37155" y="173629"/>
                    <a:pt x="43965" y="174850"/>
                  </a:cubicBezTo>
                  <a:cubicBezTo>
                    <a:pt x="58912" y="177548"/>
                    <a:pt x="80562" y="180739"/>
                    <a:pt x="98936" y="180739"/>
                  </a:cubicBezTo>
                  <a:cubicBezTo>
                    <a:pt x="101035" y="180739"/>
                    <a:pt x="102791" y="180760"/>
                    <a:pt x="104418" y="180781"/>
                  </a:cubicBezTo>
                  <a:cubicBezTo>
                    <a:pt x="108208" y="180824"/>
                    <a:pt x="110971" y="180867"/>
                    <a:pt x="115404" y="180567"/>
                  </a:cubicBezTo>
                  <a:cubicBezTo>
                    <a:pt x="118959" y="180417"/>
                    <a:pt x="122171" y="183073"/>
                    <a:pt x="122428" y="186713"/>
                  </a:cubicBezTo>
                  <a:cubicBezTo>
                    <a:pt x="122663" y="190354"/>
                    <a:pt x="119922" y="193480"/>
                    <a:pt x="116282" y="193737"/>
                  </a:cubicBezTo>
                  <a:cubicBezTo>
                    <a:pt x="113027" y="193951"/>
                    <a:pt x="110585" y="194016"/>
                    <a:pt x="108166" y="194016"/>
                  </a:cubicBezTo>
                  <a:close/>
                </a:path>
              </a:pathLst>
            </a:custGeom>
            <a:grpFill/>
            <a:ln w="213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223" name="Grafik 319">
            <a:extLst>
              <a:ext uri="{FF2B5EF4-FFF2-40B4-BE49-F238E27FC236}">
                <a16:creationId xmlns:a16="http://schemas.microsoft.com/office/drawing/2014/main" id="{23C923BA-7CB3-0649-DD60-7A2DB4B8693F}"/>
              </a:ext>
            </a:extLst>
          </p:cNvPr>
          <p:cNvGrpSpPr/>
          <p:nvPr/>
        </p:nvGrpSpPr>
        <p:grpSpPr>
          <a:xfrm>
            <a:off x="4548397" y="4610500"/>
            <a:ext cx="175707" cy="103065"/>
            <a:chOff x="2754450" y="3562866"/>
            <a:chExt cx="231640" cy="135875"/>
          </a:xfrm>
          <a:solidFill>
            <a:srgbClr val="9CB40D"/>
          </a:solidFill>
        </p:grpSpPr>
        <p:grpSp>
          <p:nvGrpSpPr>
            <p:cNvPr id="224" name="Grafik 319">
              <a:extLst>
                <a:ext uri="{FF2B5EF4-FFF2-40B4-BE49-F238E27FC236}">
                  <a16:creationId xmlns:a16="http://schemas.microsoft.com/office/drawing/2014/main" id="{3A9ABE0E-2F09-6BE4-3CE2-7877D502E43A}"/>
                </a:ext>
              </a:extLst>
            </p:cNvPr>
            <p:cNvGrpSpPr/>
            <p:nvPr/>
          </p:nvGrpSpPr>
          <p:grpSpPr>
            <a:xfrm>
              <a:off x="2880128" y="3596209"/>
              <a:ext cx="105963" cy="83088"/>
              <a:chOff x="2880128" y="3596209"/>
              <a:chExt cx="105963" cy="83088"/>
            </a:xfrm>
            <a:grpFill/>
          </p:grpSpPr>
          <p:sp>
            <p:nvSpPr>
              <p:cNvPr id="235" name="Freihandform: Form 467">
                <a:extLst>
                  <a:ext uri="{FF2B5EF4-FFF2-40B4-BE49-F238E27FC236}">
                    <a16:creationId xmlns:a16="http://schemas.microsoft.com/office/drawing/2014/main" id="{1B96CF83-E98F-211C-8841-BC8DC03CB457}"/>
                  </a:ext>
                </a:extLst>
              </p:cNvPr>
              <p:cNvSpPr/>
              <p:nvPr/>
            </p:nvSpPr>
            <p:spPr>
              <a:xfrm>
                <a:off x="2881361" y="3596209"/>
                <a:ext cx="104729" cy="56213"/>
              </a:xfrm>
              <a:custGeom>
                <a:avLst/>
                <a:gdLst>
                  <a:gd name="connsiteX0" fmla="*/ 35261 w 104729"/>
                  <a:gd name="connsiteY0" fmla="*/ 56213 h 56213"/>
                  <a:gd name="connsiteX1" fmla="*/ 5452 w 104729"/>
                  <a:gd name="connsiteY1" fmla="*/ 53751 h 56213"/>
                  <a:gd name="connsiteX2" fmla="*/ 99 w 104729"/>
                  <a:gd name="connsiteY2" fmla="*/ 46106 h 56213"/>
                  <a:gd name="connsiteX3" fmla="*/ 7744 w 104729"/>
                  <a:gd name="connsiteY3" fmla="*/ 40752 h 56213"/>
                  <a:gd name="connsiteX4" fmla="*/ 35283 w 104729"/>
                  <a:gd name="connsiteY4" fmla="*/ 43022 h 56213"/>
                  <a:gd name="connsiteX5" fmla="*/ 91539 w 104729"/>
                  <a:gd name="connsiteY5" fmla="*/ 28117 h 56213"/>
                  <a:gd name="connsiteX6" fmla="*/ 35283 w 104729"/>
                  <a:gd name="connsiteY6" fmla="*/ 13213 h 56213"/>
                  <a:gd name="connsiteX7" fmla="*/ 8001 w 104729"/>
                  <a:gd name="connsiteY7" fmla="*/ 15418 h 56213"/>
                  <a:gd name="connsiteX8" fmla="*/ 377 w 104729"/>
                  <a:gd name="connsiteY8" fmla="*/ 10043 h 56213"/>
                  <a:gd name="connsiteX9" fmla="*/ 5752 w 104729"/>
                  <a:gd name="connsiteY9" fmla="*/ 2420 h 56213"/>
                  <a:gd name="connsiteX10" fmla="*/ 35283 w 104729"/>
                  <a:gd name="connsiteY10" fmla="*/ 0 h 56213"/>
                  <a:gd name="connsiteX11" fmla="*/ 104730 w 104729"/>
                  <a:gd name="connsiteY11" fmla="*/ 28096 h 56213"/>
                  <a:gd name="connsiteX12" fmla="*/ 35261 w 104729"/>
                  <a:gd name="connsiteY12" fmla="*/ 56213 h 562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04729" h="56213">
                    <a:moveTo>
                      <a:pt x="35261" y="56213"/>
                    </a:moveTo>
                    <a:cubicBezTo>
                      <a:pt x="24811" y="56213"/>
                      <a:pt x="14768" y="55378"/>
                      <a:pt x="5452" y="53751"/>
                    </a:cubicBezTo>
                    <a:cubicBezTo>
                      <a:pt x="1855" y="53129"/>
                      <a:pt x="-522" y="49703"/>
                      <a:pt x="99" y="46106"/>
                    </a:cubicBezTo>
                    <a:cubicBezTo>
                      <a:pt x="720" y="42529"/>
                      <a:pt x="4082" y="40131"/>
                      <a:pt x="7744" y="40752"/>
                    </a:cubicBezTo>
                    <a:cubicBezTo>
                      <a:pt x="16202" y="42230"/>
                      <a:pt x="25710" y="43022"/>
                      <a:pt x="35283" y="43022"/>
                    </a:cubicBezTo>
                    <a:cubicBezTo>
                      <a:pt x="71837" y="43022"/>
                      <a:pt x="91539" y="32443"/>
                      <a:pt x="91539" y="28117"/>
                    </a:cubicBezTo>
                    <a:cubicBezTo>
                      <a:pt x="91539" y="23792"/>
                      <a:pt x="71816" y="13213"/>
                      <a:pt x="35283" y="13213"/>
                    </a:cubicBezTo>
                    <a:cubicBezTo>
                      <a:pt x="25775" y="13213"/>
                      <a:pt x="16352" y="13984"/>
                      <a:pt x="8001" y="15418"/>
                    </a:cubicBezTo>
                    <a:cubicBezTo>
                      <a:pt x="4424" y="16039"/>
                      <a:pt x="998" y="13641"/>
                      <a:pt x="377" y="10043"/>
                    </a:cubicBezTo>
                    <a:cubicBezTo>
                      <a:pt x="-244" y="6446"/>
                      <a:pt x="2154" y="3041"/>
                      <a:pt x="5752" y="2420"/>
                    </a:cubicBezTo>
                    <a:cubicBezTo>
                      <a:pt x="14960" y="814"/>
                      <a:pt x="24897" y="0"/>
                      <a:pt x="35283" y="0"/>
                    </a:cubicBezTo>
                    <a:cubicBezTo>
                      <a:pt x="68732" y="0"/>
                      <a:pt x="104730" y="8801"/>
                      <a:pt x="104730" y="28096"/>
                    </a:cubicBezTo>
                    <a:cubicBezTo>
                      <a:pt x="104708" y="47412"/>
                      <a:pt x="68711" y="56213"/>
                      <a:pt x="35261" y="56213"/>
                    </a:cubicBezTo>
                    <a:close/>
                  </a:path>
                </a:pathLst>
              </a:custGeom>
              <a:grpFill/>
              <a:ln w="213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36" name="Freihandform: Form 468">
                <a:extLst>
                  <a:ext uri="{FF2B5EF4-FFF2-40B4-BE49-F238E27FC236}">
                    <a16:creationId xmlns:a16="http://schemas.microsoft.com/office/drawing/2014/main" id="{94416E29-D0BB-EEE3-E4CA-526DDF95608B}"/>
                  </a:ext>
                </a:extLst>
              </p:cNvPr>
              <p:cNvSpPr/>
              <p:nvPr/>
            </p:nvSpPr>
            <p:spPr>
              <a:xfrm>
                <a:off x="2880128" y="3617709"/>
                <a:ext cx="105941" cy="61588"/>
              </a:xfrm>
              <a:custGeom>
                <a:avLst/>
                <a:gdLst>
                  <a:gd name="connsiteX0" fmla="*/ 36495 w 105941"/>
                  <a:gd name="connsiteY0" fmla="*/ 61588 h 61588"/>
                  <a:gd name="connsiteX1" fmla="*/ 5401 w 105941"/>
                  <a:gd name="connsiteY1" fmla="*/ 58890 h 61588"/>
                  <a:gd name="connsiteX2" fmla="*/ 111 w 105941"/>
                  <a:gd name="connsiteY2" fmla="*/ 51202 h 61588"/>
                  <a:gd name="connsiteX3" fmla="*/ 7799 w 105941"/>
                  <a:gd name="connsiteY3" fmla="*/ 45913 h 61588"/>
                  <a:gd name="connsiteX4" fmla="*/ 36495 w 105941"/>
                  <a:gd name="connsiteY4" fmla="*/ 48375 h 61588"/>
                  <a:gd name="connsiteX5" fmla="*/ 92751 w 105941"/>
                  <a:gd name="connsiteY5" fmla="*/ 33471 h 61588"/>
                  <a:gd name="connsiteX6" fmla="*/ 92751 w 105941"/>
                  <a:gd name="connsiteY6" fmla="*/ 6596 h 61588"/>
                  <a:gd name="connsiteX7" fmla="*/ 99346 w 105941"/>
                  <a:gd name="connsiteY7" fmla="*/ 0 h 61588"/>
                  <a:gd name="connsiteX8" fmla="*/ 105942 w 105941"/>
                  <a:gd name="connsiteY8" fmla="*/ 6596 h 61588"/>
                  <a:gd name="connsiteX9" fmla="*/ 105942 w 105941"/>
                  <a:gd name="connsiteY9" fmla="*/ 33471 h 61588"/>
                  <a:gd name="connsiteX10" fmla="*/ 36495 w 105941"/>
                  <a:gd name="connsiteY10" fmla="*/ 61588 h 615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105941" h="61588">
                    <a:moveTo>
                      <a:pt x="36495" y="61588"/>
                    </a:moveTo>
                    <a:cubicBezTo>
                      <a:pt x="25659" y="61588"/>
                      <a:pt x="14887" y="60646"/>
                      <a:pt x="5401" y="58890"/>
                    </a:cubicBezTo>
                    <a:cubicBezTo>
                      <a:pt x="1824" y="58226"/>
                      <a:pt x="-553" y="54778"/>
                      <a:pt x="111" y="51202"/>
                    </a:cubicBezTo>
                    <a:cubicBezTo>
                      <a:pt x="775" y="47626"/>
                      <a:pt x="4201" y="45228"/>
                      <a:pt x="7799" y="45913"/>
                    </a:cubicBezTo>
                    <a:cubicBezTo>
                      <a:pt x="16515" y="47519"/>
                      <a:pt x="26451" y="48375"/>
                      <a:pt x="36495" y="48375"/>
                    </a:cubicBezTo>
                    <a:cubicBezTo>
                      <a:pt x="73049" y="48375"/>
                      <a:pt x="92751" y="37797"/>
                      <a:pt x="92751" y="33471"/>
                    </a:cubicBezTo>
                    <a:lnTo>
                      <a:pt x="92751" y="6596"/>
                    </a:lnTo>
                    <a:cubicBezTo>
                      <a:pt x="92751" y="2955"/>
                      <a:pt x="95706" y="0"/>
                      <a:pt x="99346" y="0"/>
                    </a:cubicBezTo>
                    <a:cubicBezTo>
                      <a:pt x="102987" y="0"/>
                      <a:pt x="105942" y="2955"/>
                      <a:pt x="105942" y="6596"/>
                    </a:cubicBezTo>
                    <a:lnTo>
                      <a:pt x="105942" y="33471"/>
                    </a:lnTo>
                    <a:cubicBezTo>
                      <a:pt x="105942" y="52787"/>
                      <a:pt x="69944" y="61588"/>
                      <a:pt x="36495" y="61588"/>
                    </a:cubicBezTo>
                    <a:close/>
                  </a:path>
                </a:pathLst>
              </a:custGeom>
              <a:grpFill/>
              <a:ln w="213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</p:grpSp>
        <p:grpSp>
          <p:nvGrpSpPr>
            <p:cNvPr id="225" name="Grafik 319">
              <a:extLst>
                <a:ext uri="{FF2B5EF4-FFF2-40B4-BE49-F238E27FC236}">
                  <a16:creationId xmlns:a16="http://schemas.microsoft.com/office/drawing/2014/main" id="{70B9F4A4-86E3-3B7C-0EE7-ECD9536111AC}"/>
                </a:ext>
              </a:extLst>
            </p:cNvPr>
            <p:cNvGrpSpPr/>
            <p:nvPr/>
          </p:nvGrpSpPr>
          <p:grpSpPr>
            <a:xfrm>
              <a:off x="2754450" y="3562866"/>
              <a:ext cx="138894" cy="109278"/>
              <a:chOff x="2754450" y="3562866"/>
              <a:chExt cx="138894" cy="109278"/>
            </a:xfrm>
            <a:grpFill/>
          </p:grpSpPr>
          <p:grpSp>
            <p:nvGrpSpPr>
              <p:cNvPr id="229" name="Grafik 319">
                <a:extLst>
                  <a:ext uri="{FF2B5EF4-FFF2-40B4-BE49-F238E27FC236}">
                    <a16:creationId xmlns:a16="http://schemas.microsoft.com/office/drawing/2014/main" id="{F6601E04-C9C0-57AF-8557-40DE346CBDAC}"/>
                  </a:ext>
                </a:extLst>
              </p:cNvPr>
              <p:cNvGrpSpPr/>
              <p:nvPr/>
            </p:nvGrpSpPr>
            <p:grpSpPr>
              <a:xfrm>
                <a:off x="2754450" y="3610578"/>
                <a:ext cx="138894" cy="61566"/>
                <a:chOff x="2754450" y="3610578"/>
                <a:chExt cx="138894" cy="61566"/>
              </a:xfrm>
              <a:grpFill/>
            </p:grpSpPr>
            <p:sp>
              <p:nvSpPr>
                <p:cNvPr id="233" name="Freihandform: Form 471">
                  <a:extLst>
                    <a:ext uri="{FF2B5EF4-FFF2-40B4-BE49-F238E27FC236}">
                      <a16:creationId xmlns:a16="http://schemas.microsoft.com/office/drawing/2014/main" id="{8F663C81-FDD1-6348-2A73-5DB5438201AA}"/>
                    </a:ext>
                  </a:extLst>
                </p:cNvPr>
                <p:cNvSpPr/>
                <p:nvPr/>
              </p:nvSpPr>
              <p:spPr>
                <a:xfrm>
                  <a:off x="2754450" y="3610578"/>
                  <a:ext cx="138894" cy="34691"/>
                </a:xfrm>
                <a:custGeom>
                  <a:avLst/>
                  <a:gdLst>
                    <a:gd name="connsiteX0" fmla="*/ 69447 w 138894"/>
                    <a:gd name="connsiteY0" fmla="*/ 34692 h 34691"/>
                    <a:gd name="connsiteX1" fmla="*/ 0 w 138894"/>
                    <a:gd name="connsiteY1" fmla="*/ 6596 h 34691"/>
                    <a:gd name="connsiteX2" fmla="*/ 6596 w 138894"/>
                    <a:gd name="connsiteY2" fmla="*/ 0 h 34691"/>
                    <a:gd name="connsiteX3" fmla="*/ 13191 w 138894"/>
                    <a:gd name="connsiteY3" fmla="*/ 6596 h 34691"/>
                    <a:gd name="connsiteX4" fmla="*/ 69447 w 138894"/>
                    <a:gd name="connsiteY4" fmla="*/ 21500 h 34691"/>
                    <a:gd name="connsiteX5" fmla="*/ 125703 w 138894"/>
                    <a:gd name="connsiteY5" fmla="*/ 6596 h 34691"/>
                    <a:gd name="connsiteX6" fmla="*/ 132299 w 138894"/>
                    <a:gd name="connsiteY6" fmla="*/ 0 h 34691"/>
                    <a:gd name="connsiteX7" fmla="*/ 138895 w 138894"/>
                    <a:gd name="connsiteY7" fmla="*/ 6596 h 34691"/>
                    <a:gd name="connsiteX8" fmla="*/ 69447 w 138894"/>
                    <a:gd name="connsiteY8" fmla="*/ 34692 h 3469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138894" h="34691">
                      <a:moveTo>
                        <a:pt x="69447" y="34692"/>
                      </a:moveTo>
                      <a:cubicBezTo>
                        <a:pt x="35998" y="34692"/>
                        <a:pt x="0" y="25890"/>
                        <a:pt x="0" y="6596"/>
                      </a:cubicBezTo>
                      <a:cubicBezTo>
                        <a:pt x="0" y="2955"/>
                        <a:pt x="2955" y="0"/>
                        <a:pt x="6596" y="0"/>
                      </a:cubicBezTo>
                      <a:cubicBezTo>
                        <a:pt x="10236" y="0"/>
                        <a:pt x="13191" y="2955"/>
                        <a:pt x="13191" y="6596"/>
                      </a:cubicBezTo>
                      <a:cubicBezTo>
                        <a:pt x="13191" y="10921"/>
                        <a:pt x="32914" y="21500"/>
                        <a:pt x="69447" y="21500"/>
                      </a:cubicBezTo>
                      <a:cubicBezTo>
                        <a:pt x="105980" y="21500"/>
                        <a:pt x="125703" y="10921"/>
                        <a:pt x="125703" y="6596"/>
                      </a:cubicBezTo>
                      <a:cubicBezTo>
                        <a:pt x="125703" y="2955"/>
                        <a:pt x="128659" y="0"/>
                        <a:pt x="132299" y="0"/>
                      </a:cubicBezTo>
                      <a:cubicBezTo>
                        <a:pt x="135940" y="0"/>
                        <a:pt x="138895" y="2955"/>
                        <a:pt x="138895" y="6596"/>
                      </a:cubicBezTo>
                      <a:cubicBezTo>
                        <a:pt x="138895" y="25890"/>
                        <a:pt x="102897" y="34692"/>
                        <a:pt x="69447" y="34692"/>
                      </a:cubicBezTo>
                      <a:close/>
                    </a:path>
                  </a:pathLst>
                </a:custGeom>
                <a:grpFill/>
                <a:ln w="213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234" name="Freihandform: Form 472">
                  <a:extLst>
                    <a:ext uri="{FF2B5EF4-FFF2-40B4-BE49-F238E27FC236}">
                      <a16:creationId xmlns:a16="http://schemas.microsoft.com/office/drawing/2014/main" id="{034ADC24-B4A6-4705-53EE-8FEEA06D9B77}"/>
                    </a:ext>
                  </a:extLst>
                </p:cNvPr>
                <p:cNvSpPr/>
                <p:nvPr/>
              </p:nvSpPr>
              <p:spPr>
                <a:xfrm>
                  <a:off x="2754450" y="3610578"/>
                  <a:ext cx="138894" cy="61566"/>
                </a:xfrm>
                <a:custGeom>
                  <a:avLst/>
                  <a:gdLst>
                    <a:gd name="connsiteX0" fmla="*/ 69447 w 138894"/>
                    <a:gd name="connsiteY0" fmla="*/ 61567 h 61566"/>
                    <a:gd name="connsiteX1" fmla="*/ 0 w 138894"/>
                    <a:gd name="connsiteY1" fmla="*/ 33471 h 61566"/>
                    <a:gd name="connsiteX2" fmla="*/ 0 w 138894"/>
                    <a:gd name="connsiteY2" fmla="*/ 6596 h 61566"/>
                    <a:gd name="connsiteX3" fmla="*/ 6596 w 138894"/>
                    <a:gd name="connsiteY3" fmla="*/ 0 h 61566"/>
                    <a:gd name="connsiteX4" fmla="*/ 13191 w 138894"/>
                    <a:gd name="connsiteY4" fmla="*/ 6596 h 61566"/>
                    <a:gd name="connsiteX5" fmla="*/ 13191 w 138894"/>
                    <a:gd name="connsiteY5" fmla="*/ 33471 h 61566"/>
                    <a:gd name="connsiteX6" fmla="*/ 69447 w 138894"/>
                    <a:gd name="connsiteY6" fmla="*/ 48375 h 61566"/>
                    <a:gd name="connsiteX7" fmla="*/ 125703 w 138894"/>
                    <a:gd name="connsiteY7" fmla="*/ 33471 h 61566"/>
                    <a:gd name="connsiteX8" fmla="*/ 125703 w 138894"/>
                    <a:gd name="connsiteY8" fmla="*/ 6596 h 61566"/>
                    <a:gd name="connsiteX9" fmla="*/ 132299 w 138894"/>
                    <a:gd name="connsiteY9" fmla="*/ 0 h 61566"/>
                    <a:gd name="connsiteX10" fmla="*/ 138895 w 138894"/>
                    <a:gd name="connsiteY10" fmla="*/ 6596 h 61566"/>
                    <a:gd name="connsiteX11" fmla="*/ 138895 w 138894"/>
                    <a:gd name="connsiteY11" fmla="*/ 33471 h 61566"/>
                    <a:gd name="connsiteX12" fmla="*/ 69447 w 138894"/>
                    <a:gd name="connsiteY12" fmla="*/ 61567 h 6156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</a:cxnLst>
                  <a:rect l="l" t="t" r="r" b="b"/>
                  <a:pathLst>
                    <a:path w="138894" h="61566">
                      <a:moveTo>
                        <a:pt x="69447" y="61567"/>
                      </a:moveTo>
                      <a:cubicBezTo>
                        <a:pt x="35998" y="61567"/>
                        <a:pt x="0" y="52765"/>
                        <a:pt x="0" y="33471"/>
                      </a:cubicBezTo>
                      <a:lnTo>
                        <a:pt x="0" y="6596"/>
                      </a:lnTo>
                      <a:cubicBezTo>
                        <a:pt x="0" y="2955"/>
                        <a:pt x="2955" y="0"/>
                        <a:pt x="6596" y="0"/>
                      </a:cubicBezTo>
                      <a:cubicBezTo>
                        <a:pt x="10236" y="0"/>
                        <a:pt x="13191" y="2955"/>
                        <a:pt x="13191" y="6596"/>
                      </a:cubicBezTo>
                      <a:lnTo>
                        <a:pt x="13191" y="33471"/>
                      </a:lnTo>
                      <a:cubicBezTo>
                        <a:pt x="13191" y="37797"/>
                        <a:pt x="32914" y="48375"/>
                        <a:pt x="69447" y="48375"/>
                      </a:cubicBezTo>
                      <a:cubicBezTo>
                        <a:pt x="105980" y="48375"/>
                        <a:pt x="125703" y="37797"/>
                        <a:pt x="125703" y="33471"/>
                      </a:cubicBezTo>
                      <a:lnTo>
                        <a:pt x="125703" y="6596"/>
                      </a:lnTo>
                      <a:cubicBezTo>
                        <a:pt x="125703" y="2955"/>
                        <a:pt x="128659" y="0"/>
                        <a:pt x="132299" y="0"/>
                      </a:cubicBezTo>
                      <a:cubicBezTo>
                        <a:pt x="135940" y="0"/>
                        <a:pt x="138895" y="2955"/>
                        <a:pt x="138895" y="6596"/>
                      </a:cubicBezTo>
                      <a:lnTo>
                        <a:pt x="138895" y="33471"/>
                      </a:lnTo>
                      <a:cubicBezTo>
                        <a:pt x="138895" y="52765"/>
                        <a:pt x="102897" y="61567"/>
                        <a:pt x="69447" y="61567"/>
                      </a:cubicBezTo>
                      <a:close/>
                    </a:path>
                  </a:pathLst>
                </a:custGeom>
                <a:grpFill/>
                <a:ln w="213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</a:endParaRPr>
                </a:p>
              </p:txBody>
            </p:sp>
          </p:grpSp>
          <p:grpSp>
            <p:nvGrpSpPr>
              <p:cNvPr id="230" name="Grafik 319">
                <a:extLst>
                  <a:ext uri="{FF2B5EF4-FFF2-40B4-BE49-F238E27FC236}">
                    <a16:creationId xmlns:a16="http://schemas.microsoft.com/office/drawing/2014/main" id="{07AD8253-817A-84CC-D106-1127777EE080}"/>
                  </a:ext>
                </a:extLst>
              </p:cNvPr>
              <p:cNvGrpSpPr/>
              <p:nvPr/>
            </p:nvGrpSpPr>
            <p:grpSpPr>
              <a:xfrm>
                <a:off x="2754450" y="3562866"/>
                <a:ext cx="138894" cy="83067"/>
                <a:chOff x="2754450" y="3562866"/>
                <a:chExt cx="138894" cy="83067"/>
              </a:xfrm>
              <a:grpFill/>
            </p:grpSpPr>
            <p:sp>
              <p:nvSpPr>
                <p:cNvPr id="231" name="Freihandform: Form 474">
                  <a:extLst>
                    <a:ext uri="{FF2B5EF4-FFF2-40B4-BE49-F238E27FC236}">
                      <a16:creationId xmlns:a16="http://schemas.microsoft.com/office/drawing/2014/main" id="{6D40DB98-D36A-3E40-AA30-A9329F7C9A6C}"/>
                    </a:ext>
                  </a:extLst>
                </p:cNvPr>
                <p:cNvSpPr/>
                <p:nvPr/>
              </p:nvSpPr>
              <p:spPr>
                <a:xfrm>
                  <a:off x="2754450" y="3562866"/>
                  <a:ext cx="138894" cy="56191"/>
                </a:xfrm>
                <a:custGeom>
                  <a:avLst/>
                  <a:gdLst>
                    <a:gd name="connsiteX0" fmla="*/ 69447 w 138894"/>
                    <a:gd name="connsiteY0" fmla="*/ 56192 h 56191"/>
                    <a:gd name="connsiteX1" fmla="*/ 0 w 138894"/>
                    <a:gd name="connsiteY1" fmla="*/ 28096 h 56191"/>
                    <a:gd name="connsiteX2" fmla="*/ 69447 w 138894"/>
                    <a:gd name="connsiteY2" fmla="*/ 0 h 56191"/>
                    <a:gd name="connsiteX3" fmla="*/ 138895 w 138894"/>
                    <a:gd name="connsiteY3" fmla="*/ 28096 h 56191"/>
                    <a:gd name="connsiteX4" fmla="*/ 69447 w 138894"/>
                    <a:gd name="connsiteY4" fmla="*/ 56192 h 56191"/>
                    <a:gd name="connsiteX5" fmla="*/ 69447 w 138894"/>
                    <a:gd name="connsiteY5" fmla="*/ 13191 h 56191"/>
                    <a:gd name="connsiteX6" fmla="*/ 13191 w 138894"/>
                    <a:gd name="connsiteY6" fmla="*/ 28096 h 56191"/>
                    <a:gd name="connsiteX7" fmla="*/ 69447 w 138894"/>
                    <a:gd name="connsiteY7" fmla="*/ 43000 h 56191"/>
                    <a:gd name="connsiteX8" fmla="*/ 125703 w 138894"/>
                    <a:gd name="connsiteY8" fmla="*/ 28096 h 56191"/>
                    <a:gd name="connsiteX9" fmla="*/ 69447 w 138894"/>
                    <a:gd name="connsiteY9" fmla="*/ 13191 h 5619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138894" h="56191">
                      <a:moveTo>
                        <a:pt x="69447" y="56192"/>
                      </a:moveTo>
                      <a:cubicBezTo>
                        <a:pt x="35998" y="56192"/>
                        <a:pt x="0" y="47390"/>
                        <a:pt x="0" y="28096"/>
                      </a:cubicBezTo>
                      <a:cubicBezTo>
                        <a:pt x="0" y="8801"/>
                        <a:pt x="35998" y="0"/>
                        <a:pt x="69447" y="0"/>
                      </a:cubicBezTo>
                      <a:cubicBezTo>
                        <a:pt x="102897" y="0"/>
                        <a:pt x="138895" y="8801"/>
                        <a:pt x="138895" y="28096"/>
                      </a:cubicBezTo>
                      <a:cubicBezTo>
                        <a:pt x="138895" y="47412"/>
                        <a:pt x="102897" y="56192"/>
                        <a:pt x="69447" y="56192"/>
                      </a:cubicBezTo>
                      <a:close/>
                      <a:moveTo>
                        <a:pt x="69447" y="13191"/>
                      </a:moveTo>
                      <a:cubicBezTo>
                        <a:pt x="32914" y="13191"/>
                        <a:pt x="13191" y="23770"/>
                        <a:pt x="13191" y="28096"/>
                      </a:cubicBezTo>
                      <a:cubicBezTo>
                        <a:pt x="13191" y="32422"/>
                        <a:pt x="32914" y="43000"/>
                        <a:pt x="69447" y="43000"/>
                      </a:cubicBezTo>
                      <a:cubicBezTo>
                        <a:pt x="105980" y="43000"/>
                        <a:pt x="125703" y="32422"/>
                        <a:pt x="125703" y="28096"/>
                      </a:cubicBezTo>
                      <a:cubicBezTo>
                        <a:pt x="125703" y="23770"/>
                        <a:pt x="105980" y="13191"/>
                        <a:pt x="69447" y="13191"/>
                      </a:cubicBezTo>
                      <a:close/>
                    </a:path>
                  </a:pathLst>
                </a:custGeom>
                <a:grpFill/>
                <a:ln w="213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232" name="Freihandform: Form 475">
                  <a:extLst>
                    <a:ext uri="{FF2B5EF4-FFF2-40B4-BE49-F238E27FC236}">
                      <a16:creationId xmlns:a16="http://schemas.microsoft.com/office/drawing/2014/main" id="{4C0886D9-791E-BE50-44D2-BA29B804DF3D}"/>
                    </a:ext>
                  </a:extLst>
                </p:cNvPr>
                <p:cNvSpPr/>
                <p:nvPr/>
              </p:nvSpPr>
              <p:spPr>
                <a:xfrm>
                  <a:off x="2754450" y="3584367"/>
                  <a:ext cx="138894" cy="61566"/>
                </a:xfrm>
                <a:custGeom>
                  <a:avLst/>
                  <a:gdLst>
                    <a:gd name="connsiteX0" fmla="*/ 69447 w 138894"/>
                    <a:gd name="connsiteY0" fmla="*/ 61567 h 61566"/>
                    <a:gd name="connsiteX1" fmla="*/ 0 w 138894"/>
                    <a:gd name="connsiteY1" fmla="*/ 33471 h 61566"/>
                    <a:gd name="connsiteX2" fmla="*/ 0 w 138894"/>
                    <a:gd name="connsiteY2" fmla="*/ 6596 h 61566"/>
                    <a:gd name="connsiteX3" fmla="*/ 6596 w 138894"/>
                    <a:gd name="connsiteY3" fmla="*/ 0 h 61566"/>
                    <a:gd name="connsiteX4" fmla="*/ 13191 w 138894"/>
                    <a:gd name="connsiteY4" fmla="*/ 6596 h 61566"/>
                    <a:gd name="connsiteX5" fmla="*/ 13191 w 138894"/>
                    <a:gd name="connsiteY5" fmla="*/ 33471 h 61566"/>
                    <a:gd name="connsiteX6" fmla="*/ 69447 w 138894"/>
                    <a:gd name="connsiteY6" fmla="*/ 48375 h 61566"/>
                    <a:gd name="connsiteX7" fmla="*/ 125703 w 138894"/>
                    <a:gd name="connsiteY7" fmla="*/ 33471 h 61566"/>
                    <a:gd name="connsiteX8" fmla="*/ 125703 w 138894"/>
                    <a:gd name="connsiteY8" fmla="*/ 6596 h 61566"/>
                    <a:gd name="connsiteX9" fmla="*/ 132299 w 138894"/>
                    <a:gd name="connsiteY9" fmla="*/ 0 h 61566"/>
                    <a:gd name="connsiteX10" fmla="*/ 138895 w 138894"/>
                    <a:gd name="connsiteY10" fmla="*/ 6596 h 61566"/>
                    <a:gd name="connsiteX11" fmla="*/ 138895 w 138894"/>
                    <a:gd name="connsiteY11" fmla="*/ 33471 h 61566"/>
                    <a:gd name="connsiteX12" fmla="*/ 69447 w 138894"/>
                    <a:gd name="connsiteY12" fmla="*/ 61567 h 6156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</a:cxnLst>
                  <a:rect l="l" t="t" r="r" b="b"/>
                  <a:pathLst>
                    <a:path w="138894" h="61566">
                      <a:moveTo>
                        <a:pt x="69447" y="61567"/>
                      </a:moveTo>
                      <a:cubicBezTo>
                        <a:pt x="35998" y="61567"/>
                        <a:pt x="0" y="52765"/>
                        <a:pt x="0" y="33471"/>
                      </a:cubicBezTo>
                      <a:lnTo>
                        <a:pt x="0" y="6596"/>
                      </a:lnTo>
                      <a:cubicBezTo>
                        <a:pt x="0" y="2955"/>
                        <a:pt x="2955" y="0"/>
                        <a:pt x="6596" y="0"/>
                      </a:cubicBezTo>
                      <a:cubicBezTo>
                        <a:pt x="10236" y="0"/>
                        <a:pt x="13191" y="2955"/>
                        <a:pt x="13191" y="6596"/>
                      </a:cubicBezTo>
                      <a:lnTo>
                        <a:pt x="13191" y="33471"/>
                      </a:lnTo>
                      <a:cubicBezTo>
                        <a:pt x="13191" y="37797"/>
                        <a:pt x="32914" y="48375"/>
                        <a:pt x="69447" y="48375"/>
                      </a:cubicBezTo>
                      <a:cubicBezTo>
                        <a:pt x="105980" y="48375"/>
                        <a:pt x="125703" y="37797"/>
                        <a:pt x="125703" y="33471"/>
                      </a:cubicBezTo>
                      <a:lnTo>
                        <a:pt x="125703" y="6596"/>
                      </a:lnTo>
                      <a:cubicBezTo>
                        <a:pt x="125703" y="2955"/>
                        <a:pt x="128659" y="0"/>
                        <a:pt x="132299" y="0"/>
                      </a:cubicBezTo>
                      <a:cubicBezTo>
                        <a:pt x="135940" y="0"/>
                        <a:pt x="138895" y="2955"/>
                        <a:pt x="138895" y="6596"/>
                      </a:cubicBezTo>
                      <a:lnTo>
                        <a:pt x="138895" y="33471"/>
                      </a:lnTo>
                      <a:cubicBezTo>
                        <a:pt x="138895" y="52787"/>
                        <a:pt x="102897" y="61567"/>
                        <a:pt x="69447" y="61567"/>
                      </a:cubicBezTo>
                      <a:close/>
                    </a:path>
                  </a:pathLst>
                </a:custGeom>
                <a:grpFill/>
                <a:ln w="213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</a:endParaRPr>
                </a:p>
              </p:txBody>
            </p:sp>
          </p:grpSp>
        </p:grpSp>
        <p:grpSp>
          <p:nvGrpSpPr>
            <p:cNvPr id="226" name="Grafik 319">
              <a:extLst>
                <a:ext uri="{FF2B5EF4-FFF2-40B4-BE49-F238E27FC236}">
                  <a16:creationId xmlns:a16="http://schemas.microsoft.com/office/drawing/2014/main" id="{264F50C8-9C51-D054-1C3C-9534F92F0B98}"/>
                </a:ext>
              </a:extLst>
            </p:cNvPr>
            <p:cNvGrpSpPr/>
            <p:nvPr/>
          </p:nvGrpSpPr>
          <p:grpSpPr>
            <a:xfrm>
              <a:off x="2754450" y="3637175"/>
              <a:ext cx="138894" cy="61566"/>
              <a:chOff x="2754450" y="3637175"/>
              <a:chExt cx="138894" cy="61566"/>
            </a:xfrm>
            <a:grpFill/>
          </p:grpSpPr>
          <p:sp>
            <p:nvSpPr>
              <p:cNvPr id="227" name="Freihandform: Form 477">
                <a:extLst>
                  <a:ext uri="{FF2B5EF4-FFF2-40B4-BE49-F238E27FC236}">
                    <a16:creationId xmlns:a16="http://schemas.microsoft.com/office/drawing/2014/main" id="{34BB6C0A-736E-BF47-00BE-9A0F7396A48B}"/>
                  </a:ext>
                </a:extLst>
              </p:cNvPr>
              <p:cNvSpPr/>
              <p:nvPr/>
            </p:nvSpPr>
            <p:spPr>
              <a:xfrm>
                <a:off x="2754450" y="3637175"/>
                <a:ext cx="138894" cy="61566"/>
              </a:xfrm>
              <a:custGeom>
                <a:avLst/>
                <a:gdLst>
                  <a:gd name="connsiteX0" fmla="*/ 69447 w 138894"/>
                  <a:gd name="connsiteY0" fmla="*/ 61567 h 61566"/>
                  <a:gd name="connsiteX1" fmla="*/ 0 w 138894"/>
                  <a:gd name="connsiteY1" fmla="*/ 33471 h 61566"/>
                  <a:gd name="connsiteX2" fmla="*/ 0 w 138894"/>
                  <a:gd name="connsiteY2" fmla="*/ 6596 h 61566"/>
                  <a:gd name="connsiteX3" fmla="*/ 6596 w 138894"/>
                  <a:gd name="connsiteY3" fmla="*/ 0 h 61566"/>
                  <a:gd name="connsiteX4" fmla="*/ 13191 w 138894"/>
                  <a:gd name="connsiteY4" fmla="*/ 6596 h 61566"/>
                  <a:gd name="connsiteX5" fmla="*/ 13191 w 138894"/>
                  <a:gd name="connsiteY5" fmla="*/ 33471 h 61566"/>
                  <a:gd name="connsiteX6" fmla="*/ 69447 w 138894"/>
                  <a:gd name="connsiteY6" fmla="*/ 48375 h 61566"/>
                  <a:gd name="connsiteX7" fmla="*/ 125703 w 138894"/>
                  <a:gd name="connsiteY7" fmla="*/ 33471 h 61566"/>
                  <a:gd name="connsiteX8" fmla="*/ 125703 w 138894"/>
                  <a:gd name="connsiteY8" fmla="*/ 6596 h 61566"/>
                  <a:gd name="connsiteX9" fmla="*/ 132299 w 138894"/>
                  <a:gd name="connsiteY9" fmla="*/ 0 h 61566"/>
                  <a:gd name="connsiteX10" fmla="*/ 138895 w 138894"/>
                  <a:gd name="connsiteY10" fmla="*/ 6596 h 61566"/>
                  <a:gd name="connsiteX11" fmla="*/ 138895 w 138894"/>
                  <a:gd name="connsiteY11" fmla="*/ 33471 h 61566"/>
                  <a:gd name="connsiteX12" fmla="*/ 69447 w 138894"/>
                  <a:gd name="connsiteY12" fmla="*/ 61567 h 615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38894" h="61566">
                    <a:moveTo>
                      <a:pt x="69447" y="61567"/>
                    </a:moveTo>
                    <a:cubicBezTo>
                      <a:pt x="35998" y="61567"/>
                      <a:pt x="0" y="52765"/>
                      <a:pt x="0" y="33471"/>
                    </a:cubicBezTo>
                    <a:lnTo>
                      <a:pt x="0" y="6596"/>
                    </a:lnTo>
                    <a:cubicBezTo>
                      <a:pt x="0" y="2955"/>
                      <a:pt x="2955" y="0"/>
                      <a:pt x="6596" y="0"/>
                    </a:cubicBezTo>
                    <a:cubicBezTo>
                      <a:pt x="10236" y="0"/>
                      <a:pt x="13191" y="2955"/>
                      <a:pt x="13191" y="6596"/>
                    </a:cubicBezTo>
                    <a:lnTo>
                      <a:pt x="13191" y="33471"/>
                    </a:lnTo>
                    <a:cubicBezTo>
                      <a:pt x="13191" y="37797"/>
                      <a:pt x="32914" y="48375"/>
                      <a:pt x="69447" y="48375"/>
                    </a:cubicBezTo>
                    <a:cubicBezTo>
                      <a:pt x="105980" y="48375"/>
                      <a:pt x="125703" y="37797"/>
                      <a:pt x="125703" y="33471"/>
                    </a:cubicBezTo>
                    <a:lnTo>
                      <a:pt x="125703" y="6596"/>
                    </a:lnTo>
                    <a:cubicBezTo>
                      <a:pt x="125703" y="2955"/>
                      <a:pt x="128659" y="0"/>
                      <a:pt x="132299" y="0"/>
                    </a:cubicBezTo>
                    <a:cubicBezTo>
                      <a:pt x="135940" y="0"/>
                      <a:pt x="138895" y="2955"/>
                      <a:pt x="138895" y="6596"/>
                    </a:cubicBezTo>
                    <a:lnTo>
                      <a:pt x="138895" y="33471"/>
                    </a:lnTo>
                    <a:cubicBezTo>
                      <a:pt x="138895" y="52787"/>
                      <a:pt x="102897" y="61567"/>
                      <a:pt x="69447" y="61567"/>
                    </a:cubicBezTo>
                    <a:close/>
                  </a:path>
                </a:pathLst>
              </a:custGeom>
              <a:grpFill/>
              <a:ln w="213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28" name="Freihandform: Form 478">
                <a:extLst>
                  <a:ext uri="{FF2B5EF4-FFF2-40B4-BE49-F238E27FC236}">
                    <a16:creationId xmlns:a16="http://schemas.microsoft.com/office/drawing/2014/main" id="{7F8EBDCE-1778-00DE-B767-18B14C7E091F}"/>
                  </a:ext>
                </a:extLst>
              </p:cNvPr>
              <p:cNvSpPr/>
              <p:nvPr/>
            </p:nvSpPr>
            <p:spPr>
              <a:xfrm>
                <a:off x="2754450" y="3637175"/>
                <a:ext cx="138894" cy="34691"/>
              </a:xfrm>
              <a:custGeom>
                <a:avLst/>
                <a:gdLst>
                  <a:gd name="connsiteX0" fmla="*/ 69447 w 138894"/>
                  <a:gd name="connsiteY0" fmla="*/ 34692 h 34691"/>
                  <a:gd name="connsiteX1" fmla="*/ 0 w 138894"/>
                  <a:gd name="connsiteY1" fmla="*/ 6596 h 34691"/>
                  <a:gd name="connsiteX2" fmla="*/ 6596 w 138894"/>
                  <a:gd name="connsiteY2" fmla="*/ 0 h 34691"/>
                  <a:gd name="connsiteX3" fmla="*/ 13191 w 138894"/>
                  <a:gd name="connsiteY3" fmla="*/ 6596 h 34691"/>
                  <a:gd name="connsiteX4" fmla="*/ 69447 w 138894"/>
                  <a:gd name="connsiteY4" fmla="*/ 21500 h 34691"/>
                  <a:gd name="connsiteX5" fmla="*/ 125703 w 138894"/>
                  <a:gd name="connsiteY5" fmla="*/ 6596 h 34691"/>
                  <a:gd name="connsiteX6" fmla="*/ 132299 w 138894"/>
                  <a:gd name="connsiteY6" fmla="*/ 0 h 34691"/>
                  <a:gd name="connsiteX7" fmla="*/ 138895 w 138894"/>
                  <a:gd name="connsiteY7" fmla="*/ 6596 h 34691"/>
                  <a:gd name="connsiteX8" fmla="*/ 69447 w 138894"/>
                  <a:gd name="connsiteY8" fmla="*/ 34692 h 346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38894" h="34691">
                    <a:moveTo>
                      <a:pt x="69447" y="34692"/>
                    </a:moveTo>
                    <a:cubicBezTo>
                      <a:pt x="35998" y="34692"/>
                      <a:pt x="0" y="25890"/>
                      <a:pt x="0" y="6596"/>
                    </a:cubicBezTo>
                    <a:cubicBezTo>
                      <a:pt x="0" y="2955"/>
                      <a:pt x="2955" y="0"/>
                      <a:pt x="6596" y="0"/>
                    </a:cubicBezTo>
                    <a:cubicBezTo>
                      <a:pt x="10236" y="0"/>
                      <a:pt x="13191" y="2955"/>
                      <a:pt x="13191" y="6596"/>
                    </a:cubicBezTo>
                    <a:cubicBezTo>
                      <a:pt x="13191" y="10921"/>
                      <a:pt x="32914" y="21500"/>
                      <a:pt x="69447" y="21500"/>
                    </a:cubicBezTo>
                    <a:cubicBezTo>
                      <a:pt x="105980" y="21500"/>
                      <a:pt x="125703" y="10921"/>
                      <a:pt x="125703" y="6596"/>
                    </a:cubicBezTo>
                    <a:cubicBezTo>
                      <a:pt x="125703" y="2955"/>
                      <a:pt x="128659" y="0"/>
                      <a:pt x="132299" y="0"/>
                    </a:cubicBezTo>
                    <a:cubicBezTo>
                      <a:pt x="135940" y="0"/>
                      <a:pt x="138895" y="2955"/>
                      <a:pt x="138895" y="6596"/>
                    </a:cubicBezTo>
                    <a:cubicBezTo>
                      <a:pt x="138895" y="25912"/>
                      <a:pt x="102897" y="34692"/>
                      <a:pt x="69447" y="34692"/>
                    </a:cubicBezTo>
                    <a:close/>
                  </a:path>
                </a:pathLst>
              </a:custGeom>
              <a:grpFill/>
              <a:ln w="213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</p:grpSp>
      </p:grpSp>
      <p:grpSp>
        <p:nvGrpSpPr>
          <p:cNvPr id="248" name="Group 247">
            <a:extLst>
              <a:ext uri="{FF2B5EF4-FFF2-40B4-BE49-F238E27FC236}">
                <a16:creationId xmlns:a16="http://schemas.microsoft.com/office/drawing/2014/main" id="{0AF77260-B83B-4D42-CEE1-39357BB1B213}"/>
              </a:ext>
            </a:extLst>
          </p:cNvPr>
          <p:cNvGrpSpPr/>
          <p:nvPr/>
        </p:nvGrpSpPr>
        <p:grpSpPr>
          <a:xfrm>
            <a:off x="7465387" y="4342765"/>
            <a:ext cx="370811" cy="370800"/>
            <a:chOff x="2535185" y="2474412"/>
            <a:chExt cx="440625" cy="440612"/>
          </a:xfrm>
          <a:solidFill>
            <a:schemeClr val="tx2"/>
          </a:solidFill>
        </p:grpSpPr>
        <p:sp>
          <p:nvSpPr>
            <p:cNvPr id="250" name="Freihandform: Form 223">
              <a:extLst>
                <a:ext uri="{FF2B5EF4-FFF2-40B4-BE49-F238E27FC236}">
                  <a16:creationId xmlns:a16="http://schemas.microsoft.com/office/drawing/2014/main" id="{14B1ED9E-6AA1-0FA0-715B-28FA1967D252}"/>
                </a:ext>
              </a:extLst>
            </p:cNvPr>
            <p:cNvSpPr/>
            <p:nvPr/>
          </p:nvSpPr>
          <p:spPr>
            <a:xfrm>
              <a:off x="2684266" y="2545643"/>
              <a:ext cx="142433" cy="13370"/>
            </a:xfrm>
            <a:custGeom>
              <a:avLst/>
              <a:gdLst>
                <a:gd name="connsiteX0" fmla="*/ 135748 w 142433"/>
                <a:gd name="connsiteY0" fmla="*/ 13370 h 13370"/>
                <a:gd name="connsiteX1" fmla="*/ 6685 w 142433"/>
                <a:gd name="connsiteY1" fmla="*/ 13370 h 13370"/>
                <a:gd name="connsiteX2" fmla="*/ 0 w 142433"/>
                <a:gd name="connsiteY2" fmla="*/ 6685 h 13370"/>
                <a:gd name="connsiteX3" fmla="*/ 6685 w 142433"/>
                <a:gd name="connsiteY3" fmla="*/ 0 h 13370"/>
                <a:gd name="connsiteX4" fmla="*/ 135748 w 142433"/>
                <a:gd name="connsiteY4" fmla="*/ 0 h 13370"/>
                <a:gd name="connsiteX5" fmla="*/ 142433 w 142433"/>
                <a:gd name="connsiteY5" fmla="*/ 6685 h 13370"/>
                <a:gd name="connsiteX6" fmla="*/ 135748 w 142433"/>
                <a:gd name="connsiteY6" fmla="*/ 13370 h 133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2433" h="13370">
                  <a:moveTo>
                    <a:pt x="135748" y="13370"/>
                  </a:moveTo>
                  <a:lnTo>
                    <a:pt x="6685" y="13370"/>
                  </a:lnTo>
                  <a:cubicBezTo>
                    <a:pt x="2997" y="13370"/>
                    <a:pt x="0" y="10373"/>
                    <a:pt x="0" y="6685"/>
                  </a:cubicBezTo>
                  <a:cubicBezTo>
                    <a:pt x="0" y="2997"/>
                    <a:pt x="2997" y="0"/>
                    <a:pt x="6685" y="0"/>
                  </a:cubicBezTo>
                  <a:lnTo>
                    <a:pt x="135748" y="0"/>
                  </a:lnTo>
                  <a:cubicBezTo>
                    <a:pt x="139436" y="0"/>
                    <a:pt x="142433" y="2997"/>
                    <a:pt x="142433" y="6685"/>
                  </a:cubicBezTo>
                  <a:cubicBezTo>
                    <a:pt x="142404" y="10402"/>
                    <a:pt x="139436" y="13370"/>
                    <a:pt x="135748" y="13370"/>
                  </a:cubicBezTo>
                  <a:close/>
                </a:path>
              </a:pathLst>
            </a:custGeom>
            <a:grpFill/>
            <a:ln w="287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251" name="Freihandform: Form 224">
              <a:extLst>
                <a:ext uri="{FF2B5EF4-FFF2-40B4-BE49-F238E27FC236}">
                  <a16:creationId xmlns:a16="http://schemas.microsoft.com/office/drawing/2014/main" id="{B4E6BDC9-2B3F-9AEB-F5BE-6A1FC1443175}"/>
                </a:ext>
              </a:extLst>
            </p:cNvPr>
            <p:cNvSpPr/>
            <p:nvPr/>
          </p:nvSpPr>
          <p:spPr>
            <a:xfrm>
              <a:off x="2575748" y="2474441"/>
              <a:ext cx="357999" cy="13370"/>
            </a:xfrm>
            <a:custGeom>
              <a:avLst/>
              <a:gdLst>
                <a:gd name="connsiteX0" fmla="*/ 351314 w 357999"/>
                <a:gd name="connsiteY0" fmla="*/ 13370 h 13370"/>
                <a:gd name="connsiteX1" fmla="*/ 6685 w 357999"/>
                <a:gd name="connsiteY1" fmla="*/ 13370 h 13370"/>
                <a:gd name="connsiteX2" fmla="*/ 0 w 357999"/>
                <a:gd name="connsiteY2" fmla="*/ 6685 h 13370"/>
                <a:gd name="connsiteX3" fmla="*/ 6685 w 357999"/>
                <a:gd name="connsiteY3" fmla="*/ 0 h 13370"/>
                <a:gd name="connsiteX4" fmla="*/ 351314 w 357999"/>
                <a:gd name="connsiteY4" fmla="*/ 0 h 13370"/>
                <a:gd name="connsiteX5" fmla="*/ 357999 w 357999"/>
                <a:gd name="connsiteY5" fmla="*/ 6685 h 13370"/>
                <a:gd name="connsiteX6" fmla="*/ 351314 w 357999"/>
                <a:gd name="connsiteY6" fmla="*/ 13370 h 133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57999" h="13370">
                  <a:moveTo>
                    <a:pt x="351314" y="13370"/>
                  </a:moveTo>
                  <a:lnTo>
                    <a:pt x="6685" y="13370"/>
                  </a:lnTo>
                  <a:cubicBezTo>
                    <a:pt x="2997" y="13370"/>
                    <a:pt x="0" y="10373"/>
                    <a:pt x="0" y="6685"/>
                  </a:cubicBezTo>
                  <a:cubicBezTo>
                    <a:pt x="0" y="2997"/>
                    <a:pt x="2997" y="0"/>
                    <a:pt x="6685" y="0"/>
                  </a:cubicBezTo>
                  <a:lnTo>
                    <a:pt x="351314" y="0"/>
                  </a:lnTo>
                  <a:cubicBezTo>
                    <a:pt x="355002" y="0"/>
                    <a:pt x="357999" y="2997"/>
                    <a:pt x="357999" y="6685"/>
                  </a:cubicBezTo>
                  <a:cubicBezTo>
                    <a:pt x="357971" y="10402"/>
                    <a:pt x="355002" y="13370"/>
                    <a:pt x="351314" y="13370"/>
                  </a:cubicBezTo>
                  <a:close/>
                </a:path>
              </a:pathLst>
            </a:custGeom>
            <a:grpFill/>
            <a:ln w="287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252" name="Freihandform: Form 225">
              <a:extLst>
                <a:ext uri="{FF2B5EF4-FFF2-40B4-BE49-F238E27FC236}">
                  <a16:creationId xmlns:a16="http://schemas.microsoft.com/office/drawing/2014/main" id="{176E9865-D487-CA8C-DDAD-18055E692C2C}"/>
                </a:ext>
              </a:extLst>
            </p:cNvPr>
            <p:cNvSpPr/>
            <p:nvPr/>
          </p:nvSpPr>
          <p:spPr>
            <a:xfrm>
              <a:off x="2772416" y="2474412"/>
              <a:ext cx="203394" cy="240519"/>
            </a:xfrm>
            <a:custGeom>
              <a:avLst/>
              <a:gdLst>
                <a:gd name="connsiteX0" fmla="*/ 71890 w 203394"/>
                <a:gd name="connsiteY0" fmla="*/ 240520 h 240519"/>
                <a:gd name="connsiteX1" fmla="*/ 68201 w 203394"/>
                <a:gd name="connsiteY1" fmla="*/ 239396 h 240519"/>
                <a:gd name="connsiteX2" fmla="*/ 66328 w 203394"/>
                <a:gd name="connsiteY2" fmla="*/ 230146 h 240519"/>
                <a:gd name="connsiteX3" fmla="*/ 186026 w 203394"/>
                <a:gd name="connsiteY3" fmla="*/ 50081 h 240519"/>
                <a:gd name="connsiteX4" fmla="*/ 187237 w 203394"/>
                <a:gd name="connsiteY4" fmla="*/ 26308 h 240519"/>
                <a:gd name="connsiteX5" fmla="*/ 166951 w 203394"/>
                <a:gd name="connsiteY5" fmla="*/ 13889 h 240519"/>
                <a:gd name="connsiteX6" fmla="*/ 135542 w 203394"/>
                <a:gd name="connsiteY6" fmla="*/ 13457 h 240519"/>
                <a:gd name="connsiteX7" fmla="*/ 12242 w 203394"/>
                <a:gd name="connsiteY7" fmla="*/ 199430 h 240519"/>
                <a:gd name="connsiteX8" fmla="*/ 2993 w 203394"/>
                <a:gd name="connsiteY8" fmla="*/ 201303 h 240519"/>
                <a:gd name="connsiteX9" fmla="*/ 1120 w 203394"/>
                <a:gd name="connsiteY9" fmla="*/ 192053 h 240519"/>
                <a:gd name="connsiteX10" fmla="*/ 128454 w 203394"/>
                <a:gd name="connsiteY10" fmla="*/ 0 h 240519"/>
                <a:gd name="connsiteX11" fmla="*/ 167152 w 203394"/>
                <a:gd name="connsiteY11" fmla="*/ 519 h 240519"/>
                <a:gd name="connsiteX12" fmla="*/ 199080 w 203394"/>
                <a:gd name="connsiteY12" fmla="*/ 20084 h 240519"/>
                <a:gd name="connsiteX13" fmla="*/ 197178 w 203394"/>
                <a:gd name="connsiteY13" fmla="*/ 57486 h 240519"/>
                <a:gd name="connsiteX14" fmla="*/ 77480 w 203394"/>
                <a:gd name="connsiteY14" fmla="*/ 237552 h 240519"/>
                <a:gd name="connsiteX15" fmla="*/ 71890 w 203394"/>
                <a:gd name="connsiteY15" fmla="*/ 240520 h 2405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203394" h="240519">
                  <a:moveTo>
                    <a:pt x="71890" y="240520"/>
                  </a:moveTo>
                  <a:cubicBezTo>
                    <a:pt x="70622" y="240520"/>
                    <a:pt x="69325" y="240145"/>
                    <a:pt x="68201" y="239396"/>
                  </a:cubicBezTo>
                  <a:cubicBezTo>
                    <a:pt x="65118" y="237350"/>
                    <a:pt x="64282" y="233201"/>
                    <a:pt x="66328" y="230146"/>
                  </a:cubicBezTo>
                  <a:lnTo>
                    <a:pt x="186026" y="50081"/>
                  </a:lnTo>
                  <a:cubicBezTo>
                    <a:pt x="190839" y="42848"/>
                    <a:pt x="191271" y="33973"/>
                    <a:pt x="187237" y="26308"/>
                  </a:cubicBezTo>
                  <a:cubicBezTo>
                    <a:pt x="183202" y="18643"/>
                    <a:pt x="175595" y="14004"/>
                    <a:pt x="166951" y="13889"/>
                  </a:cubicBezTo>
                  <a:lnTo>
                    <a:pt x="135542" y="13457"/>
                  </a:lnTo>
                  <a:lnTo>
                    <a:pt x="12242" y="199430"/>
                  </a:lnTo>
                  <a:cubicBezTo>
                    <a:pt x="10196" y="202484"/>
                    <a:pt x="6076" y="203348"/>
                    <a:pt x="2993" y="201303"/>
                  </a:cubicBezTo>
                  <a:cubicBezTo>
                    <a:pt x="-91" y="199257"/>
                    <a:pt x="-926" y="195136"/>
                    <a:pt x="1120" y="192053"/>
                  </a:cubicBezTo>
                  <a:lnTo>
                    <a:pt x="128454" y="0"/>
                  </a:lnTo>
                  <a:lnTo>
                    <a:pt x="167152" y="519"/>
                  </a:lnTo>
                  <a:cubicBezTo>
                    <a:pt x="180782" y="692"/>
                    <a:pt x="192711" y="8011"/>
                    <a:pt x="199080" y="20084"/>
                  </a:cubicBezTo>
                  <a:cubicBezTo>
                    <a:pt x="205448" y="32158"/>
                    <a:pt x="204727" y="46133"/>
                    <a:pt x="197178" y="57486"/>
                  </a:cubicBezTo>
                  <a:lnTo>
                    <a:pt x="77480" y="237552"/>
                  </a:lnTo>
                  <a:cubicBezTo>
                    <a:pt x="76154" y="239483"/>
                    <a:pt x="74051" y="240520"/>
                    <a:pt x="71890" y="240520"/>
                  </a:cubicBezTo>
                  <a:close/>
                </a:path>
              </a:pathLst>
            </a:custGeom>
            <a:grpFill/>
            <a:ln w="287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253" name="Freihandform: Form 226">
              <a:extLst>
                <a:ext uri="{FF2B5EF4-FFF2-40B4-BE49-F238E27FC236}">
                  <a16:creationId xmlns:a16="http://schemas.microsoft.com/office/drawing/2014/main" id="{8D54BE36-B24D-FE2D-0134-4B8EF77089DF}"/>
                </a:ext>
              </a:extLst>
            </p:cNvPr>
            <p:cNvSpPr/>
            <p:nvPr/>
          </p:nvSpPr>
          <p:spPr>
            <a:xfrm>
              <a:off x="2535185" y="2474412"/>
              <a:ext cx="203980" cy="239309"/>
            </a:xfrm>
            <a:custGeom>
              <a:avLst/>
              <a:gdLst>
                <a:gd name="connsiteX0" fmla="*/ 130698 w 203980"/>
                <a:gd name="connsiteY0" fmla="*/ 239310 h 239309"/>
                <a:gd name="connsiteX1" fmla="*/ 125136 w 203980"/>
                <a:gd name="connsiteY1" fmla="*/ 236342 h 239309"/>
                <a:gd name="connsiteX2" fmla="*/ 6216 w 203980"/>
                <a:gd name="connsiteY2" fmla="*/ 57457 h 239309"/>
                <a:gd name="connsiteX3" fmla="*/ 4315 w 203980"/>
                <a:gd name="connsiteY3" fmla="*/ 20084 h 239309"/>
                <a:gd name="connsiteX4" fmla="*/ 36242 w 203980"/>
                <a:gd name="connsiteY4" fmla="*/ 519 h 239309"/>
                <a:gd name="connsiteX5" fmla="*/ 73413 w 203980"/>
                <a:gd name="connsiteY5" fmla="*/ 0 h 239309"/>
                <a:gd name="connsiteX6" fmla="*/ 202851 w 203980"/>
                <a:gd name="connsiteY6" fmla="*/ 192226 h 239309"/>
                <a:gd name="connsiteX7" fmla="*/ 201035 w 203980"/>
                <a:gd name="connsiteY7" fmla="*/ 201504 h 239309"/>
                <a:gd name="connsiteX8" fmla="*/ 191786 w 203980"/>
                <a:gd name="connsiteY8" fmla="*/ 199689 h 239309"/>
                <a:gd name="connsiteX9" fmla="*/ 66382 w 203980"/>
                <a:gd name="connsiteY9" fmla="*/ 13457 h 239309"/>
                <a:gd name="connsiteX10" fmla="*/ 36415 w 203980"/>
                <a:gd name="connsiteY10" fmla="*/ 13860 h 239309"/>
                <a:gd name="connsiteX11" fmla="*/ 16129 w 203980"/>
                <a:gd name="connsiteY11" fmla="*/ 26279 h 239309"/>
                <a:gd name="connsiteX12" fmla="*/ 17339 w 203980"/>
                <a:gd name="connsiteY12" fmla="*/ 50052 h 239309"/>
                <a:gd name="connsiteX13" fmla="*/ 136259 w 203980"/>
                <a:gd name="connsiteY13" fmla="*/ 228936 h 239309"/>
                <a:gd name="connsiteX14" fmla="*/ 134386 w 203980"/>
                <a:gd name="connsiteY14" fmla="*/ 238186 h 239309"/>
                <a:gd name="connsiteX15" fmla="*/ 130698 w 203980"/>
                <a:gd name="connsiteY15" fmla="*/ 239310 h 2393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203980" h="239309">
                  <a:moveTo>
                    <a:pt x="130698" y="239310"/>
                  </a:moveTo>
                  <a:cubicBezTo>
                    <a:pt x="128537" y="239310"/>
                    <a:pt x="126404" y="238272"/>
                    <a:pt x="125136" y="236342"/>
                  </a:cubicBezTo>
                  <a:lnTo>
                    <a:pt x="6216" y="57457"/>
                  </a:lnTo>
                  <a:cubicBezTo>
                    <a:pt x="-1333" y="46104"/>
                    <a:pt x="-2054" y="32129"/>
                    <a:pt x="4315" y="20084"/>
                  </a:cubicBezTo>
                  <a:cubicBezTo>
                    <a:pt x="10683" y="8039"/>
                    <a:pt x="22612" y="720"/>
                    <a:pt x="36242" y="519"/>
                  </a:cubicBezTo>
                  <a:lnTo>
                    <a:pt x="73413" y="0"/>
                  </a:lnTo>
                  <a:lnTo>
                    <a:pt x="202851" y="192226"/>
                  </a:lnTo>
                  <a:cubicBezTo>
                    <a:pt x="204897" y="195280"/>
                    <a:pt x="204090" y="199430"/>
                    <a:pt x="201035" y="201504"/>
                  </a:cubicBezTo>
                  <a:cubicBezTo>
                    <a:pt x="197981" y="203550"/>
                    <a:pt x="193832" y="202743"/>
                    <a:pt x="191786" y="199689"/>
                  </a:cubicBezTo>
                  <a:lnTo>
                    <a:pt x="66382" y="13457"/>
                  </a:lnTo>
                  <a:lnTo>
                    <a:pt x="36415" y="13860"/>
                  </a:lnTo>
                  <a:cubicBezTo>
                    <a:pt x="27741" y="13975"/>
                    <a:pt x="20163" y="18615"/>
                    <a:pt x="16129" y="26279"/>
                  </a:cubicBezTo>
                  <a:cubicBezTo>
                    <a:pt x="12095" y="33944"/>
                    <a:pt x="12527" y="42848"/>
                    <a:pt x="17339" y="50052"/>
                  </a:cubicBezTo>
                  <a:lnTo>
                    <a:pt x="136259" y="228936"/>
                  </a:lnTo>
                  <a:cubicBezTo>
                    <a:pt x="138305" y="232019"/>
                    <a:pt x="137469" y="236140"/>
                    <a:pt x="134386" y="238186"/>
                  </a:cubicBezTo>
                  <a:cubicBezTo>
                    <a:pt x="133233" y="238964"/>
                    <a:pt x="131966" y="239310"/>
                    <a:pt x="130698" y="239310"/>
                  </a:cubicBezTo>
                  <a:close/>
                </a:path>
              </a:pathLst>
            </a:custGeom>
            <a:grpFill/>
            <a:ln w="287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grpSp>
          <p:nvGrpSpPr>
            <p:cNvPr id="254" name="Grafik 205">
              <a:extLst>
                <a:ext uri="{FF2B5EF4-FFF2-40B4-BE49-F238E27FC236}">
                  <a16:creationId xmlns:a16="http://schemas.microsoft.com/office/drawing/2014/main" id="{BD3F8A12-72C6-2605-6796-3A4EACD4D269}"/>
                </a:ext>
              </a:extLst>
            </p:cNvPr>
            <p:cNvGrpSpPr/>
            <p:nvPr/>
          </p:nvGrpSpPr>
          <p:grpSpPr>
            <a:xfrm>
              <a:off x="2628163" y="2661855"/>
              <a:ext cx="253112" cy="253169"/>
              <a:chOff x="2628163" y="2661855"/>
              <a:chExt cx="253112" cy="253169"/>
            </a:xfrm>
            <a:grpFill/>
          </p:grpSpPr>
          <p:sp>
            <p:nvSpPr>
              <p:cNvPr id="257" name="Freihandform: Form 228">
                <a:extLst>
                  <a:ext uri="{FF2B5EF4-FFF2-40B4-BE49-F238E27FC236}">
                    <a16:creationId xmlns:a16="http://schemas.microsoft.com/office/drawing/2014/main" id="{C7453C42-EF04-3426-4EE3-AB0BC9289300}"/>
                  </a:ext>
                </a:extLst>
              </p:cNvPr>
              <p:cNvSpPr/>
              <p:nvPr/>
            </p:nvSpPr>
            <p:spPr>
              <a:xfrm>
                <a:off x="2628163" y="2661855"/>
                <a:ext cx="253112" cy="253169"/>
              </a:xfrm>
              <a:custGeom>
                <a:avLst/>
                <a:gdLst>
                  <a:gd name="connsiteX0" fmla="*/ 126556 w 253112"/>
                  <a:gd name="connsiteY0" fmla="*/ 253170 h 253169"/>
                  <a:gd name="connsiteX1" fmla="*/ 0 w 253112"/>
                  <a:gd name="connsiteY1" fmla="*/ 126585 h 253169"/>
                  <a:gd name="connsiteX2" fmla="*/ 126556 w 253112"/>
                  <a:gd name="connsiteY2" fmla="*/ 0 h 253169"/>
                  <a:gd name="connsiteX3" fmla="*/ 253112 w 253112"/>
                  <a:gd name="connsiteY3" fmla="*/ 126585 h 253169"/>
                  <a:gd name="connsiteX4" fmla="*/ 126556 w 253112"/>
                  <a:gd name="connsiteY4" fmla="*/ 253170 h 253169"/>
                  <a:gd name="connsiteX5" fmla="*/ 126556 w 253112"/>
                  <a:gd name="connsiteY5" fmla="*/ 13341 h 253169"/>
                  <a:gd name="connsiteX6" fmla="*/ 13370 w 253112"/>
                  <a:gd name="connsiteY6" fmla="*/ 126585 h 253169"/>
                  <a:gd name="connsiteX7" fmla="*/ 126556 w 253112"/>
                  <a:gd name="connsiteY7" fmla="*/ 239828 h 253169"/>
                  <a:gd name="connsiteX8" fmla="*/ 239771 w 253112"/>
                  <a:gd name="connsiteY8" fmla="*/ 126585 h 253169"/>
                  <a:gd name="connsiteX9" fmla="*/ 126556 w 253112"/>
                  <a:gd name="connsiteY9" fmla="*/ 13341 h 2531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53112" h="253169">
                    <a:moveTo>
                      <a:pt x="126556" y="253170"/>
                    </a:moveTo>
                    <a:cubicBezTo>
                      <a:pt x="56766" y="253170"/>
                      <a:pt x="0" y="196375"/>
                      <a:pt x="0" y="126585"/>
                    </a:cubicBezTo>
                    <a:cubicBezTo>
                      <a:pt x="0" y="56795"/>
                      <a:pt x="56766" y="0"/>
                      <a:pt x="126556" y="0"/>
                    </a:cubicBezTo>
                    <a:cubicBezTo>
                      <a:pt x="196346" y="0"/>
                      <a:pt x="253112" y="56795"/>
                      <a:pt x="253112" y="126585"/>
                    </a:cubicBezTo>
                    <a:cubicBezTo>
                      <a:pt x="253112" y="196375"/>
                      <a:pt x="196346" y="253170"/>
                      <a:pt x="126556" y="253170"/>
                    </a:cubicBezTo>
                    <a:close/>
                    <a:moveTo>
                      <a:pt x="126556" y="13341"/>
                    </a:moveTo>
                    <a:cubicBezTo>
                      <a:pt x="64143" y="13341"/>
                      <a:pt x="13370" y="64143"/>
                      <a:pt x="13370" y="126585"/>
                    </a:cubicBezTo>
                    <a:cubicBezTo>
                      <a:pt x="13370" y="189027"/>
                      <a:pt x="64143" y="239828"/>
                      <a:pt x="126556" y="239828"/>
                    </a:cubicBezTo>
                    <a:cubicBezTo>
                      <a:pt x="188970" y="239828"/>
                      <a:pt x="239771" y="189027"/>
                      <a:pt x="239771" y="126585"/>
                    </a:cubicBezTo>
                    <a:cubicBezTo>
                      <a:pt x="239771" y="64143"/>
                      <a:pt x="188999" y="13341"/>
                      <a:pt x="126556" y="13341"/>
                    </a:cubicBezTo>
                    <a:close/>
                  </a:path>
                </a:pathLst>
              </a:custGeom>
              <a:grpFill/>
              <a:ln w="287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58" name="Freihandform: Form 229">
                <a:extLst>
                  <a:ext uri="{FF2B5EF4-FFF2-40B4-BE49-F238E27FC236}">
                    <a16:creationId xmlns:a16="http://schemas.microsoft.com/office/drawing/2014/main" id="{80A82E76-ECCC-F9C9-E97F-1EF4C9167CF4}"/>
                  </a:ext>
                </a:extLst>
              </p:cNvPr>
              <p:cNvSpPr/>
              <p:nvPr/>
            </p:nvSpPr>
            <p:spPr>
              <a:xfrm>
                <a:off x="2628163" y="2661855"/>
                <a:ext cx="253112" cy="253169"/>
              </a:xfrm>
              <a:custGeom>
                <a:avLst/>
                <a:gdLst>
                  <a:gd name="connsiteX0" fmla="*/ 126556 w 253112"/>
                  <a:gd name="connsiteY0" fmla="*/ 253170 h 253169"/>
                  <a:gd name="connsiteX1" fmla="*/ 0 w 253112"/>
                  <a:gd name="connsiteY1" fmla="*/ 126585 h 253169"/>
                  <a:gd name="connsiteX2" fmla="*/ 126556 w 253112"/>
                  <a:gd name="connsiteY2" fmla="*/ 0 h 253169"/>
                  <a:gd name="connsiteX3" fmla="*/ 253112 w 253112"/>
                  <a:gd name="connsiteY3" fmla="*/ 126585 h 253169"/>
                  <a:gd name="connsiteX4" fmla="*/ 126556 w 253112"/>
                  <a:gd name="connsiteY4" fmla="*/ 253170 h 253169"/>
                  <a:gd name="connsiteX5" fmla="*/ 126556 w 253112"/>
                  <a:gd name="connsiteY5" fmla="*/ 13341 h 253169"/>
                  <a:gd name="connsiteX6" fmla="*/ 13370 w 253112"/>
                  <a:gd name="connsiteY6" fmla="*/ 126585 h 253169"/>
                  <a:gd name="connsiteX7" fmla="*/ 126556 w 253112"/>
                  <a:gd name="connsiteY7" fmla="*/ 239828 h 253169"/>
                  <a:gd name="connsiteX8" fmla="*/ 239771 w 253112"/>
                  <a:gd name="connsiteY8" fmla="*/ 126585 h 253169"/>
                  <a:gd name="connsiteX9" fmla="*/ 126556 w 253112"/>
                  <a:gd name="connsiteY9" fmla="*/ 13341 h 2531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53112" h="253169">
                    <a:moveTo>
                      <a:pt x="126556" y="253170"/>
                    </a:moveTo>
                    <a:cubicBezTo>
                      <a:pt x="56766" y="253170"/>
                      <a:pt x="0" y="196375"/>
                      <a:pt x="0" y="126585"/>
                    </a:cubicBezTo>
                    <a:cubicBezTo>
                      <a:pt x="0" y="56795"/>
                      <a:pt x="56766" y="0"/>
                      <a:pt x="126556" y="0"/>
                    </a:cubicBezTo>
                    <a:cubicBezTo>
                      <a:pt x="196346" y="0"/>
                      <a:pt x="253112" y="56795"/>
                      <a:pt x="253112" y="126585"/>
                    </a:cubicBezTo>
                    <a:cubicBezTo>
                      <a:pt x="253112" y="196375"/>
                      <a:pt x="196346" y="253170"/>
                      <a:pt x="126556" y="253170"/>
                    </a:cubicBezTo>
                    <a:close/>
                    <a:moveTo>
                      <a:pt x="126556" y="13341"/>
                    </a:moveTo>
                    <a:cubicBezTo>
                      <a:pt x="64143" y="13341"/>
                      <a:pt x="13370" y="64143"/>
                      <a:pt x="13370" y="126585"/>
                    </a:cubicBezTo>
                    <a:cubicBezTo>
                      <a:pt x="13370" y="189027"/>
                      <a:pt x="64143" y="239828"/>
                      <a:pt x="126556" y="239828"/>
                    </a:cubicBezTo>
                    <a:cubicBezTo>
                      <a:pt x="188970" y="239828"/>
                      <a:pt x="239771" y="189027"/>
                      <a:pt x="239771" y="126585"/>
                    </a:cubicBezTo>
                    <a:cubicBezTo>
                      <a:pt x="239771" y="64143"/>
                      <a:pt x="188999" y="13341"/>
                      <a:pt x="126556" y="13341"/>
                    </a:cubicBezTo>
                    <a:close/>
                  </a:path>
                </a:pathLst>
              </a:custGeom>
              <a:grpFill/>
              <a:ln w="287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255" name="Freihandform: Form 230">
              <a:extLst>
                <a:ext uri="{FF2B5EF4-FFF2-40B4-BE49-F238E27FC236}">
                  <a16:creationId xmlns:a16="http://schemas.microsoft.com/office/drawing/2014/main" id="{B90A70FE-D241-36D2-C05E-C6B4CBDBAA6A}"/>
                </a:ext>
              </a:extLst>
            </p:cNvPr>
            <p:cNvSpPr/>
            <p:nvPr/>
          </p:nvSpPr>
          <p:spPr>
            <a:xfrm>
              <a:off x="2725068" y="2510057"/>
              <a:ext cx="19306" cy="13370"/>
            </a:xfrm>
            <a:custGeom>
              <a:avLst/>
              <a:gdLst>
                <a:gd name="connsiteX0" fmla="*/ 12621 w 19306"/>
                <a:gd name="connsiteY0" fmla="*/ 13370 h 13370"/>
                <a:gd name="connsiteX1" fmla="*/ 6685 w 19306"/>
                <a:gd name="connsiteY1" fmla="*/ 13370 h 13370"/>
                <a:gd name="connsiteX2" fmla="*/ 0 w 19306"/>
                <a:gd name="connsiteY2" fmla="*/ 6685 h 13370"/>
                <a:gd name="connsiteX3" fmla="*/ 6685 w 19306"/>
                <a:gd name="connsiteY3" fmla="*/ 0 h 13370"/>
                <a:gd name="connsiteX4" fmla="*/ 12621 w 19306"/>
                <a:gd name="connsiteY4" fmla="*/ 0 h 13370"/>
                <a:gd name="connsiteX5" fmla="*/ 19306 w 19306"/>
                <a:gd name="connsiteY5" fmla="*/ 6685 h 13370"/>
                <a:gd name="connsiteX6" fmla="*/ 12621 w 19306"/>
                <a:gd name="connsiteY6" fmla="*/ 13370 h 133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9306" h="13370">
                  <a:moveTo>
                    <a:pt x="12621" y="13370"/>
                  </a:moveTo>
                  <a:lnTo>
                    <a:pt x="6685" y="13370"/>
                  </a:lnTo>
                  <a:cubicBezTo>
                    <a:pt x="2997" y="13370"/>
                    <a:pt x="0" y="10373"/>
                    <a:pt x="0" y="6685"/>
                  </a:cubicBezTo>
                  <a:cubicBezTo>
                    <a:pt x="0" y="2997"/>
                    <a:pt x="2997" y="0"/>
                    <a:pt x="6685" y="0"/>
                  </a:cubicBezTo>
                  <a:lnTo>
                    <a:pt x="12621" y="0"/>
                  </a:lnTo>
                  <a:cubicBezTo>
                    <a:pt x="16309" y="0"/>
                    <a:pt x="19306" y="2997"/>
                    <a:pt x="19306" y="6685"/>
                  </a:cubicBezTo>
                  <a:cubicBezTo>
                    <a:pt x="19306" y="10373"/>
                    <a:pt x="16309" y="13370"/>
                    <a:pt x="12621" y="13370"/>
                  </a:cubicBezTo>
                  <a:close/>
                </a:path>
              </a:pathLst>
            </a:custGeom>
            <a:grpFill/>
            <a:ln w="287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256" name="Freihandform: Form 231">
              <a:extLst>
                <a:ext uri="{FF2B5EF4-FFF2-40B4-BE49-F238E27FC236}">
                  <a16:creationId xmlns:a16="http://schemas.microsoft.com/office/drawing/2014/main" id="{CD292BA9-110D-D40F-05A9-8533E37F5F58}"/>
                </a:ext>
              </a:extLst>
            </p:cNvPr>
            <p:cNvSpPr/>
            <p:nvPr/>
          </p:nvSpPr>
          <p:spPr>
            <a:xfrm>
              <a:off x="2766591" y="2510057"/>
              <a:ext cx="19305" cy="13370"/>
            </a:xfrm>
            <a:custGeom>
              <a:avLst/>
              <a:gdLst>
                <a:gd name="connsiteX0" fmla="*/ 12621 w 19305"/>
                <a:gd name="connsiteY0" fmla="*/ 13370 h 13370"/>
                <a:gd name="connsiteX1" fmla="*/ 6685 w 19305"/>
                <a:gd name="connsiteY1" fmla="*/ 13370 h 13370"/>
                <a:gd name="connsiteX2" fmla="*/ 0 w 19305"/>
                <a:gd name="connsiteY2" fmla="*/ 6685 h 13370"/>
                <a:gd name="connsiteX3" fmla="*/ 6685 w 19305"/>
                <a:gd name="connsiteY3" fmla="*/ 0 h 13370"/>
                <a:gd name="connsiteX4" fmla="*/ 12621 w 19305"/>
                <a:gd name="connsiteY4" fmla="*/ 0 h 13370"/>
                <a:gd name="connsiteX5" fmla="*/ 19306 w 19305"/>
                <a:gd name="connsiteY5" fmla="*/ 6685 h 13370"/>
                <a:gd name="connsiteX6" fmla="*/ 12621 w 19305"/>
                <a:gd name="connsiteY6" fmla="*/ 13370 h 133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9305" h="13370">
                  <a:moveTo>
                    <a:pt x="12621" y="13370"/>
                  </a:moveTo>
                  <a:lnTo>
                    <a:pt x="6685" y="13370"/>
                  </a:lnTo>
                  <a:cubicBezTo>
                    <a:pt x="2997" y="13370"/>
                    <a:pt x="0" y="10373"/>
                    <a:pt x="0" y="6685"/>
                  </a:cubicBezTo>
                  <a:cubicBezTo>
                    <a:pt x="0" y="2997"/>
                    <a:pt x="2997" y="0"/>
                    <a:pt x="6685" y="0"/>
                  </a:cubicBezTo>
                  <a:lnTo>
                    <a:pt x="12621" y="0"/>
                  </a:lnTo>
                  <a:cubicBezTo>
                    <a:pt x="16309" y="0"/>
                    <a:pt x="19306" y="2997"/>
                    <a:pt x="19306" y="6685"/>
                  </a:cubicBezTo>
                  <a:cubicBezTo>
                    <a:pt x="19306" y="10373"/>
                    <a:pt x="16309" y="13370"/>
                    <a:pt x="12621" y="13370"/>
                  </a:cubicBezTo>
                  <a:close/>
                </a:path>
              </a:pathLst>
            </a:custGeom>
            <a:grpFill/>
            <a:ln w="287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249" name="Freihandform: Form 232">
            <a:extLst>
              <a:ext uri="{FF2B5EF4-FFF2-40B4-BE49-F238E27FC236}">
                <a16:creationId xmlns:a16="http://schemas.microsoft.com/office/drawing/2014/main" id="{34D75890-76F9-B2C4-2D8B-54848E957638}"/>
              </a:ext>
            </a:extLst>
          </p:cNvPr>
          <p:cNvSpPr/>
          <p:nvPr/>
        </p:nvSpPr>
        <p:spPr>
          <a:xfrm>
            <a:off x="7582722" y="4542873"/>
            <a:ext cx="133943" cy="128727"/>
          </a:xfrm>
          <a:custGeom>
            <a:avLst/>
            <a:gdLst>
              <a:gd name="connsiteX0" fmla="*/ 40602 w 159161"/>
              <a:gd name="connsiteY0" fmla="*/ 152951 h 152963"/>
              <a:gd name="connsiteX1" fmla="*/ 30892 w 159161"/>
              <a:gd name="connsiteY1" fmla="*/ 149781 h 152963"/>
              <a:gd name="connsiteX2" fmla="*/ 24322 w 159161"/>
              <a:gd name="connsiteY2" fmla="*/ 133587 h 152963"/>
              <a:gd name="connsiteX3" fmla="*/ 30287 w 159161"/>
              <a:gd name="connsiteY3" fmla="*/ 98807 h 152963"/>
              <a:gd name="connsiteX4" fmla="*/ 5016 w 159161"/>
              <a:gd name="connsiteY4" fmla="*/ 74170 h 152963"/>
              <a:gd name="connsiteX5" fmla="*/ 838 w 159161"/>
              <a:gd name="connsiteY5" fmla="*/ 57198 h 152963"/>
              <a:gd name="connsiteX6" fmla="*/ 14208 w 159161"/>
              <a:gd name="connsiteY6" fmla="*/ 45931 h 152963"/>
              <a:gd name="connsiteX7" fmla="*/ 49132 w 159161"/>
              <a:gd name="connsiteY7" fmla="*/ 40860 h 152963"/>
              <a:gd name="connsiteX8" fmla="*/ 64750 w 159161"/>
              <a:gd name="connsiteY8" fmla="*/ 9221 h 152963"/>
              <a:gd name="connsiteX9" fmla="*/ 79589 w 159161"/>
              <a:gd name="connsiteY9" fmla="*/ 0 h 152963"/>
              <a:gd name="connsiteX10" fmla="*/ 94429 w 159161"/>
              <a:gd name="connsiteY10" fmla="*/ 9221 h 152963"/>
              <a:gd name="connsiteX11" fmla="*/ 110047 w 159161"/>
              <a:gd name="connsiteY11" fmla="*/ 40860 h 152963"/>
              <a:gd name="connsiteX12" fmla="*/ 144971 w 159161"/>
              <a:gd name="connsiteY12" fmla="*/ 45931 h 152963"/>
              <a:gd name="connsiteX13" fmla="*/ 158341 w 159161"/>
              <a:gd name="connsiteY13" fmla="*/ 57198 h 152963"/>
              <a:gd name="connsiteX14" fmla="*/ 154163 w 159161"/>
              <a:gd name="connsiteY14" fmla="*/ 74170 h 152963"/>
              <a:gd name="connsiteX15" fmla="*/ 128892 w 159161"/>
              <a:gd name="connsiteY15" fmla="*/ 98807 h 152963"/>
              <a:gd name="connsiteX16" fmla="*/ 134857 w 159161"/>
              <a:gd name="connsiteY16" fmla="*/ 133587 h 152963"/>
              <a:gd name="connsiteX17" fmla="*/ 128287 w 159161"/>
              <a:gd name="connsiteY17" fmla="*/ 149781 h 152963"/>
              <a:gd name="connsiteX18" fmla="*/ 110854 w 159161"/>
              <a:gd name="connsiteY18" fmla="*/ 151049 h 152963"/>
              <a:gd name="connsiteX19" fmla="*/ 79618 w 159161"/>
              <a:gd name="connsiteY19" fmla="*/ 134624 h 152963"/>
              <a:gd name="connsiteX20" fmla="*/ 48383 w 159161"/>
              <a:gd name="connsiteY20" fmla="*/ 151049 h 152963"/>
              <a:gd name="connsiteX21" fmla="*/ 40602 w 159161"/>
              <a:gd name="connsiteY21" fmla="*/ 152951 h 152963"/>
              <a:gd name="connsiteX22" fmla="*/ 79561 w 159161"/>
              <a:gd name="connsiteY22" fmla="*/ 13313 h 152963"/>
              <a:gd name="connsiteX23" fmla="*/ 76679 w 159161"/>
              <a:gd name="connsiteY23" fmla="*/ 15099 h 152963"/>
              <a:gd name="connsiteX24" fmla="*/ 59505 w 159161"/>
              <a:gd name="connsiteY24" fmla="*/ 49879 h 152963"/>
              <a:gd name="connsiteX25" fmla="*/ 54491 w 159161"/>
              <a:gd name="connsiteY25" fmla="*/ 53538 h 152963"/>
              <a:gd name="connsiteX26" fmla="*/ 16081 w 159161"/>
              <a:gd name="connsiteY26" fmla="*/ 59129 h 152963"/>
              <a:gd name="connsiteX27" fmla="*/ 13487 w 159161"/>
              <a:gd name="connsiteY27" fmla="*/ 61319 h 152963"/>
              <a:gd name="connsiteX28" fmla="*/ 14294 w 159161"/>
              <a:gd name="connsiteY28" fmla="*/ 64603 h 152963"/>
              <a:gd name="connsiteX29" fmla="*/ 42072 w 159161"/>
              <a:gd name="connsiteY29" fmla="*/ 91690 h 152963"/>
              <a:gd name="connsiteX30" fmla="*/ 44003 w 159161"/>
              <a:gd name="connsiteY30" fmla="*/ 97597 h 152963"/>
              <a:gd name="connsiteX31" fmla="*/ 37433 w 159161"/>
              <a:gd name="connsiteY31" fmla="*/ 135835 h 152963"/>
              <a:gd name="connsiteX32" fmla="*/ 38701 w 159161"/>
              <a:gd name="connsiteY32" fmla="*/ 138975 h 152963"/>
              <a:gd name="connsiteX33" fmla="*/ 42072 w 159161"/>
              <a:gd name="connsiteY33" fmla="*/ 139235 h 152963"/>
              <a:gd name="connsiteX34" fmla="*/ 76420 w 159161"/>
              <a:gd name="connsiteY34" fmla="*/ 121168 h 152963"/>
              <a:gd name="connsiteX35" fmla="*/ 82615 w 159161"/>
              <a:gd name="connsiteY35" fmla="*/ 121168 h 152963"/>
              <a:gd name="connsiteX36" fmla="*/ 116963 w 159161"/>
              <a:gd name="connsiteY36" fmla="*/ 139235 h 152963"/>
              <a:gd name="connsiteX37" fmla="*/ 120334 w 159161"/>
              <a:gd name="connsiteY37" fmla="*/ 139004 h 152963"/>
              <a:gd name="connsiteX38" fmla="*/ 121602 w 159161"/>
              <a:gd name="connsiteY38" fmla="*/ 135863 h 152963"/>
              <a:gd name="connsiteX39" fmla="*/ 115032 w 159161"/>
              <a:gd name="connsiteY39" fmla="*/ 97626 h 152963"/>
              <a:gd name="connsiteX40" fmla="*/ 116963 w 159161"/>
              <a:gd name="connsiteY40" fmla="*/ 91719 h 152963"/>
              <a:gd name="connsiteX41" fmla="*/ 144740 w 159161"/>
              <a:gd name="connsiteY41" fmla="*/ 64632 h 152963"/>
              <a:gd name="connsiteX42" fmla="*/ 145547 w 159161"/>
              <a:gd name="connsiteY42" fmla="*/ 61347 h 152963"/>
              <a:gd name="connsiteX43" fmla="*/ 142954 w 159161"/>
              <a:gd name="connsiteY43" fmla="*/ 59157 h 152963"/>
              <a:gd name="connsiteX44" fmla="*/ 104543 w 159161"/>
              <a:gd name="connsiteY44" fmla="*/ 53567 h 152963"/>
              <a:gd name="connsiteX45" fmla="*/ 99529 w 159161"/>
              <a:gd name="connsiteY45" fmla="*/ 49908 h 152963"/>
              <a:gd name="connsiteX46" fmla="*/ 82356 w 159161"/>
              <a:gd name="connsiteY46" fmla="*/ 15128 h 152963"/>
              <a:gd name="connsiteX47" fmla="*/ 82356 w 159161"/>
              <a:gd name="connsiteY47" fmla="*/ 15128 h 152963"/>
              <a:gd name="connsiteX48" fmla="*/ 79561 w 159161"/>
              <a:gd name="connsiteY48" fmla="*/ 13313 h 1529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</a:cxnLst>
            <a:rect l="l" t="t" r="r" b="b"/>
            <a:pathLst>
              <a:path w="159161" h="152963">
                <a:moveTo>
                  <a:pt x="40602" y="152951"/>
                </a:moveTo>
                <a:cubicBezTo>
                  <a:pt x="37173" y="152951"/>
                  <a:pt x="33802" y="151885"/>
                  <a:pt x="30892" y="149781"/>
                </a:cubicBezTo>
                <a:cubicBezTo>
                  <a:pt x="25763" y="146035"/>
                  <a:pt x="23227" y="139840"/>
                  <a:pt x="24322" y="133587"/>
                </a:cubicBezTo>
                <a:lnTo>
                  <a:pt x="30287" y="98807"/>
                </a:lnTo>
                <a:lnTo>
                  <a:pt x="5016" y="74170"/>
                </a:lnTo>
                <a:cubicBezTo>
                  <a:pt x="463" y="69733"/>
                  <a:pt x="-1151" y="63249"/>
                  <a:pt x="838" y="57198"/>
                </a:cubicBezTo>
                <a:cubicBezTo>
                  <a:pt x="2797" y="51147"/>
                  <a:pt x="7926" y="46825"/>
                  <a:pt x="14208" y="45931"/>
                </a:cubicBezTo>
                <a:lnTo>
                  <a:pt x="49132" y="40860"/>
                </a:lnTo>
                <a:lnTo>
                  <a:pt x="64750" y="9221"/>
                </a:lnTo>
                <a:cubicBezTo>
                  <a:pt x="67545" y="3515"/>
                  <a:pt x="73250" y="0"/>
                  <a:pt x="79589" y="0"/>
                </a:cubicBezTo>
                <a:cubicBezTo>
                  <a:pt x="85929" y="0"/>
                  <a:pt x="91634" y="3544"/>
                  <a:pt x="94429" y="9221"/>
                </a:cubicBezTo>
                <a:lnTo>
                  <a:pt x="110047" y="40860"/>
                </a:lnTo>
                <a:lnTo>
                  <a:pt x="144971" y="45931"/>
                </a:lnTo>
                <a:cubicBezTo>
                  <a:pt x="151252" y="46853"/>
                  <a:pt x="156382" y="51176"/>
                  <a:pt x="158341" y="57198"/>
                </a:cubicBezTo>
                <a:cubicBezTo>
                  <a:pt x="160300" y="63249"/>
                  <a:pt x="158687" y="69733"/>
                  <a:pt x="154163" y="74170"/>
                </a:cubicBezTo>
                <a:lnTo>
                  <a:pt x="128892" y="98807"/>
                </a:lnTo>
                <a:lnTo>
                  <a:pt x="134857" y="133587"/>
                </a:lnTo>
                <a:cubicBezTo>
                  <a:pt x="135923" y="139840"/>
                  <a:pt x="133416" y="146035"/>
                  <a:pt x="128287" y="149781"/>
                </a:cubicBezTo>
                <a:cubicBezTo>
                  <a:pt x="123158" y="153527"/>
                  <a:pt x="116444" y="153988"/>
                  <a:pt x="110854" y="151049"/>
                </a:cubicBezTo>
                <a:lnTo>
                  <a:pt x="79618" y="134624"/>
                </a:lnTo>
                <a:lnTo>
                  <a:pt x="48383" y="151049"/>
                </a:lnTo>
                <a:cubicBezTo>
                  <a:pt x="45876" y="152317"/>
                  <a:pt x="43225" y="152951"/>
                  <a:pt x="40602" y="152951"/>
                </a:cubicBezTo>
                <a:close/>
                <a:moveTo>
                  <a:pt x="79561" y="13313"/>
                </a:moveTo>
                <a:cubicBezTo>
                  <a:pt x="78955" y="13313"/>
                  <a:pt x="77486" y="13485"/>
                  <a:pt x="76679" y="15099"/>
                </a:cubicBezTo>
                <a:lnTo>
                  <a:pt x="59505" y="49879"/>
                </a:lnTo>
                <a:cubicBezTo>
                  <a:pt x="58525" y="51838"/>
                  <a:pt x="56653" y="53222"/>
                  <a:pt x="54491" y="53538"/>
                </a:cubicBezTo>
                <a:lnTo>
                  <a:pt x="16081" y="59129"/>
                </a:lnTo>
                <a:cubicBezTo>
                  <a:pt x="14294" y="59388"/>
                  <a:pt x="13689" y="60742"/>
                  <a:pt x="13487" y="61319"/>
                </a:cubicBezTo>
                <a:cubicBezTo>
                  <a:pt x="13314" y="61895"/>
                  <a:pt x="12998" y="63336"/>
                  <a:pt x="14294" y="64603"/>
                </a:cubicBezTo>
                <a:lnTo>
                  <a:pt x="42072" y="91690"/>
                </a:lnTo>
                <a:cubicBezTo>
                  <a:pt x="43657" y="93217"/>
                  <a:pt x="44348" y="95436"/>
                  <a:pt x="44003" y="97597"/>
                </a:cubicBezTo>
                <a:lnTo>
                  <a:pt x="37433" y="135835"/>
                </a:lnTo>
                <a:cubicBezTo>
                  <a:pt x="37116" y="137621"/>
                  <a:pt x="38240" y="138630"/>
                  <a:pt x="38701" y="138975"/>
                </a:cubicBezTo>
                <a:cubicBezTo>
                  <a:pt x="39191" y="139321"/>
                  <a:pt x="40487" y="140042"/>
                  <a:pt x="42072" y="139235"/>
                </a:cubicBezTo>
                <a:lnTo>
                  <a:pt x="76420" y="121168"/>
                </a:lnTo>
                <a:cubicBezTo>
                  <a:pt x="78350" y="120130"/>
                  <a:pt x="80684" y="120130"/>
                  <a:pt x="82615" y="121168"/>
                </a:cubicBezTo>
                <a:lnTo>
                  <a:pt x="116963" y="139235"/>
                </a:lnTo>
                <a:cubicBezTo>
                  <a:pt x="118547" y="140070"/>
                  <a:pt x="119844" y="139350"/>
                  <a:pt x="120334" y="139004"/>
                </a:cubicBezTo>
                <a:cubicBezTo>
                  <a:pt x="120824" y="138658"/>
                  <a:pt x="121919" y="137650"/>
                  <a:pt x="121602" y="135863"/>
                </a:cubicBezTo>
                <a:lnTo>
                  <a:pt x="115032" y="97626"/>
                </a:lnTo>
                <a:cubicBezTo>
                  <a:pt x="114657" y="95465"/>
                  <a:pt x="115378" y="93246"/>
                  <a:pt x="116963" y="91719"/>
                </a:cubicBezTo>
                <a:lnTo>
                  <a:pt x="144740" y="64632"/>
                </a:lnTo>
                <a:cubicBezTo>
                  <a:pt x="146037" y="63364"/>
                  <a:pt x="145749" y="61924"/>
                  <a:pt x="145547" y="61347"/>
                </a:cubicBezTo>
                <a:cubicBezTo>
                  <a:pt x="145345" y="60771"/>
                  <a:pt x="144740" y="59417"/>
                  <a:pt x="142954" y="59157"/>
                </a:cubicBezTo>
                <a:lnTo>
                  <a:pt x="104543" y="53567"/>
                </a:lnTo>
                <a:cubicBezTo>
                  <a:pt x="102353" y="53250"/>
                  <a:pt x="100480" y="51896"/>
                  <a:pt x="99529" y="49908"/>
                </a:cubicBezTo>
                <a:lnTo>
                  <a:pt x="82356" y="15128"/>
                </a:lnTo>
                <a:lnTo>
                  <a:pt x="82356" y="15128"/>
                </a:lnTo>
                <a:cubicBezTo>
                  <a:pt x="81635" y="13485"/>
                  <a:pt x="80166" y="13313"/>
                  <a:pt x="79561" y="13313"/>
                </a:cubicBezTo>
                <a:close/>
              </a:path>
            </a:pathLst>
          </a:custGeom>
          <a:solidFill>
            <a:srgbClr val="9CB40D"/>
          </a:solidFill>
          <a:ln w="2878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11182086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1A6A978A-E65B-DC67-6740-5ABB58A2C05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326685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5" imgH="426" progId="TCLayout.ActiveDocument.1">
                  <p:embed/>
                </p:oleObj>
              </mc:Choice>
              <mc:Fallback>
                <p:oleObj name="think-cell Folie" r:id="rId4" imgW="425" imgH="42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1A6A978A-E65B-DC67-6740-5ABB58A2C05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FDFE70A-A851-830B-B70B-96D334E362F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A5346F-28C7-4D82-A65B-EC4FBD2E4580}" type="datetime4">
              <a:rPr lang="en-GB" noProof="0" smtClean="0"/>
              <a:pPr/>
              <a:t>14 March 2024</a:t>
            </a:fld>
            <a:endParaRPr lang="en-GB" noProof="0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22DF4CD-80EB-9199-B899-9FA2E996762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94909C6-CC71-4962-A18E-AF0515723D95}" type="slidenum">
              <a:rPr lang="en-GB" noProof="0" smtClean="0"/>
              <a:pPr/>
              <a:t>15</a:t>
            </a:fld>
            <a:endParaRPr lang="en-GB" noProof="0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6BBEB53-973A-69D6-041B-57D44C4055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GB" noProof="0" dirty="0"/>
              <a:t>Munich Re Group – Company Presentation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108A6CCA-BB9F-76AC-65A3-74B18AD4E3B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>
                <a:solidFill>
                  <a:srgbClr val="9CB40D"/>
                </a:solidFill>
              </a:rPr>
              <a:t>Outlook</a:t>
            </a:r>
            <a:br>
              <a:rPr lang="en-GB" dirty="0"/>
            </a:br>
            <a:r>
              <a:rPr lang="en-GB" sz="1400" dirty="0">
                <a:solidFill>
                  <a:schemeClr val="tx2"/>
                </a:solidFill>
              </a:rPr>
              <a:t>Key investment challenges</a:t>
            </a:r>
            <a:endParaRPr lang="en-GB" sz="1600" dirty="0">
              <a:solidFill>
                <a:schemeClr val="tx2"/>
              </a:solidFill>
            </a:endParaRPr>
          </a:p>
        </p:txBody>
      </p:sp>
      <p:sp>
        <p:nvSpPr>
          <p:cNvPr id="11" name="Rechteck 21">
            <a:extLst>
              <a:ext uri="{FF2B5EF4-FFF2-40B4-BE49-F238E27FC236}">
                <a16:creationId xmlns:a16="http://schemas.microsoft.com/office/drawing/2014/main" id="{132C7362-0795-FC95-C64E-59B5FDA8AFAF}"/>
              </a:ext>
            </a:extLst>
          </p:cNvPr>
          <p:cNvSpPr/>
          <p:nvPr/>
        </p:nvSpPr>
        <p:spPr>
          <a:xfrm>
            <a:off x="0" y="1115999"/>
            <a:ext cx="4146458" cy="4027501"/>
          </a:xfrm>
          <a:prstGeom prst="rect">
            <a:avLst/>
          </a:prstGeom>
          <a:solidFill>
            <a:srgbClr val="9CB40D">
              <a:alpha val="10000"/>
            </a:srgbClr>
          </a:solidFill>
          <a:ln w="9525" cap="flat" cmpd="sng" algn="ctr">
            <a:noFill/>
            <a:prstDash val="solid"/>
            <a:miter lim="800000"/>
          </a:ln>
          <a:effectLst/>
        </p:spPr>
        <p:txBody>
          <a:bodyPr rtlCol="0" anchor="ctr" anchorCtr="0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Arial Unicode MS"/>
              <a:cs typeface="Arial"/>
            </a:endParaRPr>
          </a:p>
        </p:txBody>
      </p:sp>
      <p:sp>
        <p:nvSpPr>
          <p:cNvPr id="12" name="Textfeld 33">
            <a:extLst>
              <a:ext uri="{FF2B5EF4-FFF2-40B4-BE49-F238E27FC236}">
                <a16:creationId xmlns:a16="http://schemas.microsoft.com/office/drawing/2014/main" id="{83D41C9F-7112-7D8B-A1A7-C7EC2CA62B1C}"/>
              </a:ext>
            </a:extLst>
          </p:cNvPr>
          <p:cNvSpPr txBox="1"/>
          <p:nvPr/>
        </p:nvSpPr>
        <p:spPr>
          <a:xfrm>
            <a:off x="4140596" y="1491571"/>
            <a:ext cx="5049743" cy="871264"/>
          </a:xfrm>
          <a:prstGeom prst="rect">
            <a:avLst/>
          </a:prstGeom>
          <a:noFill/>
          <a:effectLst/>
        </p:spPr>
        <p:txBody>
          <a:bodyPr wrap="square" lIns="36000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66FF"/>
              </a:buClr>
              <a:buSzTx/>
              <a:buFontTx/>
              <a:buNone/>
              <a:tabLst/>
              <a:defRPr/>
            </a:pPr>
            <a:r>
              <a:rPr kumimoji="0" lang="en-GB" sz="1200" b="0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rPr>
              <a:t>Net-zero greenhouse gas emissions by 2050 </a:t>
            </a:r>
          </a:p>
        </p:txBody>
      </p:sp>
      <p:sp>
        <p:nvSpPr>
          <p:cNvPr id="13" name="Textfeld 37">
            <a:extLst>
              <a:ext uri="{FF2B5EF4-FFF2-40B4-BE49-F238E27FC236}">
                <a16:creationId xmlns:a16="http://schemas.microsoft.com/office/drawing/2014/main" id="{DD938B0D-87F7-5D78-19F5-49C11033035B}"/>
              </a:ext>
            </a:extLst>
          </p:cNvPr>
          <p:cNvSpPr txBox="1"/>
          <p:nvPr/>
        </p:nvSpPr>
        <p:spPr>
          <a:xfrm>
            <a:off x="1432586" y="1491571"/>
            <a:ext cx="2708676" cy="871264"/>
          </a:xfrm>
          <a:prstGeom prst="rect">
            <a:avLst/>
          </a:prstGeom>
          <a:noFill/>
          <a:effectLst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0" cap="none" spc="0" normalizeH="0" baseline="0" noProof="0" dirty="0">
                <a:ln>
                  <a:noFill/>
                </a:ln>
                <a:solidFill>
                  <a:srgbClr val="9CB40D"/>
                </a:solidFill>
                <a:effectLst/>
                <a:uLnTx/>
                <a:uFillTx/>
              </a:rPr>
              <a:t>Integrating ESG</a:t>
            </a:r>
          </a:p>
        </p:txBody>
      </p:sp>
      <p:cxnSp>
        <p:nvCxnSpPr>
          <p:cNvPr id="14" name="Gerader Verbinder 15">
            <a:extLst>
              <a:ext uri="{FF2B5EF4-FFF2-40B4-BE49-F238E27FC236}">
                <a16:creationId xmlns:a16="http://schemas.microsoft.com/office/drawing/2014/main" id="{7DF363A5-87FB-3E69-B043-3F80742CC5E7}"/>
              </a:ext>
            </a:extLst>
          </p:cNvPr>
          <p:cNvCxnSpPr/>
          <p:nvPr/>
        </p:nvCxnSpPr>
        <p:spPr>
          <a:xfrm>
            <a:off x="-1" y="2455843"/>
            <a:ext cx="9122815" cy="0"/>
          </a:xfrm>
          <a:prstGeom prst="line">
            <a:avLst/>
          </a:prstGeom>
          <a:noFill/>
          <a:ln w="6350" cap="flat" cmpd="sng" algn="ctr">
            <a:solidFill>
              <a:srgbClr val="4D4E53">
                <a:lumMod val="40000"/>
                <a:lumOff val="60000"/>
              </a:srgbClr>
            </a:solidFill>
            <a:prstDash val="solid"/>
            <a:miter lim="800000"/>
          </a:ln>
          <a:effectLst/>
        </p:spPr>
      </p:cxnSp>
      <p:cxnSp>
        <p:nvCxnSpPr>
          <p:cNvPr id="15" name="Gerader Verbinder 42">
            <a:extLst>
              <a:ext uri="{FF2B5EF4-FFF2-40B4-BE49-F238E27FC236}">
                <a16:creationId xmlns:a16="http://schemas.microsoft.com/office/drawing/2014/main" id="{8856A54C-95FB-E2A0-96F9-965E2FF32E42}"/>
              </a:ext>
            </a:extLst>
          </p:cNvPr>
          <p:cNvCxnSpPr/>
          <p:nvPr/>
        </p:nvCxnSpPr>
        <p:spPr>
          <a:xfrm>
            <a:off x="-1" y="3513126"/>
            <a:ext cx="9122815" cy="0"/>
          </a:xfrm>
          <a:prstGeom prst="line">
            <a:avLst/>
          </a:prstGeom>
          <a:noFill/>
          <a:ln w="6350" cap="flat" cmpd="sng" algn="ctr">
            <a:solidFill>
              <a:srgbClr val="4D4E53">
                <a:lumMod val="40000"/>
                <a:lumOff val="60000"/>
              </a:srgbClr>
            </a:solidFill>
            <a:prstDash val="solid"/>
            <a:miter lim="800000"/>
          </a:ln>
          <a:effectLst/>
        </p:spPr>
      </p:cxnSp>
      <p:grpSp>
        <p:nvGrpSpPr>
          <p:cNvPr id="8" name="Group 7">
            <a:extLst>
              <a:ext uri="{FF2B5EF4-FFF2-40B4-BE49-F238E27FC236}">
                <a16:creationId xmlns:a16="http://schemas.microsoft.com/office/drawing/2014/main" id="{AA5A8DFC-8ECE-EEF4-0F1E-6E90747969E6}"/>
              </a:ext>
            </a:extLst>
          </p:cNvPr>
          <p:cNvGrpSpPr/>
          <p:nvPr/>
        </p:nvGrpSpPr>
        <p:grpSpPr>
          <a:xfrm>
            <a:off x="393618" y="1514354"/>
            <a:ext cx="662902" cy="637917"/>
            <a:chOff x="393618" y="1514354"/>
            <a:chExt cx="662902" cy="637917"/>
          </a:xfrm>
        </p:grpSpPr>
        <p:grpSp>
          <p:nvGrpSpPr>
            <p:cNvPr id="17" name="Group 849">
              <a:extLst>
                <a:ext uri="{FF2B5EF4-FFF2-40B4-BE49-F238E27FC236}">
                  <a16:creationId xmlns:a16="http://schemas.microsoft.com/office/drawing/2014/main" id="{4DB29895-5E5C-F2DF-690D-18CDD09D8051}"/>
                </a:ext>
              </a:extLst>
            </p:cNvPr>
            <p:cNvGrpSpPr/>
            <p:nvPr/>
          </p:nvGrpSpPr>
          <p:grpSpPr>
            <a:xfrm>
              <a:off x="393618" y="1514354"/>
              <a:ext cx="662902" cy="637917"/>
              <a:chOff x="6957845" y="1644238"/>
              <a:chExt cx="484984" cy="466705"/>
            </a:xfrm>
            <a:solidFill>
              <a:schemeClr val="tx2"/>
            </a:solidFill>
          </p:grpSpPr>
          <p:grpSp>
            <p:nvGrpSpPr>
              <p:cNvPr id="27" name="Grafik 235">
                <a:extLst>
                  <a:ext uri="{FF2B5EF4-FFF2-40B4-BE49-F238E27FC236}">
                    <a16:creationId xmlns:a16="http://schemas.microsoft.com/office/drawing/2014/main" id="{A65783C7-EB54-30C5-8407-9F753DFD0933}"/>
                  </a:ext>
                </a:extLst>
              </p:cNvPr>
              <p:cNvGrpSpPr/>
              <p:nvPr/>
            </p:nvGrpSpPr>
            <p:grpSpPr>
              <a:xfrm>
                <a:off x="6957845" y="1644238"/>
                <a:ext cx="248897" cy="466705"/>
                <a:chOff x="6957845" y="1644238"/>
                <a:chExt cx="248897" cy="466705"/>
              </a:xfrm>
              <a:grpFill/>
            </p:grpSpPr>
            <p:sp>
              <p:nvSpPr>
                <p:cNvPr id="35" name="Freihandform: Form 62">
                  <a:extLst>
                    <a:ext uri="{FF2B5EF4-FFF2-40B4-BE49-F238E27FC236}">
                      <a16:creationId xmlns:a16="http://schemas.microsoft.com/office/drawing/2014/main" id="{6FC2F240-B6EE-AD0D-A664-2BED20587A95}"/>
                    </a:ext>
                  </a:extLst>
                </p:cNvPr>
                <p:cNvSpPr/>
                <p:nvPr/>
              </p:nvSpPr>
              <p:spPr>
                <a:xfrm>
                  <a:off x="7013508" y="1676723"/>
                  <a:ext cx="57596" cy="151855"/>
                </a:xfrm>
                <a:custGeom>
                  <a:avLst/>
                  <a:gdLst>
                    <a:gd name="connsiteX0" fmla="*/ 50997 w 57596"/>
                    <a:gd name="connsiteY0" fmla="*/ 151856 h 151855"/>
                    <a:gd name="connsiteX1" fmla="*/ 44448 w 57596"/>
                    <a:gd name="connsiteY1" fmla="*/ 145307 h 151855"/>
                    <a:gd name="connsiteX2" fmla="*/ 44448 w 57596"/>
                    <a:gd name="connsiteY2" fmla="*/ 27097 h 151855"/>
                    <a:gd name="connsiteX3" fmla="*/ 28773 w 57596"/>
                    <a:gd name="connsiteY3" fmla="*/ 13097 h 151855"/>
                    <a:gd name="connsiteX4" fmla="*/ 13097 w 57596"/>
                    <a:gd name="connsiteY4" fmla="*/ 27097 h 151855"/>
                    <a:gd name="connsiteX5" fmla="*/ 13097 w 57596"/>
                    <a:gd name="connsiteY5" fmla="*/ 145281 h 151855"/>
                    <a:gd name="connsiteX6" fmla="*/ 6549 w 57596"/>
                    <a:gd name="connsiteY6" fmla="*/ 151830 h 151855"/>
                    <a:gd name="connsiteX7" fmla="*/ 0 w 57596"/>
                    <a:gd name="connsiteY7" fmla="*/ 145281 h 151855"/>
                    <a:gd name="connsiteX8" fmla="*/ 0 w 57596"/>
                    <a:gd name="connsiteY8" fmla="*/ 27097 h 151855"/>
                    <a:gd name="connsiteX9" fmla="*/ 28798 w 57596"/>
                    <a:gd name="connsiteY9" fmla="*/ 0 h 151855"/>
                    <a:gd name="connsiteX10" fmla="*/ 57597 w 57596"/>
                    <a:gd name="connsiteY10" fmla="*/ 27097 h 151855"/>
                    <a:gd name="connsiteX11" fmla="*/ 57597 w 57596"/>
                    <a:gd name="connsiteY11" fmla="*/ 145281 h 151855"/>
                    <a:gd name="connsiteX12" fmla="*/ 50997 w 57596"/>
                    <a:gd name="connsiteY12" fmla="*/ 151856 h 15185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</a:cxnLst>
                  <a:rect l="l" t="t" r="r" b="b"/>
                  <a:pathLst>
                    <a:path w="57596" h="151855">
                      <a:moveTo>
                        <a:pt x="50997" y="151856"/>
                      </a:moveTo>
                      <a:cubicBezTo>
                        <a:pt x="47361" y="151856"/>
                        <a:pt x="44448" y="148917"/>
                        <a:pt x="44448" y="145307"/>
                      </a:cubicBezTo>
                      <a:lnTo>
                        <a:pt x="44448" y="27097"/>
                      </a:lnTo>
                      <a:cubicBezTo>
                        <a:pt x="44448" y="19388"/>
                        <a:pt x="37410" y="13097"/>
                        <a:pt x="28773" y="13097"/>
                      </a:cubicBezTo>
                      <a:cubicBezTo>
                        <a:pt x="20136" y="13097"/>
                        <a:pt x="13097" y="19362"/>
                        <a:pt x="13097" y="27097"/>
                      </a:cubicBezTo>
                      <a:lnTo>
                        <a:pt x="13097" y="145281"/>
                      </a:lnTo>
                      <a:cubicBezTo>
                        <a:pt x="13097" y="148891"/>
                        <a:pt x="10158" y="151830"/>
                        <a:pt x="6549" y="151830"/>
                      </a:cubicBezTo>
                      <a:cubicBezTo>
                        <a:pt x="2913" y="151830"/>
                        <a:pt x="0" y="148891"/>
                        <a:pt x="0" y="145281"/>
                      </a:cubicBezTo>
                      <a:lnTo>
                        <a:pt x="0" y="27097"/>
                      </a:lnTo>
                      <a:cubicBezTo>
                        <a:pt x="0" y="12143"/>
                        <a:pt x="12917" y="0"/>
                        <a:pt x="28798" y="0"/>
                      </a:cubicBezTo>
                      <a:cubicBezTo>
                        <a:pt x="44680" y="0"/>
                        <a:pt x="57597" y="12169"/>
                        <a:pt x="57597" y="27097"/>
                      </a:cubicBezTo>
                      <a:lnTo>
                        <a:pt x="57597" y="145281"/>
                      </a:lnTo>
                      <a:cubicBezTo>
                        <a:pt x="57571" y="148917"/>
                        <a:pt x="54632" y="151856"/>
                        <a:pt x="50997" y="151856"/>
                      </a:cubicBezTo>
                      <a:close/>
                    </a:path>
                  </a:pathLst>
                </a:custGeom>
                <a:grpFill/>
                <a:ln w="25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36" name="Freihandform: Form 63">
                  <a:extLst>
                    <a:ext uri="{FF2B5EF4-FFF2-40B4-BE49-F238E27FC236}">
                      <a16:creationId xmlns:a16="http://schemas.microsoft.com/office/drawing/2014/main" id="{40D94637-CB28-F03A-F8C0-6CE34D7E5997}"/>
                    </a:ext>
                  </a:extLst>
                </p:cNvPr>
                <p:cNvSpPr/>
                <p:nvPr/>
              </p:nvSpPr>
              <p:spPr>
                <a:xfrm>
                  <a:off x="7058291" y="1644238"/>
                  <a:ext cx="57571" cy="184341"/>
                </a:xfrm>
                <a:custGeom>
                  <a:avLst/>
                  <a:gdLst>
                    <a:gd name="connsiteX0" fmla="*/ 6549 w 57571"/>
                    <a:gd name="connsiteY0" fmla="*/ 184341 h 184341"/>
                    <a:gd name="connsiteX1" fmla="*/ 0 w 57571"/>
                    <a:gd name="connsiteY1" fmla="*/ 177792 h 184341"/>
                    <a:gd name="connsiteX2" fmla="*/ 0 w 57571"/>
                    <a:gd name="connsiteY2" fmla="*/ 27097 h 184341"/>
                    <a:gd name="connsiteX3" fmla="*/ 28773 w 57571"/>
                    <a:gd name="connsiteY3" fmla="*/ 0 h 184341"/>
                    <a:gd name="connsiteX4" fmla="*/ 57571 w 57571"/>
                    <a:gd name="connsiteY4" fmla="*/ 27097 h 184341"/>
                    <a:gd name="connsiteX5" fmla="*/ 57571 w 57571"/>
                    <a:gd name="connsiteY5" fmla="*/ 110527 h 184341"/>
                    <a:gd name="connsiteX6" fmla="*/ 51023 w 57571"/>
                    <a:gd name="connsiteY6" fmla="*/ 117076 h 184341"/>
                    <a:gd name="connsiteX7" fmla="*/ 44474 w 57571"/>
                    <a:gd name="connsiteY7" fmla="*/ 110527 h 184341"/>
                    <a:gd name="connsiteX8" fmla="*/ 44474 w 57571"/>
                    <a:gd name="connsiteY8" fmla="*/ 27097 h 184341"/>
                    <a:gd name="connsiteX9" fmla="*/ 28798 w 57571"/>
                    <a:gd name="connsiteY9" fmla="*/ 13097 h 184341"/>
                    <a:gd name="connsiteX10" fmla="*/ 13123 w 57571"/>
                    <a:gd name="connsiteY10" fmla="*/ 27097 h 184341"/>
                    <a:gd name="connsiteX11" fmla="*/ 13123 w 57571"/>
                    <a:gd name="connsiteY11" fmla="*/ 177792 h 184341"/>
                    <a:gd name="connsiteX12" fmla="*/ 6549 w 57571"/>
                    <a:gd name="connsiteY12" fmla="*/ 184341 h 18434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</a:cxnLst>
                  <a:rect l="l" t="t" r="r" b="b"/>
                  <a:pathLst>
                    <a:path w="57571" h="184341">
                      <a:moveTo>
                        <a:pt x="6549" y="184341"/>
                      </a:moveTo>
                      <a:cubicBezTo>
                        <a:pt x="2913" y="184341"/>
                        <a:pt x="0" y="181402"/>
                        <a:pt x="0" y="177792"/>
                      </a:cubicBezTo>
                      <a:lnTo>
                        <a:pt x="0" y="27097"/>
                      </a:lnTo>
                      <a:cubicBezTo>
                        <a:pt x="0" y="12143"/>
                        <a:pt x="12917" y="0"/>
                        <a:pt x="28773" y="0"/>
                      </a:cubicBezTo>
                      <a:cubicBezTo>
                        <a:pt x="44654" y="0"/>
                        <a:pt x="57571" y="12169"/>
                        <a:pt x="57571" y="27097"/>
                      </a:cubicBezTo>
                      <a:lnTo>
                        <a:pt x="57571" y="110527"/>
                      </a:lnTo>
                      <a:cubicBezTo>
                        <a:pt x="57571" y="114137"/>
                        <a:pt x="54632" y="117076"/>
                        <a:pt x="51023" y="117076"/>
                      </a:cubicBezTo>
                      <a:cubicBezTo>
                        <a:pt x="47387" y="117076"/>
                        <a:pt x="44474" y="114137"/>
                        <a:pt x="44474" y="110527"/>
                      </a:cubicBezTo>
                      <a:lnTo>
                        <a:pt x="44474" y="27097"/>
                      </a:lnTo>
                      <a:cubicBezTo>
                        <a:pt x="44474" y="19388"/>
                        <a:pt x="37435" y="13097"/>
                        <a:pt x="28798" y="13097"/>
                      </a:cubicBezTo>
                      <a:cubicBezTo>
                        <a:pt x="20162" y="13097"/>
                        <a:pt x="13123" y="19388"/>
                        <a:pt x="13123" y="27097"/>
                      </a:cubicBezTo>
                      <a:lnTo>
                        <a:pt x="13123" y="177792"/>
                      </a:lnTo>
                      <a:cubicBezTo>
                        <a:pt x="13123" y="181402"/>
                        <a:pt x="10184" y="184341"/>
                        <a:pt x="6549" y="184341"/>
                      </a:cubicBezTo>
                      <a:close/>
                    </a:path>
                  </a:pathLst>
                </a:custGeom>
                <a:grpFill/>
                <a:ln w="25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37" name="Freihandform: Form 64">
                  <a:extLst>
                    <a:ext uri="{FF2B5EF4-FFF2-40B4-BE49-F238E27FC236}">
                      <a16:creationId xmlns:a16="http://schemas.microsoft.com/office/drawing/2014/main" id="{B2419C0F-00AC-968E-DC33-A44879639100}"/>
                    </a:ext>
                  </a:extLst>
                </p:cNvPr>
                <p:cNvSpPr/>
                <p:nvPr/>
              </p:nvSpPr>
              <p:spPr>
                <a:xfrm>
                  <a:off x="7102945" y="1676723"/>
                  <a:ext cx="57571" cy="33645"/>
                </a:xfrm>
                <a:custGeom>
                  <a:avLst/>
                  <a:gdLst>
                    <a:gd name="connsiteX0" fmla="*/ 50997 w 57571"/>
                    <a:gd name="connsiteY0" fmla="*/ 33645 h 33645"/>
                    <a:gd name="connsiteX1" fmla="*/ 44448 w 57571"/>
                    <a:gd name="connsiteY1" fmla="*/ 27097 h 33645"/>
                    <a:gd name="connsiteX2" fmla="*/ 28773 w 57571"/>
                    <a:gd name="connsiteY2" fmla="*/ 13097 h 33645"/>
                    <a:gd name="connsiteX3" fmla="*/ 13097 w 57571"/>
                    <a:gd name="connsiteY3" fmla="*/ 27097 h 33645"/>
                    <a:gd name="connsiteX4" fmla="*/ 6549 w 57571"/>
                    <a:gd name="connsiteY4" fmla="*/ 33645 h 33645"/>
                    <a:gd name="connsiteX5" fmla="*/ 0 w 57571"/>
                    <a:gd name="connsiteY5" fmla="*/ 27097 h 33645"/>
                    <a:gd name="connsiteX6" fmla="*/ 28798 w 57571"/>
                    <a:gd name="connsiteY6" fmla="*/ 0 h 33645"/>
                    <a:gd name="connsiteX7" fmla="*/ 57571 w 57571"/>
                    <a:gd name="connsiteY7" fmla="*/ 27097 h 33645"/>
                    <a:gd name="connsiteX8" fmla="*/ 50997 w 57571"/>
                    <a:gd name="connsiteY8" fmla="*/ 33645 h 3364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57571" h="33645">
                      <a:moveTo>
                        <a:pt x="50997" y="33645"/>
                      </a:moveTo>
                      <a:cubicBezTo>
                        <a:pt x="47361" y="33645"/>
                        <a:pt x="44448" y="30706"/>
                        <a:pt x="44448" y="27097"/>
                      </a:cubicBezTo>
                      <a:cubicBezTo>
                        <a:pt x="44448" y="19388"/>
                        <a:pt x="37410" y="13097"/>
                        <a:pt x="28773" y="13097"/>
                      </a:cubicBezTo>
                      <a:cubicBezTo>
                        <a:pt x="20136" y="13097"/>
                        <a:pt x="13097" y="19362"/>
                        <a:pt x="13097" y="27097"/>
                      </a:cubicBezTo>
                      <a:cubicBezTo>
                        <a:pt x="13097" y="30706"/>
                        <a:pt x="10158" y="33645"/>
                        <a:pt x="6549" y="33645"/>
                      </a:cubicBezTo>
                      <a:cubicBezTo>
                        <a:pt x="2939" y="33645"/>
                        <a:pt x="0" y="30706"/>
                        <a:pt x="0" y="27097"/>
                      </a:cubicBezTo>
                      <a:cubicBezTo>
                        <a:pt x="0" y="12143"/>
                        <a:pt x="12917" y="0"/>
                        <a:pt x="28798" y="0"/>
                      </a:cubicBezTo>
                      <a:cubicBezTo>
                        <a:pt x="44680" y="0"/>
                        <a:pt x="57571" y="12169"/>
                        <a:pt x="57571" y="27097"/>
                      </a:cubicBezTo>
                      <a:cubicBezTo>
                        <a:pt x="57545" y="30732"/>
                        <a:pt x="54632" y="33645"/>
                        <a:pt x="50997" y="33645"/>
                      </a:cubicBezTo>
                      <a:close/>
                    </a:path>
                  </a:pathLst>
                </a:custGeom>
                <a:grpFill/>
                <a:ln w="25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38" name="Freihandform: Form 65">
                  <a:extLst>
                    <a:ext uri="{FF2B5EF4-FFF2-40B4-BE49-F238E27FC236}">
                      <a16:creationId xmlns:a16="http://schemas.microsoft.com/office/drawing/2014/main" id="{D90ED53C-1775-ABE5-FF71-374144048E7C}"/>
                    </a:ext>
                  </a:extLst>
                </p:cNvPr>
                <p:cNvSpPr/>
                <p:nvPr/>
              </p:nvSpPr>
              <p:spPr>
                <a:xfrm>
                  <a:off x="7151914" y="1967835"/>
                  <a:ext cx="54828" cy="67746"/>
                </a:xfrm>
                <a:custGeom>
                  <a:avLst/>
                  <a:gdLst>
                    <a:gd name="connsiteX0" fmla="*/ 6540 w 54828"/>
                    <a:gd name="connsiteY0" fmla="*/ 67747 h 67746"/>
                    <a:gd name="connsiteX1" fmla="*/ 43 w 54828"/>
                    <a:gd name="connsiteY1" fmla="*/ 61946 h 67746"/>
                    <a:gd name="connsiteX2" fmla="*/ 5793 w 54828"/>
                    <a:gd name="connsiteY2" fmla="*/ 54675 h 67746"/>
                    <a:gd name="connsiteX3" fmla="*/ 23324 w 54828"/>
                    <a:gd name="connsiteY3" fmla="*/ 48952 h 67746"/>
                    <a:gd name="connsiteX4" fmla="*/ 41733 w 54828"/>
                    <a:gd name="connsiteY4" fmla="*/ 5973 h 67746"/>
                    <a:gd name="connsiteX5" fmla="*/ 48849 w 54828"/>
                    <a:gd name="connsiteY5" fmla="*/ 18 h 67746"/>
                    <a:gd name="connsiteX6" fmla="*/ 54804 w 54828"/>
                    <a:gd name="connsiteY6" fmla="*/ 7133 h 67746"/>
                    <a:gd name="connsiteX7" fmla="*/ 32554 w 54828"/>
                    <a:gd name="connsiteY7" fmla="*/ 58259 h 67746"/>
                    <a:gd name="connsiteX8" fmla="*/ 7288 w 54828"/>
                    <a:gd name="connsiteY8" fmla="*/ 67695 h 67746"/>
                    <a:gd name="connsiteX9" fmla="*/ 6540 w 54828"/>
                    <a:gd name="connsiteY9" fmla="*/ 67747 h 677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54828" h="67746">
                      <a:moveTo>
                        <a:pt x="6540" y="67747"/>
                      </a:moveTo>
                      <a:cubicBezTo>
                        <a:pt x="3266" y="67747"/>
                        <a:pt x="430" y="65298"/>
                        <a:pt x="43" y="61946"/>
                      </a:cubicBezTo>
                      <a:cubicBezTo>
                        <a:pt x="-369" y="58362"/>
                        <a:pt x="2209" y="55114"/>
                        <a:pt x="5793" y="54675"/>
                      </a:cubicBezTo>
                      <a:cubicBezTo>
                        <a:pt x="11155" y="54057"/>
                        <a:pt x="20463" y="51788"/>
                        <a:pt x="23324" y="48952"/>
                      </a:cubicBezTo>
                      <a:cubicBezTo>
                        <a:pt x="33483" y="38897"/>
                        <a:pt x="40212" y="23221"/>
                        <a:pt x="41733" y="5973"/>
                      </a:cubicBezTo>
                      <a:cubicBezTo>
                        <a:pt x="42068" y="2364"/>
                        <a:pt x="45213" y="-240"/>
                        <a:pt x="48849" y="18"/>
                      </a:cubicBezTo>
                      <a:cubicBezTo>
                        <a:pt x="52458" y="353"/>
                        <a:pt x="55114" y="3524"/>
                        <a:pt x="54804" y="7133"/>
                      </a:cubicBezTo>
                      <a:cubicBezTo>
                        <a:pt x="52974" y="27707"/>
                        <a:pt x="45059" y="45884"/>
                        <a:pt x="32554" y="58259"/>
                      </a:cubicBezTo>
                      <a:cubicBezTo>
                        <a:pt x="25439" y="65298"/>
                        <a:pt x="10253" y="67360"/>
                        <a:pt x="7288" y="67695"/>
                      </a:cubicBezTo>
                      <a:cubicBezTo>
                        <a:pt x="7056" y="67747"/>
                        <a:pt x="6798" y="67747"/>
                        <a:pt x="6540" y="67747"/>
                      </a:cubicBezTo>
                      <a:close/>
                    </a:path>
                  </a:pathLst>
                </a:custGeom>
                <a:grpFill/>
                <a:ln w="25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39" name="Freihandform: Form 66">
                  <a:extLst>
                    <a:ext uri="{FF2B5EF4-FFF2-40B4-BE49-F238E27FC236}">
                      <a16:creationId xmlns:a16="http://schemas.microsoft.com/office/drawing/2014/main" id="{95ADE5CE-CA02-786C-0527-7A953F281664}"/>
                    </a:ext>
                  </a:extLst>
                </p:cNvPr>
                <p:cNvSpPr/>
                <p:nvPr/>
              </p:nvSpPr>
              <p:spPr>
                <a:xfrm>
                  <a:off x="7172969" y="2016555"/>
                  <a:ext cx="13097" cy="94387"/>
                </a:xfrm>
                <a:custGeom>
                  <a:avLst/>
                  <a:gdLst>
                    <a:gd name="connsiteX0" fmla="*/ 6549 w 13097"/>
                    <a:gd name="connsiteY0" fmla="*/ 94388 h 94387"/>
                    <a:gd name="connsiteX1" fmla="*/ 0 w 13097"/>
                    <a:gd name="connsiteY1" fmla="*/ 87839 h 94387"/>
                    <a:gd name="connsiteX2" fmla="*/ 0 w 13097"/>
                    <a:gd name="connsiteY2" fmla="*/ 6549 h 94387"/>
                    <a:gd name="connsiteX3" fmla="*/ 6549 w 13097"/>
                    <a:gd name="connsiteY3" fmla="*/ 0 h 94387"/>
                    <a:gd name="connsiteX4" fmla="*/ 13097 w 13097"/>
                    <a:gd name="connsiteY4" fmla="*/ 6549 h 94387"/>
                    <a:gd name="connsiteX5" fmla="*/ 13097 w 13097"/>
                    <a:gd name="connsiteY5" fmla="*/ 87839 h 94387"/>
                    <a:gd name="connsiteX6" fmla="*/ 6549 w 13097"/>
                    <a:gd name="connsiteY6" fmla="*/ 94388 h 943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3097" h="94387">
                      <a:moveTo>
                        <a:pt x="6549" y="94388"/>
                      </a:moveTo>
                      <a:cubicBezTo>
                        <a:pt x="2913" y="94388"/>
                        <a:pt x="0" y="91449"/>
                        <a:pt x="0" y="87839"/>
                      </a:cubicBezTo>
                      <a:lnTo>
                        <a:pt x="0" y="6549"/>
                      </a:lnTo>
                      <a:cubicBezTo>
                        <a:pt x="0" y="2939"/>
                        <a:pt x="2939" y="0"/>
                        <a:pt x="6549" y="0"/>
                      </a:cubicBezTo>
                      <a:cubicBezTo>
                        <a:pt x="10184" y="0"/>
                        <a:pt x="13097" y="2939"/>
                        <a:pt x="13097" y="6549"/>
                      </a:cubicBezTo>
                      <a:lnTo>
                        <a:pt x="13097" y="87839"/>
                      </a:lnTo>
                      <a:cubicBezTo>
                        <a:pt x="13123" y="91449"/>
                        <a:pt x="10184" y="94388"/>
                        <a:pt x="6549" y="94388"/>
                      </a:cubicBezTo>
                      <a:close/>
                    </a:path>
                  </a:pathLst>
                </a:custGeom>
                <a:grpFill/>
                <a:ln w="25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40" name="Freihandform: Form 67">
                  <a:extLst>
                    <a:ext uri="{FF2B5EF4-FFF2-40B4-BE49-F238E27FC236}">
                      <a16:creationId xmlns:a16="http://schemas.microsoft.com/office/drawing/2014/main" id="{3CA3F7E8-E969-6496-2C6D-4C475B827393}"/>
                    </a:ext>
                  </a:extLst>
                </p:cNvPr>
                <p:cNvSpPr/>
                <p:nvPr/>
              </p:nvSpPr>
              <p:spPr>
                <a:xfrm>
                  <a:off x="6957845" y="1775339"/>
                  <a:ext cx="134504" cy="335603"/>
                </a:xfrm>
                <a:custGeom>
                  <a:avLst/>
                  <a:gdLst>
                    <a:gd name="connsiteX0" fmla="*/ 68399 w 134504"/>
                    <a:gd name="connsiteY0" fmla="*/ 335604 h 335603"/>
                    <a:gd name="connsiteX1" fmla="*/ 61851 w 134504"/>
                    <a:gd name="connsiteY1" fmla="*/ 329055 h 335603"/>
                    <a:gd name="connsiteX2" fmla="*/ 61851 w 134504"/>
                    <a:gd name="connsiteY2" fmla="*/ 245779 h 335603"/>
                    <a:gd name="connsiteX3" fmla="*/ 0 w 134504"/>
                    <a:gd name="connsiteY3" fmla="*/ 178411 h 335603"/>
                    <a:gd name="connsiteX4" fmla="*/ 0 w 134504"/>
                    <a:gd name="connsiteY4" fmla="*/ 37693 h 335603"/>
                    <a:gd name="connsiteX5" fmla="*/ 34419 w 134504"/>
                    <a:gd name="connsiteY5" fmla="*/ 0 h 335603"/>
                    <a:gd name="connsiteX6" fmla="*/ 68838 w 134504"/>
                    <a:gd name="connsiteY6" fmla="*/ 37693 h 335603"/>
                    <a:gd name="connsiteX7" fmla="*/ 68838 w 134504"/>
                    <a:gd name="connsiteY7" fmla="*/ 99647 h 335603"/>
                    <a:gd name="connsiteX8" fmla="*/ 134504 w 134504"/>
                    <a:gd name="connsiteY8" fmla="*/ 167196 h 335603"/>
                    <a:gd name="connsiteX9" fmla="*/ 127956 w 134504"/>
                    <a:gd name="connsiteY9" fmla="*/ 173745 h 335603"/>
                    <a:gd name="connsiteX10" fmla="*/ 121407 w 134504"/>
                    <a:gd name="connsiteY10" fmla="*/ 167196 h 335603"/>
                    <a:gd name="connsiteX11" fmla="*/ 67265 w 134504"/>
                    <a:gd name="connsiteY11" fmla="*/ 112719 h 335603"/>
                    <a:gd name="connsiteX12" fmla="*/ 62856 w 134504"/>
                    <a:gd name="connsiteY12" fmla="*/ 112951 h 335603"/>
                    <a:gd name="connsiteX13" fmla="*/ 57880 w 134504"/>
                    <a:gd name="connsiteY13" fmla="*/ 111249 h 335603"/>
                    <a:gd name="connsiteX14" fmla="*/ 55766 w 134504"/>
                    <a:gd name="connsiteY14" fmla="*/ 106428 h 335603"/>
                    <a:gd name="connsiteX15" fmla="*/ 55766 w 134504"/>
                    <a:gd name="connsiteY15" fmla="*/ 37693 h 335603"/>
                    <a:gd name="connsiteX16" fmla="*/ 34445 w 134504"/>
                    <a:gd name="connsiteY16" fmla="*/ 13123 h 335603"/>
                    <a:gd name="connsiteX17" fmla="*/ 13123 w 134504"/>
                    <a:gd name="connsiteY17" fmla="*/ 37693 h 335603"/>
                    <a:gd name="connsiteX18" fmla="*/ 13123 w 134504"/>
                    <a:gd name="connsiteY18" fmla="*/ 178411 h 335603"/>
                    <a:gd name="connsiteX19" fmla="*/ 67265 w 134504"/>
                    <a:gd name="connsiteY19" fmla="*/ 232889 h 335603"/>
                    <a:gd name="connsiteX20" fmla="*/ 73633 w 134504"/>
                    <a:gd name="connsiteY20" fmla="*/ 237839 h 335603"/>
                    <a:gd name="connsiteX21" fmla="*/ 74793 w 134504"/>
                    <a:gd name="connsiteY21" fmla="*/ 242454 h 335603"/>
                    <a:gd name="connsiteX22" fmla="*/ 75000 w 134504"/>
                    <a:gd name="connsiteY22" fmla="*/ 244052 h 335603"/>
                    <a:gd name="connsiteX23" fmla="*/ 75000 w 134504"/>
                    <a:gd name="connsiteY23" fmla="*/ 329055 h 335603"/>
                    <a:gd name="connsiteX24" fmla="*/ 68399 w 134504"/>
                    <a:gd name="connsiteY24" fmla="*/ 335604 h 3356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</a:cxnLst>
                  <a:rect l="l" t="t" r="r" b="b"/>
                  <a:pathLst>
                    <a:path w="134504" h="335603">
                      <a:moveTo>
                        <a:pt x="68399" y="335604"/>
                      </a:moveTo>
                      <a:cubicBezTo>
                        <a:pt x="64764" y="335604"/>
                        <a:pt x="61851" y="332665"/>
                        <a:pt x="61851" y="329055"/>
                      </a:cubicBezTo>
                      <a:lnTo>
                        <a:pt x="61851" y="245779"/>
                      </a:lnTo>
                      <a:cubicBezTo>
                        <a:pt x="27277" y="243021"/>
                        <a:pt x="0" y="213861"/>
                        <a:pt x="0" y="178411"/>
                      </a:cubicBezTo>
                      <a:lnTo>
                        <a:pt x="0" y="37693"/>
                      </a:lnTo>
                      <a:cubicBezTo>
                        <a:pt x="0" y="16913"/>
                        <a:pt x="15443" y="0"/>
                        <a:pt x="34419" y="0"/>
                      </a:cubicBezTo>
                      <a:cubicBezTo>
                        <a:pt x="53394" y="0"/>
                        <a:pt x="68838" y="16913"/>
                        <a:pt x="68838" y="37693"/>
                      </a:cubicBezTo>
                      <a:lnTo>
                        <a:pt x="68838" y="99647"/>
                      </a:lnTo>
                      <a:cubicBezTo>
                        <a:pt x="105190" y="100498"/>
                        <a:pt x="134504" y="130483"/>
                        <a:pt x="134504" y="167196"/>
                      </a:cubicBezTo>
                      <a:cubicBezTo>
                        <a:pt x="134504" y="170806"/>
                        <a:pt x="131565" y="173745"/>
                        <a:pt x="127956" y="173745"/>
                      </a:cubicBezTo>
                      <a:cubicBezTo>
                        <a:pt x="124321" y="173745"/>
                        <a:pt x="121407" y="170806"/>
                        <a:pt x="121407" y="167196"/>
                      </a:cubicBezTo>
                      <a:cubicBezTo>
                        <a:pt x="121407" y="137160"/>
                        <a:pt x="97121" y="112719"/>
                        <a:pt x="67265" y="112719"/>
                      </a:cubicBezTo>
                      <a:cubicBezTo>
                        <a:pt x="65770" y="112719"/>
                        <a:pt x="64326" y="112822"/>
                        <a:pt x="62856" y="112951"/>
                      </a:cubicBezTo>
                      <a:cubicBezTo>
                        <a:pt x="60974" y="113131"/>
                        <a:pt x="59221" y="112487"/>
                        <a:pt x="57880" y="111249"/>
                      </a:cubicBezTo>
                      <a:cubicBezTo>
                        <a:pt x="56540" y="110012"/>
                        <a:pt x="55766" y="108258"/>
                        <a:pt x="55766" y="106428"/>
                      </a:cubicBezTo>
                      <a:lnTo>
                        <a:pt x="55766" y="37693"/>
                      </a:lnTo>
                      <a:cubicBezTo>
                        <a:pt x="55766" y="24132"/>
                        <a:pt x="46201" y="13123"/>
                        <a:pt x="34445" y="13123"/>
                      </a:cubicBezTo>
                      <a:cubicBezTo>
                        <a:pt x="22688" y="13123"/>
                        <a:pt x="13123" y="24158"/>
                        <a:pt x="13123" y="37693"/>
                      </a:cubicBezTo>
                      <a:lnTo>
                        <a:pt x="13123" y="178411"/>
                      </a:lnTo>
                      <a:cubicBezTo>
                        <a:pt x="13123" y="208447"/>
                        <a:pt x="37410" y="232889"/>
                        <a:pt x="67265" y="232889"/>
                      </a:cubicBezTo>
                      <a:cubicBezTo>
                        <a:pt x="70282" y="232889"/>
                        <a:pt x="72886" y="234925"/>
                        <a:pt x="73633" y="237839"/>
                      </a:cubicBezTo>
                      <a:lnTo>
                        <a:pt x="74793" y="242454"/>
                      </a:lnTo>
                      <a:cubicBezTo>
                        <a:pt x="74922" y="242969"/>
                        <a:pt x="75000" y="243511"/>
                        <a:pt x="75000" y="244052"/>
                      </a:cubicBezTo>
                      <a:lnTo>
                        <a:pt x="75000" y="329055"/>
                      </a:lnTo>
                      <a:cubicBezTo>
                        <a:pt x="74948" y="332665"/>
                        <a:pt x="72009" y="335604"/>
                        <a:pt x="68399" y="335604"/>
                      </a:cubicBezTo>
                      <a:close/>
                    </a:path>
                  </a:pathLst>
                </a:custGeom>
                <a:grpFill/>
                <a:ln w="25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</a:endParaRPr>
                </a:p>
              </p:txBody>
            </p:sp>
          </p:grpSp>
          <p:grpSp>
            <p:nvGrpSpPr>
              <p:cNvPr id="28" name="Group 842">
                <a:extLst>
                  <a:ext uri="{FF2B5EF4-FFF2-40B4-BE49-F238E27FC236}">
                    <a16:creationId xmlns:a16="http://schemas.microsoft.com/office/drawing/2014/main" id="{B33E7E83-1863-E98B-10DA-E67A1B833190}"/>
                  </a:ext>
                </a:extLst>
              </p:cNvPr>
              <p:cNvGrpSpPr/>
              <p:nvPr/>
            </p:nvGrpSpPr>
            <p:grpSpPr>
              <a:xfrm>
                <a:off x="7193412" y="1644238"/>
                <a:ext cx="249417" cy="466704"/>
                <a:chOff x="7193412" y="1644238"/>
                <a:chExt cx="249417" cy="466704"/>
              </a:xfrm>
              <a:grpFill/>
            </p:grpSpPr>
            <p:sp>
              <p:nvSpPr>
                <p:cNvPr id="29" name="Freihandform: Form 56">
                  <a:extLst>
                    <a:ext uri="{FF2B5EF4-FFF2-40B4-BE49-F238E27FC236}">
                      <a16:creationId xmlns:a16="http://schemas.microsoft.com/office/drawing/2014/main" id="{CA16D474-DD83-81F1-F3B2-5037194FF7DC}"/>
                    </a:ext>
                  </a:extLst>
                </p:cNvPr>
                <p:cNvSpPr/>
                <p:nvPr/>
              </p:nvSpPr>
              <p:spPr>
                <a:xfrm>
                  <a:off x="7329595" y="1676723"/>
                  <a:ext cx="57571" cy="151855"/>
                </a:xfrm>
                <a:custGeom>
                  <a:avLst/>
                  <a:gdLst>
                    <a:gd name="connsiteX0" fmla="*/ 50997 w 57571"/>
                    <a:gd name="connsiteY0" fmla="*/ 151856 h 151855"/>
                    <a:gd name="connsiteX1" fmla="*/ 44448 w 57571"/>
                    <a:gd name="connsiteY1" fmla="*/ 145307 h 151855"/>
                    <a:gd name="connsiteX2" fmla="*/ 44448 w 57571"/>
                    <a:gd name="connsiteY2" fmla="*/ 27097 h 151855"/>
                    <a:gd name="connsiteX3" fmla="*/ 28773 w 57571"/>
                    <a:gd name="connsiteY3" fmla="*/ 13097 h 151855"/>
                    <a:gd name="connsiteX4" fmla="*/ 13097 w 57571"/>
                    <a:gd name="connsiteY4" fmla="*/ 27097 h 151855"/>
                    <a:gd name="connsiteX5" fmla="*/ 13097 w 57571"/>
                    <a:gd name="connsiteY5" fmla="*/ 145281 h 151855"/>
                    <a:gd name="connsiteX6" fmla="*/ 6549 w 57571"/>
                    <a:gd name="connsiteY6" fmla="*/ 151830 h 151855"/>
                    <a:gd name="connsiteX7" fmla="*/ 0 w 57571"/>
                    <a:gd name="connsiteY7" fmla="*/ 145281 h 151855"/>
                    <a:gd name="connsiteX8" fmla="*/ 0 w 57571"/>
                    <a:gd name="connsiteY8" fmla="*/ 27097 h 151855"/>
                    <a:gd name="connsiteX9" fmla="*/ 28798 w 57571"/>
                    <a:gd name="connsiteY9" fmla="*/ 0 h 151855"/>
                    <a:gd name="connsiteX10" fmla="*/ 57571 w 57571"/>
                    <a:gd name="connsiteY10" fmla="*/ 27097 h 151855"/>
                    <a:gd name="connsiteX11" fmla="*/ 57571 w 57571"/>
                    <a:gd name="connsiteY11" fmla="*/ 145281 h 151855"/>
                    <a:gd name="connsiteX12" fmla="*/ 50997 w 57571"/>
                    <a:gd name="connsiteY12" fmla="*/ 151856 h 15185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</a:cxnLst>
                  <a:rect l="l" t="t" r="r" b="b"/>
                  <a:pathLst>
                    <a:path w="57571" h="151855">
                      <a:moveTo>
                        <a:pt x="50997" y="151856"/>
                      </a:moveTo>
                      <a:cubicBezTo>
                        <a:pt x="47361" y="151856"/>
                        <a:pt x="44448" y="148917"/>
                        <a:pt x="44448" y="145307"/>
                      </a:cubicBezTo>
                      <a:lnTo>
                        <a:pt x="44448" y="27097"/>
                      </a:lnTo>
                      <a:cubicBezTo>
                        <a:pt x="44448" y="19388"/>
                        <a:pt x="37410" y="13097"/>
                        <a:pt x="28773" y="13097"/>
                      </a:cubicBezTo>
                      <a:cubicBezTo>
                        <a:pt x="20136" y="13097"/>
                        <a:pt x="13097" y="19362"/>
                        <a:pt x="13097" y="27097"/>
                      </a:cubicBezTo>
                      <a:lnTo>
                        <a:pt x="13097" y="145281"/>
                      </a:lnTo>
                      <a:cubicBezTo>
                        <a:pt x="13097" y="148891"/>
                        <a:pt x="10158" y="151830"/>
                        <a:pt x="6549" y="151830"/>
                      </a:cubicBezTo>
                      <a:cubicBezTo>
                        <a:pt x="2939" y="151830"/>
                        <a:pt x="0" y="148891"/>
                        <a:pt x="0" y="145281"/>
                      </a:cubicBezTo>
                      <a:lnTo>
                        <a:pt x="0" y="27097"/>
                      </a:lnTo>
                      <a:cubicBezTo>
                        <a:pt x="0" y="12143"/>
                        <a:pt x="12917" y="0"/>
                        <a:pt x="28798" y="0"/>
                      </a:cubicBezTo>
                      <a:cubicBezTo>
                        <a:pt x="44680" y="0"/>
                        <a:pt x="57571" y="12169"/>
                        <a:pt x="57571" y="27097"/>
                      </a:cubicBezTo>
                      <a:lnTo>
                        <a:pt x="57571" y="145281"/>
                      </a:lnTo>
                      <a:cubicBezTo>
                        <a:pt x="57545" y="148917"/>
                        <a:pt x="54632" y="151856"/>
                        <a:pt x="50997" y="151856"/>
                      </a:cubicBezTo>
                      <a:close/>
                    </a:path>
                  </a:pathLst>
                </a:custGeom>
                <a:grpFill/>
                <a:ln w="25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30" name="Freihandform: Form 57">
                  <a:extLst>
                    <a:ext uri="{FF2B5EF4-FFF2-40B4-BE49-F238E27FC236}">
                      <a16:creationId xmlns:a16="http://schemas.microsoft.com/office/drawing/2014/main" id="{1C691794-F82E-3262-CD89-F3F868BAD778}"/>
                    </a:ext>
                  </a:extLst>
                </p:cNvPr>
                <p:cNvSpPr/>
                <p:nvPr/>
              </p:nvSpPr>
              <p:spPr>
                <a:xfrm>
                  <a:off x="7284786" y="1644238"/>
                  <a:ext cx="57571" cy="184341"/>
                </a:xfrm>
                <a:custGeom>
                  <a:avLst/>
                  <a:gdLst>
                    <a:gd name="connsiteX0" fmla="*/ 50997 w 57571"/>
                    <a:gd name="connsiteY0" fmla="*/ 184341 h 184341"/>
                    <a:gd name="connsiteX1" fmla="*/ 44448 w 57571"/>
                    <a:gd name="connsiteY1" fmla="*/ 177792 h 184341"/>
                    <a:gd name="connsiteX2" fmla="*/ 44448 w 57571"/>
                    <a:gd name="connsiteY2" fmla="*/ 27097 h 184341"/>
                    <a:gd name="connsiteX3" fmla="*/ 28773 w 57571"/>
                    <a:gd name="connsiteY3" fmla="*/ 13097 h 184341"/>
                    <a:gd name="connsiteX4" fmla="*/ 13097 w 57571"/>
                    <a:gd name="connsiteY4" fmla="*/ 27097 h 184341"/>
                    <a:gd name="connsiteX5" fmla="*/ 13097 w 57571"/>
                    <a:gd name="connsiteY5" fmla="*/ 118004 h 184341"/>
                    <a:gd name="connsiteX6" fmla="*/ 6549 w 57571"/>
                    <a:gd name="connsiteY6" fmla="*/ 124553 h 184341"/>
                    <a:gd name="connsiteX7" fmla="*/ 0 w 57571"/>
                    <a:gd name="connsiteY7" fmla="*/ 118004 h 184341"/>
                    <a:gd name="connsiteX8" fmla="*/ 0 w 57571"/>
                    <a:gd name="connsiteY8" fmla="*/ 27097 h 184341"/>
                    <a:gd name="connsiteX9" fmla="*/ 28798 w 57571"/>
                    <a:gd name="connsiteY9" fmla="*/ 0 h 184341"/>
                    <a:gd name="connsiteX10" fmla="*/ 57571 w 57571"/>
                    <a:gd name="connsiteY10" fmla="*/ 27097 h 184341"/>
                    <a:gd name="connsiteX11" fmla="*/ 57571 w 57571"/>
                    <a:gd name="connsiteY11" fmla="*/ 177792 h 184341"/>
                    <a:gd name="connsiteX12" fmla="*/ 50997 w 57571"/>
                    <a:gd name="connsiteY12" fmla="*/ 184341 h 18434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</a:cxnLst>
                  <a:rect l="l" t="t" r="r" b="b"/>
                  <a:pathLst>
                    <a:path w="57571" h="184341">
                      <a:moveTo>
                        <a:pt x="50997" y="184341"/>
                      </a:moveTo>
                      <a:cubicBezTo>
                        <a:pt x="47387" y="184341"/>
                        <a:pt x="44448" y="181402"/>
                        <a:pt x="44448" y="177792"/>
                      </a:cubicBezTo>
                      <a:lnTo>
                        <a:pt x="44448" y="27097"/>
                      </a:lnTo>
                      <a:cubicBezTo>
                        <a:pt x="44448" y="19388"/>
                        <a:pt x="37410" y="13097"/>
                        <a:pt x="28773" y="13097"/>
                      </a:cubicBezTo>
                      <a:cubicBezTo>
                        <a:pt x="20136" y="13097"/>
                        <a:pt x="13097" y="19388"/>
                        <a:pt x="13097" y="27097"/>
                      </a:cubicBezTo>
                      <a:lnTo>
                        <a:pt x="13097" y="118004"/>
                      </a:lnTo>
                      <a:cubicBezTo>
                        <a:pt x="13097" y="121614"/>
                        <a:pt x="10158" y="124553"/>
                        <a:pt x="6549" y="124553"/>
                      </a:cubicBezTo>
                      <a:cubicBezTo>
                        <a:pt x="2939" y="124553"/>
                        <a:pt x="0" y="121614"/>
                        <a:pt x="0" y="118004"/>
                      </a:cubicBezTo>
                      <a:lnTo>
                        <a:pt x="0" y="27097"/>
                      </a:lnTo>
                      <a:cubicBezTo>
                        <a:pt x="0" y="12143"/>
                        <a:pt x="12917" y="0"/>
                        <a:pt x="28798" y="0"/>
                      </a:cubicBezTo>
                      <a:cubicBezTo>
                        <a:pt x="44680" y="0"/>
                        <a:pt x="57571" y="12169"/>
                        <a:pt x="57571" y="27097"/>
                      </a:cubicBezTo>
                      <a:lnTo>
                        <a:pt x="57571" y="177792"/>
                      </a:lnTo>
                      <a:cubicBezTo>
                        <a:pt x="57571" y="181402"/>
                        <a:pt x="54632" y="184341"/>
                        <a:pt x="50997" y="184341"/>
                      </a:cubicBezTo>
                      <a:close/>
                    </a:path>
                  </a:pathLst>
                </a:custGeom>
                <a:grpFill/>
                <a:ln w="25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31" name="Freihandform: Form 58">
                  <a:extLst>
                    <a:ext uri="{FF2B5EF4-FFF2-40B4-BE49-F238E27FC236}">
                      <a16:creationId xmlns:a16="http://schemas.microsoft.com/office/drawing/2014/main" id="{DBA1873E-6161-2458-8483-EF46E5A13B61}"/>
                    </a:ext>
                  </a:extLst>
                </p:cNvPr>
                <p:cNvSpPr/>
                <p:nvPr/>
              </p:nvSpPr>
              <p:spPr>
                <a:xfrm>
                  <a:off x="7240157" y="1676723"/>
                  <a:ext cx="57571" cy="33645"/>
                </a:xfrm>
                <a:custGeom>
                  <a:avLst/>
                  <a:gdLst>
                    <a:gd name="connsiteX0" fmla="*/ 50997 w 57571"/>
                    <a:gd name="connsiteY0" fmla="*/ 33645 h 33645"/>
                    <a:gd name="connsiteX1" fmla="*/ 44448 w 57571"/>
                    <a:gd name="connsiteY1" fmla="*/ 27097 h 33645"/>
                    <a:gd name="connsiteX2" fmla="*/ 28773 w 57571"/>
                    <a:gd name="connsiteY2" fmla="*/ 13097 h 33645"/>
                    <a:gd name="connsiteX3" fmla="*/ 13097 w 57571"/>
                    <a:gd name="connsiteY3" fmla="*/ 27097 h 33645"/>
                    <a:gd name="connsiteX4" fmla="*/ 6549 w 57571"/>
                    <a:gd name="connsiteY4" fmla="*/ 33645 h 33645"/>
                    <a:gd name="connsiteX5" fmla="*/ 0 w 57571"/>
                    <a:gd name="connsiteY5" fmla="*/ 27097 h 33645"/>
                    <a:gd name="connsiteX6" fmla="*/ 28798 w 57571"/>
                    <a:gd name="connsiteY6" fmla="*/ 0 h 33645"/>
                    <a:gd name="connsiteX7" fmla="*/ 57571 w 57571"/>
                    <a:gd name="connsiteY7" fmla="*/ 27097 h 33645"/>
                    <a:gd name="connsiteX8" fmla="*/ 50997 w 57571"/>
                    <a:gd name="connsiteY8" fmla="*/ 33645 h 3364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57571" h="33645">
                      <a:moveTo>
                        <a:pt x="50997" y="33645"/>
                      </a:moveTo>
                      <a:cubicBezTo>
                        <a:pt x="47361" y="33645"/>
                        <a:pt x="44448" y="30706"/>
                        <a:pt x="44448" y="27097"/>
                      </a:cubicBezTo>
                      <a:cubicBezTo>
                        <a:pt x="44448" y="19388"/>
                        <a:pt x="37410" y="13097"/>
                        <a:pt x="28773" y="13097"/>
                      </a:cubicBezTo>
                      <a:cubicBezTo>
                        <a:pt x="20136" y="13097"/>
                        <a:pt x="13097" y="19362"/>
                        <a:pt x="13097" y="27097"/>
                      </a:cubicBezTo>
                      <a:cubicBezTo>
                        <a:pt x="13097" y="30706"/>
                        <a:pt x="10158" y="33645"/>
                        <a:pt x="6549" y="33645"/>
                      </a:cubicBezTo>
                      <a:cubicBezTo>
                        <a:pt x="2939" y="33645"/>
                        <a:pt x="0" y="30706"/>
                        <a:pt x="0" y="27097"/>
                      </a:cubicBezTo>
                      <a:cubicBezTo>
                        <a:pt x="0" y="12143"/>
                        <a:pt x="12917" y="0"/>
                        <a:pt x="28798" y="0"/>
                      </a:cubicBezTo>
                      <a:cubicBezTo>
                        <a:pt x="44680" y="0"/>
                        <a:pt x="57571" y="12169"/>
                        <a:pt x="57571" y="27097"/>
                      </a:cubicBezTo>
                      <a:cubicBezTo>
                        <a:pt x="57545" y="30732"/>
                        <a:pt x="54606" y="33645"/>
                        <a:pt x="50997" y="33645"/>
                      </a:cubicBezTo>
                      <a:close/>
                    </a:path>
                  </a:pathLst>
                </a:custGeom>
                <a:grpFill/>
                <a:ln w="25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32" name="Freihandform: Form 59">
                  <a:extLst>
                    <a:ext uri="{FF2B5EF4-FFF2-40B4-BE49-F238E27FC236}">
                      <a16:creationId xmlns:a16="http://schemas.microsoft.com/office/drawing/2014/main" id="{C003B5AD-BA4A-26B2-EFCD-77FD6292BAB9}"/>
                    </a:ext>
                  </a:extLst>
                </p:cNvPr>
                <p:cNvSpPr/>
                <p:nvPr/>
              </p:nvSpPr>
              <p:spPr>
                <a:xfrm>
                  <a:off x="7193412" y="1967567"/>
                  <a:ext cx="55302" cy="68015"/>
                </a:xfrm>
                <a:custGeom>
                  <a:avLst/>
                  <a:gdLst>
                    <a:gd name="connsiteX0" fmla="*/ 48757 w 55302"/>
                    <a:gd name="connsiteY0" fmla="*/ 68016 h 68015"/>
                    <a:gd name="connsiteX1" fmla="*/ 48009 w 55302"/>
                    <a:gd name="connsiteY1" fmla="*/ 67964 h 68015"/>
                    <a:gd name="connsiteX2" fmla="*/ 22743 w 55302"/>
                    <a:gd name="connsiteY2" fmla="*/ 58528 h 68015"/>
                    <a:gd name="connsiteX3" fmla="*/ 29 w 55302"/>
                    <a:gd name="connsiteY3" fmla="*/ 7170 h 68015"/>
                    <a:gd name="connsiteX4" fmla="*/ 5958 w 55302"/>
                    <a:gd name="connsiteY4" fmla="*/ 29 h 68015"/>
                    <a:gd name="connsiteX5" fmla="*/ 13100 w 55302"/>
                    <a:gd name="connsiteY5" fmla="*/ 5958 h 68015"/>
                    <a:gd name="connsiteX6" fmla="*/ 31972 w 55302"/>
                    <a:gd name="connsiteY6" fmla="*/ 49195 h 68015"/>
                    <a:gd name="connsiteX7" fmla="*/ 49504 w 55302"/>
                    <a:gd name="connsiteY7" fmla="*/ 54918 h 68015"/>
                    <a:gd name="connsiteX8" fmla="*/ 55254 w 55302"/>
                    <a:gd name="connsiteY8" fmla="*/ 62189 h 68015"/>
                    <a:gd name="connsiteX9" fmla="*/ 48757 w 55302"/>
                    <a:gd name="connsiteY9" fmla="*/ 68016 h 6801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55302" h="68015">
                      <a:moveTo>
                        <a:pt x="48757" y="68016"/>
                      </a:moveTo>
                      <a:cubicBezTo>
                        <a:pt x="48499" y="68016"/>
                        <a:pt x="48267" y="67990"/>
                        <a:pt x="48009" y="67964"/>
                      </a:cubicBezTo>
                      <a:cubicBezTo>
                        <a:pt x="45044" y="67629"/>
                        <a:pt x="29833" y="65566"/>
                        <a:pt x="22743" y="58528"/>
                      </a:cubicBezTo>
                      <a:cubicBezTo>
                        <a:pt x="10367" y="46256"/>
                        <a:pt x="1885" y="27048"/>
                        <a:pt x="29" y="7170"/>
                      </a:cubicBezTo>
                      <a:cubicBezTo>
                        <a:pt x="-307" y="3561"/>
                        <a:pt x="2349" y="364"/>
                        <a:pt x="5958" y="29"/>
                      </a:cubicBezTo>
                      <a:cubicBezTo>
                        <a:pt x="9723" y="-307"/>
                        <a:pt x="12765" y="2349"/>
                        <a:pt x="13100" y="5958"/>
                      </a:cubicBezTo>
                      <a:cubicBezTo>
                        <a:pt x="14673" y="22871"/>
                        <a:pt x="21737" y="39037"/>
                        <a:pt x="31972" y="49195"/>
                      </a:cubicBezTo>
                      <a:cubicBezTo>
                        <a:pt x="34834" y="52031"/>
                        <a:pt x="44142" y="54300"/>
                        <a:pt x="49504" y="54918"/>
                      </a:cubicBezTo>
                      <a:cubicBezTo>
                        <a:pt x="53114" y="55331"/>
                        <a:pt x="55692" y="58579"/>
                        <a:pt x="55254" y="62189"/>
                      </a:cubicBezTo>
                      <a:cubicBezTo>
                        <a:pt x="54893" y="65566"/>
                        <a:pt x="52057" y="68016"/>
                        <a:pt x="48757" y="68016"/>
                      </a:cubicBezTo>
                      <a:close/>
                    </a:path>
                  </a:pathLst>
                </a:custGeom>
                <a:grpFill/>
                <a:ln w="25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33" name="Freihandform: Form 60">
                  <a:extLst>
                    <a:ext uri="{FF2B5EF4-FFF2-40B4-BE49-F238E27FC236}">
                      <a16:creationId xmlns:a16="http://schemas.microsoft.com/office/drawing/2014/main" id="{E76B4A6E-7A57-ABF0-8BFA-E79329E0F596}"/>
                    </a:ext>
                  </a:extLst>
                </p:cNvPr>
                <p:cNvSpPr/>
                <p:nvPr/>
              </p:nvSpPr>
              <p:spPr>
                <a:xfrm>
                  <a:off x="7214556" y="2016555"/>
                  <a:ext cx="13097" cy="94387"/>
                </a:xfrm>
                <a:custGeom>
                  <a:avLst/>
                  <a:gdLst>
                    <a:gd name="connsiteX0" fmla="*/ 6549 w 13097"/>
                    <a:gd name="connsiteY0" fmla="*/ 94388 h 94387"/>
                    <a:gd name="connsiteX1" fmla="*/ 0 w 13097"/>
                    <a:gd name="connsiteY1" fmla="*/ 87839 h 94387"/>
                    <a:gd name="connsiteX2" fmla="*/ 0 w 13097"/>
                    <a:gd name="connsiteY2" fmla="*/ 6549 h 94387"/>
                    <a:gd name="connsiteX3" fmla="*/ 6549 w 13097"/>
                    <a:gd name="connsiteY3" fmla="*/ 0 h 94387"/>
                    <a:gd name="connsiteX4" fmla="*/ 13097 w 13097"/>
                    <a:gd name="connsiteY4" fmla="*/ 6549 h 94387"/>
                    <a:gd name="connsiteX5" fmla="*/ 13097 w 13097"/>
                    <a:gd name="connsiteY5" fmla="*/ 87839 h 94387"/>
                    <a:gd name="connsiteX6" fmla="*/ 6549 w 13097"/>
                    <a:gd name="connsiteY6" fmla="*/ 94388 h 943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3097" h="94387">
                      <a:moveTo>
                        <a:pt x="6549" y="94388"/>
                      </a:moveTo>
                      <a:cubicBezTo>
                        <a:pt x="2913" y="94388"/>
                        <a:pt x="0" y="91449"/>
                        <a:pt x="0" y="87839"/>
                      </a:cubicBezTo>
                      <a:lnTo>
                        <a:pt x="0" y="6549"/>
                      </a:lnTo>
                      <a:cubicBezTo>
                        <a:pt x="0" y="2939"/>
                        <a:pt x="2939" y="0"/>
                        <a:pt x="6549" y="0"/>
                      </a:cubicBezTo>
                      <a:cubicBezTo>
                        <a:pt x="10184" y="0"/>
                        <a:pt x="13097" y="2939"/>
                        <a:pt x="13097" y="6549"/>
                      </a:cubicBezTo>
                      <a:lnTo>
                        <a:pt x="13097" y="87839"/>
                      </a:lnTo>
                      <a:cubicBezTo>
                        <a:pt x="13123" y="91449"/>
                        <a:pt x="10184" y="94388"/>
                        <a:pt x="6549" y="94388"/>
                      </a:cubicBezTo>
                      <a:close/>
                    </a:path>
                  </a:pathLst>
                </a:custGeom>
                <a:grpFill/>
                <a:ln w="25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34" name="Freihandform: Form 61">
                  <a:extLst>
                    <a:ext uri="{FF2B5EF4-FFF2-40B4-BE49-F238E27FC236}">
                      <a16:creationId xmlns:a16="http://schemas.microsoft.com/office/drawing/2014/main" id="{9C93D75D-5439-218B-5C15-AD7A1BD7E899}"/>
                    </a:ext>
                  </a:extLst>
                </p:cNvPr>
                <p:cNvSpPr/>
                <p:nvPr/>
              </p:nvSpPr>
              <p:spPr>
                <a:xfrm>
                  <a:off x="7308325" y="1775339"/>
                  <a:ext cx="134504" cy="335603"/>
                </a:xfrm>
                <a:custGeom>
                  <a:avLst/>
                  <a:gdLst>
                    <a:gd name="connsiteX0" fmla="*/ 66079 w 134504"/>
                    <a:gd name="connsiteY0" fmla="*/ 335604 h 335603"/>
                    <a:gd name="connsiteX1" fmla="*/ 59530 w 134504"/>
                    <a:gd name="connsiteY1" fmla="*/ 329055 h 335603"/>
                    <a:gd name="connsiteX2" fmla="*/ 59530 w 134504"/>
                    <a:gd name="connsiteY2" fmla="*/ 244052 h 335603"/>
                    <a:gd name="connsiteX3" fmla="*/ 59711 w 134504"/>
                    <a:gd name="connsiteY3" fmla="*/ 242479 h 335603"/>
                    <a:gd name="connsiteX4" fmla="*/ 60871 w 134504"/>
                    <a:gd name="connsiteY4" fmla="*/ 237864 h 335603"/>
                    <a:gd name="connsiteX5" fmla="*/ 67239 w 134504"/>
                    <a:gd name="connsiteY5" fmla="*/ 232889 h 335603"/>
                    <a:gd name="connsiteX6" fmla="*/ 121381 w 134504"/>
                    <a:gd name="connsiteY6" fmla="*/ 178411 h 335603"/>
                    <a:gd name="connsiteX7" fmla="*/ 121381 w 134504"/>
                    <a:gd name="connsiteY7" fmla="*/ 37693 h 335603"/>
                    <a:gd name="connsiteX8" fmla="*/ 100060 w 134504"/>
                    <a:gd name="connsiteY8" fmla="*/ 13123 h 335603"/>
                    <a:gd name="connsiteX9" fmla="*/ 78738 w 134504"/>
                    <a:gd name="connsiteY9" fmla="*/ 37693 h 335603"/>
                    <a:gd name="connsiteX10" fmla="*/ 78738 w 134504"/>
                    <a:gd name="connsiteY10" fmla="*/ 106428 h 335603"/>
                    <a:gd name="connsiteX11" fmla="*/ 76624 w 134504"/>
                    <a:gd name="connsiteY11" fmla="*/ 111249 h 335603"/>
                    <a:gd name="connsiteX12" fmla="*/ 71648 w 134504"/>
                    <a:gd name="connsiteY12" fmla="*/ 112951 h 335603"/>
                    <a:gd name="connsiteX13" fmla="*/ 67239 w 134504"/>
                    <a:gd name="connsiteY13" fmla="*/ 112719 h 335603"/>
                    <a:gd name="connsiteX14" fmla="*/ 13097 w 134504"/>
                    <a:gd name="connsiteY14" fmla="*/ 167196 h 335603"/>
                    <a:gd name="connsiteX15" fmla="*/ 6549 w 134504"/>
                    <a:gd name="connsiteY15" fmla="*/ 173745 h 335603"/>
                    <a:gd name="connsiteX16" fmla="*/ 0 w 134504"/>
                    <a:gd name="connsiteY16" fmla="*/ 167196 h 335603"/>
                    <a:gd name="connsiteX17" fmla="*/ 65667 w 134504"/>
                    <a:gd name="connsiteY17" fmla="*/ 99647 h 335603"/>
                    <a:gd name="connsiteX18" fmla="*/ 65667 w 134504"/>
                    <a:gd name="connsiteY18" fmla="*/ 37693 h 335603"/>
                    <a:gd name="connsiteX19" fmla="*/ 100085 w 134504"/>
                    <a:gd name="connsiteY19" fmla="*/ 0 h 335603"/>
                    <a:gd name="connsiteX20" fmla="*/ 134504 w 134504"/>
                    <a:gd name="connsiteY20" fmla="*/ 37693 h 335603"/>
                    <a:gd name="connsiteX21" fmla="*/ 134504 w 134504"/>
                    <a:gd name="connsiteY21" fmla="*/ 178411 h 335603"/>
                    <a:gd name="connsiteX22" fmla="*/ 72654 w 134504"/>
                    <a:gd name="connsiteY22" fmla="*/ 245779 h 335603"/>
                    <a:gd name="connsiteX23" fmla="*/ 72654 w 134504"/>
                    <a:gd name="connsiteY23" fmla="*/ 329055 h 335603"/>
                    <a:gd name="connsiteX24" fmla="*/ 66079 w 134504"/>
                    <a:gd name="connsiteY24" fmla="*/ 335604 h 3356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</a:cxnLst>
                  <a:rect l="l" t="t" r="r" b="b"/>
                  <a:pathLst>
                    <a:path w="134504" h="335603">
                      <a:moveTo>
                        <a:pt x="66079" y="335604"/>
                      </a:moveTo>
                      <a:cubicBezTo>
                        <a:pt x="62470" y="335604"/>
                        <a:pt x="59530" y="332665"/>
                        <a:pt x="59530" y="329055"/>
                      </a:cubicBezTo>
                      <a:lnTo>
                        <a:pt x="59530" y="244052"/>
                      </a:lnTo>
                      <a:cubicBezTo>
                        <a:pt x="59530" y="243511"/>
                        <a:pt x="59582" y="242995"/>
                        <a:pt x="59711" y="242479"/>
                      </a:cubicBezTo>
                      <a:lnTo>
                        <a:pt x="60871" y="237864"/>
                      </a:lnTo>
                      <a:cubicBezTo>
                        <a:pt x="61593" y="234951"/>
                        <a:pt x="64223" y="232889"/>
                        <a:pt x="67239" y="232889"/>
                      </a:cubicBezTo>
                      <a:cubicBezTo>
                        <a:pt x="97095" y="232889"/>
                        <a:pt x="121381" y="208447"/>
                        <a:pt x="121381" y="178411"/>
                      </a:cubicBezTo>
                      <a:lnTo>
                        <a:pt x="121381" y="37693"/>
                      </a:lnTo>
                      <a:cubicBezTo>
                        <a:pt x="121381" y="24132"/>
                        <a:pt x="111816" y="13123"/>
                        <a:pt x="100060" y="13123"/>
                      </a:cubicBezTo>
                      <a:cubicBezTo>
                        <a:pt x="88303" y="13123"/>
                        <a:pt x="78738" y="24158"/>
                        <a:pt x="78738" y="37693"/>
                      </a:cubicBezTo>
                      <a:lnTo>
                        <a:pt x="78738" y="106428"/>
                      </a:lnTo>
                      <a:cubicBezTo>
                        <a:pt x="78738" y="108258"/>
                        <a:pt x="77965" y="110012"/>
                        <a:pt x="76624" y="111249"/>
                      </a:cubicBezTo>
                      <a:cubicBezTo>
                        <a:pt x="75283" y="112487"/>
                        <a:pt x="73530" y="113131"/>
                        <a:pt x="71648" y="112951"/>
                      </a:cubicBezTo>
                      <a:cubicBezTo>
                        <a:pt x="70204" y="112822"/>
                        <a:pt x="68735" y="112719"/>
                        <a:pt x="67239" y="112719"/>
                      </a:cubicBezTo>
                      <a:cubicBezTo>
                        <a:pt x="37384" y="112719"/>
                        <a:pt x="13097" y="137160"/>
                        <a:pt x="13097" y="167196"/>
                      </a:cubicBezTo>
                      <a:cubicBezTo>
                        <a:pt x="13097" y="170806"/>
                        <a:pt x="10158" y="173745"/>
                        <a:pt x="6549" y="173745"/>
                      </a:cubicBezTo>
                      <a:cubicBezTo>
                        <a:pt x="2913" y="173745"/>
                        <a:pt x="0" y="170806"/>
                        <a:pt x="0" y="167196"/>
                      </a:cubicBezTo>
                      <a:cubicBezTo>
                        <a:pt x="0" y="130483"/>
                        <a:pt x="29314" y="100498"/>
                        <a:pt x="65667" y="99647"/>
                      </a:cubicBezTo>
                      <a:lnTo>
                        <a:pt x="65667" y="37693"/>
                      </a:lnTo>
                      <a:cubicBezTo>
                        <a:pt x="65667" y="16913"/>
                        <a:pt x="81110" y="0"/>
                        <a:pt x="100085" y="0"/>
                      </a:cubicBezTo>
                      <a:cubicBezTo>
                        <a:pt x="119061" y="0"/>
                        <a:pt x="134504" y="16913"/>
                        <a:pt x="134504" y="37693"/>
                      </a:cubicBezTo>
                      <a:lnTo>
                        <a:pt x="134504" y="178411"/>
                      </a:lnTo>
                      <a:cubicBezTo>
                        <a:pt x="134504" y="213836"/>
                        <a:pt x="107227" y="242995"/>
                        <a:pt x="72654" y="245779"/>
                      </a:cubicBezTo>
                      <a:lnTo>
                        <a:pt x="72654" y="329055"/>
                      </a:lnTo>
                      <a:cubicBezTo>
                        <a:pt x="72628" y="332665"/>
                        <a:pt x="69714" y="335604"/>
                        <a:pt x="66079" y="335604"/>
                      </a:cubicBezTo>
                      <a:close/>
                    </a:path>
                  </a:pathLst>
                </a:custGeom>
                <a:grpFill/>
                <a:ln w="25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</a:endParaRPr>
                </a:p>
              </p:txBody>
            </p:sp>
          </p:grpSp>
        </p:grpSp>
        <p:grpSp>
          <p:nvGrpSpPr>
            <p:cNvPr id="18" name="Group 839">
              <a:extLst>
                <a:ext uri="{FF2B5EF4-FFF2-40B4-BE49-F238E27FC236}">
                  <a16:creationId xmlns:a16="http://schemas.microsoft.com/office/drawing/2014/main" id="{29025028-B480-BA8B-ABD0-55369F6E16B6}"/>
                </a:ext>
              </a:extLst>
            </p:cNvPr>
            <p:cNvGrpSpPr/>
            <p:nvPr/>
          </p:nvGrpSpPr>
          <p:grpSpPr>
            <a:xfrm>
              <a:off x="564483" y="1587328"/>
              <a:ext cx="322932" cy="340744"/>
              <a:chOff x="7082851" y="1697626"/>
              <a:chExt cx="236260" cy="249291"/>
            </a:xfrm>
            <a:solidFill>
              <a:srgbClr val="9CB40D"/>
            </a:solidFill>
          </p:grpSpPr>
          <p:sp>
            <p:nvSpPr>
              <p:cNvPr id="19" name="Freihandform: Form 46">
                <a:extLst>
                  <a:ext uri="{FF2B5EF4-FFF2-40B4-BE49-F238E27FC236}">
                    <a16:creationId xmlns:a16="http://schemas.microsoft.com/office/drawing/2014/main" id="{8C03CE15-3B5E-F0A9-AF3F-5D69F9382B8B}"/>
                  </a:ext>
                </a:extLst>
              </p:cNvPr>
              <p:cNvSpPr/>
              <p:nvPr/>
            </p:nvSpPr>
            <p:spPr>
              <a:xfrm>
                <a:off x="7167349" y="1697626"/>
                <a:ext cx="67007" cy="134382"/>
              </a:xfrm>
              <a:custGeom>
                <a:avLst/>
                <a:gdLst>
                  <a:gd name="connsiteX0" fmla="*/ 33517 w 67007"/>
                  <a:gd name="connsiteY0" fmla="*/ 134382 h 134382"/>
                  <a:gd name="connsiteX1" fmla="*/ 29211 w 67007"/>
                  <a:gd name="connsiteY1" fmla="*/ 132784 h 134382"/>
                  <a:gd name="connsiteX2" fmla="*/ 0 w 67007"/>
                  <a:gd name="connsiteY2" fmla="*/ 67194 h 134382"/>
                  <a:gd name="connsiteX3" fmla="*/ 29211 w 67007"/>
                  <a:gd name="connsiteY3" fmla="*/ 1605 h 134382"/>
                  <a:gd name="connsiteX4" fmla="*/ 37796 w 67007"/>
                  <a:gd name="connsiteY4" fmla="*/ 1605 h 134382"/>
                  <a:gd name="connsiteX5" fmla="*/ 67007 w 67007"/>
                  <a:gd name="connsiteY5" fmla="*/ 67194 h 134382"/>
                  <a:gd name="connsiteX6" fmla="*/ 37796 w 67007"/>
                  <a:gd name="connsiteY6" fmla="*/ 132784 h 134382"/>
                  <a:gd name="connsiteX7" fmla="*/ 33517 w 67007"/>
                  <a:gd name="connsiteY7" fmla="*/ 134382 h 134382"/>
                  <a:gd name="connsiteX8" fmla="*/ 33517 w 67007"/>
                  <a:gd name="connsiteY8" fmla="*/ 15553 h 134382"/>
                  <a:gd name="connsiteX9" fmla="*/ 13123 w 67007"/>
                  <a:gd name="connsiteY9" fmla="*/ 67168 h 134382"/>
                  <a:gd name="connsiteX10" fmla="*/ 33517 w 67007"/>
                  <a:gd name="connsiteY10" fmla="*/ 118784 h 134382"/>
                  <a:gd name="connsiteX11" fmla="*/ 53910 w 67007"/>
                  <a:gd name="connsiteY11" fmla="*/ 67168 h 134382"/>
                  <a:gd name="connsiteX12" fmla="*/ 33517 w 67007"/>
                  <a:gd name="connsiteY12" fmla="*/ 15553 h 1343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67007" h="134382">
                    <a:moveTo>
                      <a:pt x="33517" y="134382"/>
                    </a:moveTo>
                    <a:cubicBezTo>
                      <a:pt x="31996" y="134382"/>
                      <a:pt x="30449" y="133841"/>
                      <a:pt x="29211" y="132784"/>
                    </a:cubicBezTo>
                    <a:cubicBezTo>
                      <a:pt x="10648" y="116670"/>
                      <a:pt x="0" y="92770"/>
                      <a:pt x="0" y="67194"/>
                    </a:cubicBezTo>
                    <a:cubicBezTo>
                      <a:pt x="0" y="41619"/>
                      <a:pt x="10648" y="17719"/>
                      <a:pt x="29211" y="1605"/>
                    </a:cubicBezTo>
                    <a:cubicBezTo>
                      <a:pt x="31660" y="-535"/>
                      <a:pt x="35347" y="-535"/>
                      <a:pt x="37796" y="1605"/>
                    </a:cubicBezTo>
                    <a:cubicBezTo>
                      <a:pt x="56360" y="17719"/>
                      <a:pt x="67007" y="41619"/>
                      <a:pt x="67007" y="67194"/>
                    </a:cubicBezTo>
                    <a:cubicBezTo>
                      <a:pt x="67007" y="92770"/>
                      <a:pt x="56360" y="116670"/>
                      <a:pt x="37796" y="132784"/>
                    </a:cubicBezTo>
                    <a:cubicBezTo>
                      <a:pt x="36585" y="133841"/>
                      <a:pt x="35038" y="134382"/>
                      <a:pt x="33517" y="134382"/>
                    </a:cubicBezTo>
                    <a:close/>
                    <a:moveTo>
                      <a:pt x="33517" y="15553"/>
                    </a:moveTo>
                    <a:cubicBezTo>
                      <a:pt x="20497" y="28985"/>
                      <a:pt x="13123" y="47471"/>
                      <a:pt x="13123" y="67168"/>
                    </a:cubicBezTo>
                    <a:cubicBezTo>
                      <a:pt x="13123" y="86866"/>
                      <a:pt x="20497" y="105352"/>
                      <a:pt x="33517" y="118784"/>
                    </a:cubicBezTo>
                    <a:cubicBezTo>
                      <a:pt x="46537" y="105352"/>
                      <a:pt x="53910" y="86866"/>
                      <a:pt x="53910" y="67168"/>
                    </a:cubicBezTo>
                    <a:cubicBezTo>
                      <a:pt x="53910" y="47497"/>
                      <a:pt x="46537" y="29011"/>
                      <a:pt x="33517" y="15553"/>
                    </a:cubicBezTo>
                    <a:close/>
                  </a:path>
                </a:pathLst>
              </a:custGeom>
              <a:grpFill/>
              <a:ln w="25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0" name="Freihandform: Form 47">
                <a:extLst>
                  <a:ext uri="{FF2B5EF4-FFF2-40B4-BE49-F238E27FC236}">
                    <a16:creationId xmlns:a16="http://schemas.microsoft.com/office/drawing/2014/main" id="{26B3B68A-10B6-951B-7728-C393642FBD8D}"/>
                  </a:ext>
                </a:extLst>
              </p:cNvPr>
              <p:cNvSpPr/>
              <p:nvPr/>
            </p:nvSpPr>
            <p:spPr>
              <a:xfrm>
                <a:off x="7194317" y="1765000"/>
                <a:ext cx="13097" cy="181917"/>
              </a:xfrm>
              <a:custGeom>
                <a:avLst/>
                <a:gdLst>
                  <a:gd name="connsiteX0" fmla="*/ 6549 w 13097"/>
                  <a:gd name="connsiteY0" fmla="*/ 181918 h 181917"/>
                  <a:gd name="connsiteX1" fmla="*/ 0 w 13097"/>
                  <a:gd name="connsiteY1" fmla="*/ 175369 h 181917"/>
                  <a:gd name="connsiteX2" fmla="*/ 0 w 13097"/>
                  <a:gd name="connsiteY2" fmla="*/ 6549 h 181917"/>
                  <a:gd name="connsiteX3" fmla="*/ 6549 w 13097"/>
                  <a:gd name="connsiteY3" fmla="*/ 0 h 181917"/>
                  <a:gd name="connsiteX4" fmla="*/ 13097 w 13097"/>
                  <a:gd name="connsiteY4" fmla="*/ 6549 h 181917"/>
                  <a:gd name="connsiteX5" fmla="*/ 13097 w 13097"/>
                  <a:gd name="connsiteY5" fmla="*/ 175369 h 181917"/>
                  <a:gd name="connsiteX6" fmla="*/ 6549 w 13097"/>
                  <a:gd name="connsiteY6" fmla="*/ 181918 h 1819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3097" h="181917">
                    <a:moveTo>
                      <a:pt x="6549" y="181918"/>
                    </a:moveTo>
                    <a:cubicBezTo>
                      <a:pt x="2913" y="181918"/>
                      <a:pt x="0" y="178978"/>
                      <a:pt x="0" y="175369"/>
                    </a:cubicBezTo>
                    <a:lnTo>
                      <a:pt x="0" y="6549"/>
                    </a:lnTo>
                    <a:cubicBezTo>
                      <a:pt x="0" y="2939"/>
                      <a:pt x="2939" y="0"/>
                      <a:pt x="6549" y="0"/>
                    </a:cubicBezTo>
                    <a:cubicBezTo>
                      <a:pt x="10184" y="0"/>
                      <a:pt x="13097" y="2939"/>
                      <a:pt x="13097" y="6549"/>
                    </a:cubicBezTo>
                    <a:lnTo>
                      <a:pt x="13097" y="175369"/>
                    </a:lnTo>
                    <a:cubicBezTo>
                      <a:pt x="13097" y="178978"/>
                      <a:pt x="10158" y="181918"/>
                      <a:pt x="6549" y="181918"/>
                    </a:cubicBezTo>
                    <a:close/>
                  </a:path>
                </a:pathLst>
              </a:custGeom>
              <a:grpFill/>
              <a:ln w="25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grpSp>
            <p:nvGrpSpPr>
              <p:cNvPr id="21" name="Grafik 235">
                <a:extLst>
                  <a:ext uri="{FF2B5EF4-FFF2-40B4-BE49-F238E27FC236}">
                    <a16:creationId xmlns:a16="http://schemas.microsoft.com/office/drawing/2014/main" id="{C1AF50FA-BED2-3872-98A5-31DF71A11724}"/>
                  </a:ext>
                </a:extLst>
              </p:cNvPr>
              <p:cNvGrpSpPr/>
              <p:nvPr/>
            </p:nvGrpSpPr>
            <p:grpSpPr>
              <a:xfrm>
                <a:off x="7082851" y="1796896"/>
                <a:ext cx="125085" cy="130608"/>
                <a:chOff x="7082851" y="1796896"/>
                <a:chExt cx="125085" cy="130608"/>
              </a:xfrm>
              <a:grpFill/>
            </p:grpSpPr>
            <p:sp>
              <p:nvSpPr>
                <p:cNvPr id="25" name="Freihandform: Form 52">
                  <a:extLst>
                    <a:ext uri="{FF2B5EF4-FFF2-40B4-BE49-F238E27FC236}">
                      <a16:creationId xmlns:a16="http://schemas.microsoft.com/office/drawing/2014/main" id="{6334FCC0-F60F-DE4D-85FC-39268AF1F03F}"/>
                    </a:ext>
                  </a:extLst>
                </p:cNvPr>
                <p:cNvSpPr/>
                <p:nvPr/>
              </p:nvSpPr>
              <p:spPr>
                <a:xfrm>
                  <a:off x="7082851" y="1796896"/>
                  <a:ext cx="98481" cy="100004"/>
                </a:xfrm>
                <a:custGeom>
                  <a:avLst/>
                  <a:gdLst>
                    <a:gd name="connsiteX0" fmla="*/ 87127 w 98481"/>
                    <a:gd name="connsiteY0" fmla="*/ 100005 h 100004"/>
                    <a:gd name="connsiteX1" fmla="*/ 25302 w 98481"/>
                    <a:gd name="connsiteY1" fmla="*/ 73449 h 100004"/>
                    <a:gd name="connsiteX2" fmla="*/ 268 w 98481"/>
                    <a:gd name="connsiteY2" fmla="*/ 6159 h 100004"/>
                    <a:gd name="connsiteX3" fmla="*/ 6404 w 98481"/>
                    <a:gd name="connsiteY3" fmla="*/ 151 h 100004"/>
                    <a:gd name="connsiteX4" fmla="*/ 73179 w 98481"/>
                    <a:gd name="connsiteY4" fmla="*/ 26552 h 100004"/>
                    <a:gd name="connsiteX5" fmla="*/ 98213 w 98481"/>
                    <a:gd name="connsiteY5" fmla="*/ 93843 h 100004"/>
                    <a:gd name="connsiteX6" fmla="*/ 92077 w 98481"/>
                    <a:gd name="connsiteY6" fmla="*/ 99850 h 100004"/>
                    <a:gd name="connsiteX7" fmla="*/ 87127 w 98481"/>
                    <a:gd name="connsiteY7" fmla="*/ 100005 h 100004"/>
                    <a:gd name="connsiteX8" fmla="*/ 13107 w 98481"/>
                    <a:gd name="connsiteY8" fmla="*/ 13120 h 100004"/>
                    <a:gd name="connsiteX9" fmla="*/ 34661 w 98481"/>
                    <a:gd name="connsiteY9" fmla="*/ 64271 h 100004"/>
                    <a:gd name="connsiteX10" fmla="*/ 34661 w 98481"/>
                    <a:gd name="connsiteY10" fmla="*/ 64271 h 100004"/>
                    <a:gd name="connsiteX11" fmla="*/ 85348 w 98481"/>
                    <a:gd name="connsiteY11" fmla="*/ 86882 h 100004"/>
                    <a:gd name="connsiteX12" fmla="*/ 63795 w 98481"/>
                    <a:gd name="connsiteY12" fmla="*/ 35730 h 100004"/>
                    <a:gd name="connsiteX13" fmla="*/ 13107 w 98481"/>
                    <a:gd name="connsiteY13" fmla="*/ 13120 h 10000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</a:cxnLst>
                  <a:rect l="l" t="t" r="r" b="b"/>
                  <a:pathLst>
                    <a:path w="98481" h="100004">
                      <a:moveTo>
                        <a:pt x="87127" y="100005"/>
                      </a:moveTo>
                      <a:cubicBezTo>
                        <a:pt x="64284" y="100005"/>
                        <a:pt x="41983" y="90491"/>
                        <a:pt x="25302" y="73449"/>
                      </a:cubicBezTo>
                      <a:cubicBezTo>
                        <a:pt x="7409" y="55170"/>
                        <a:pt x="-1718" y="30651"/>
                        <a:pt x="268" y="6159"/>
                      </a:cubicBezTo>
                      <a:cubicBezTo>
                        <a:pt x="526" y="2910"/>
                        <a:pt x="3155" y="332"/>
                        <a:pt x="6404" y="151"/>
                      </a:cubicBezTo>
                      <a:cubicBezTo>
                        <a:pt x="30845" y="-1344"/>
                        <a:pt x="55287" y="8298"/>
                        <a:pt x="73179" y="26552"/>
                      </a:cubicBezTo>
                      <a:cubicBezTo>
                        <a:pt x="91072" y="44806"/>
                        <a:pt x="100199" y="69350"/>
                        <a:pt x="98213" y="93843"/>
                      </a:cubicBezTo>
                      <a:cubicBezTo>
                        <a:pt x="97956" y="97092"/>
                        <a:pt x="95326" y="99670"/>
                        <a:pt x="92077" y="99850"/>
                      </a:cubicBezTo>
                      <a:cubicBezTo>
                        <a:pt x="90427" y="99953"/>
                        <a:pt x="88777" y="100005"/>
                        <a:pt x="87127" y="100005"/>
                      </a:cubicBezTo>
                      <a:close/>
                      <a:moveTo>
                        <a:pt x="13107" y="13120"/>
                      </a:moveTo>
                      <a:cubicBezTo>
                        <a:pt x="13210" y="31837"/>
                        <a:pt x="20867" y="50194"/>
                        <a:pt x="34661" y="64271"/>
                      </a:cubicBezTo>
                      <a:cubicBezTo>
                        <a:pt x="34661" y="64271"/>
                        <a:pt x="34661" y="64271"/>
                        <a:pt x="34661" y="64271"/>
                      </a:cubicBezTo>
                      <a:cubicBezTo>
                        <a:pt x="48428" y="78348"/>
                        <a:pt x="66656" y="86392"/>
                        <a:pt x="85348" y="86882"/>
                      </a:cubicBezTo>
                      <a:cubicBezTo>
                        <a:pt x="85271" y="68164"/>
                        <a:pt x="77588" y="49807"/>
                        <a:pt x="63795" y="35730"/>
                      </a:cubicBezTo>
                      <a:cubicBezTo>
                        <a:pt x="50027" y="21653"/>
                        <a:pt x="31825" y="13584"/>
                        <a:pt x="13107" y="13120"/>
                      </a:cubicBezTo>
                      <a:close/>
                    </a:path>
                  </a:pathLst>
                </a:custGeom>
                <a:grpFill/>
                <a:ln w="25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26" name="Freihandform: Form 53">
                  <a:extLst>
                    <a:ext uri="{FF2B5EF4-FFF2-40B4-BE49-F238E27FC236}">
                      <a16:creationId xmlns:a16="http://schemas.microsoft.com/office/drawing/2014/main" id="{63920715-9729-5903-2370-658CEA1DF92A}"/>
                    </a:ext>
                  </a:extLst>
                </p:cNvPr>
                <p:cNvSpPr/>
                <p:nvPr/>
              </p:nvSpPr>
              <p:spPr>
                <a:xfrm>
                  <a:off x="7130241" y="1845149"/>
                  <a:ext cx="77696" cy="82355"/>
                </a:xfrm>
                <a:custGeom>
                  <a:avLst/>
                  <a:gdLst>
                    <a:gd name="connsiteX0" fmla="*/ 71140 w 77696"/>
                    <a:gd name="connsiteY0" fmla="*/ 82355 h 82355"/>
                    <a:gd name="connsiteX1" fmla="*/ 66345 w 77696"/>
                    <a:gd name="connsiteY1" fmla="*/ 80267 h 82355"/>
                    <a:gd name="connsiteX2" fmla="*/ 1761 w 77696"/>
                    <a:gd name="connsiteY2" fmla="*/ 11017 h 82355"/>
                    <a:gd name="connsiteX3" fmla="*/ 2096 w 77696"/>
                    <a:gd name="connsiteY3" fmla="*/ 1761 h 82355"/>
                    <a:gd name="connsiteX4" fmla="*/ 11352 w 77696"/>
                    <a:gd name="connsiteY4" fmla="*/ 2096 h 82355"/>
                    <a:gd name="connsiteX5" fmla="*/ 75935 w 77696"/>
                    <a:gd name="connsiteY5" fmla="*/ 71346 h 82355"/>
                    <a:gd name="connsiteX6" fmla="*/ 75600 w 77696"/>
                    <a:gd name="connsiteY6" fmla="*/ 80602 h 82355"/>
                    <a:gd name="connsiteX7" fmla="*/ 71140 w 77696"/>
                    <a:gd name="connsiteY7" fmla="*/ 82355 h 8235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77696" h="82355">
                      <a:moveTo>
                        <a:pt x="71140" y="82355"/>
                      </a:moveTo>
                      <a:cubicBezTo>
                        <a:pt x="69387" y="82355"/>
                        <a:pt x="67634" y="81659"/>
                        <a:pt x="66345" y="80267"/>
                      </a:cubicBezTo>
                      <a:lnTo>
                        <a:pt x="1761" y="11017"/>
                      </a:lnTo>
                      <a:cubicBezTo>
                        <a:pt x="-714" y="8361"/>
                        <a:pt x="-560" y="4210"/>
                        <a:pt x="2096" y="1761"/>
                      </a:cubicBezTo>
                      <a:cubicBezTo>
                        <a:pt x="4751" y="-714"/>
                        <a:pt x="8877" y="-560"/>
                        <a:pt x="11352" y="2096"/>
                      </a:cubicBezTo>
                      <a:lnTo>
                        <a:pt x="75935" y="71346"/>
                      </a:lnTo>
                      <a:cubicBezTo>
                        <a:pt x="78411" y="74002"/>
                        <a:pt x="78256" y="78153"/>
                        <a:pt x="75600" y="80602"/>
                      </a:cubicBezTo>
                      <a:cubicBezTo>
                        <a:pt x="74337" y="81762"/>
                        <a:pt x="72739" y="82355"/>
                        <a:pt x="71140" y="82355"/>
                      </a:cubicBezTo>
                      <a:close/>
                    </a:path>
                  </a:pathLst>
                </a:custGeom>
                <a:grpFill/>
                <a:ln w="25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</a:endParaRPr>
                </a:p>
              </p:txBody>
            </p:sp>
          </p:grpSp>
          <p:grpSp>
            <p:nvGrpSpPr>
              <p:cNvPr id="22" name="Grafik 235">
                <a:extLst>
                  <a:ext uri="{FF2B5EF4-FFF2-40B4-BE49-F238E27FC236}">
                    <a16:creationId xmlns:a16="http://schemas.microsoft.com/office/drawing/2014/main" id="{9FF35E82-5F57-0F5D-CAFB-683030E7F607}"/>
                  </a:ext>
                </a:extLst>
              </p:cNvPr>
              <p:cNvGrpSpPr/>
              <p:nvPr/>
            </p:nvGrpSpPr>
            <p:grpSpPr>
              <a:xfrm>
                <a:off x="7194036" y="1796896"/>
                <a:ext cx="125075" cy="130608"/>
                <a:chOff x="7194036" y="1796896"/>
                <a:chExt cx="125075" cy="130608"/>
              </a:xfrm>
              <a:grpFill/>
            </p:grpSpPr>
            <p:sp>
              <p:nvSpPr>
                <p:cNvPr id="23" name="Freihandform: Form 50">
                  <a:extLst>
                    <a:ext uri="{FF2B5EF4-FFF2-40B4-BE49-F238E27FC236}">
                      <a16:creationId xmlns:a16="http://schemas.microsoft.com/office/drawing/2014/main" id="{4061FAFB-3680-ABFC-6497-EF7D9208BA58}"/>
                    </a:ext>
                  </a:extLst>
                </p:cNvPr>
                <p:cNvSpPr/>
                <p:nvPr/>
              </p:nvSpPr>
              <p:spPr>
                <a:xfrm>
                  <a:off x="7220630" y="1796896"/>
                  <a:ext cx="98481" cy="100005"/>
                </a:xfrm>
                <a:custGeom>
                  <a:avLst/>
                  <a:gdLst>
                    <a:gd name="connsiteX0" fmla="*/ 11354 w 98481"/>
                    <a:gd name="connsiteY0" fmla="*/ 100005 h 100005"/>
                    <a:gd name="connsiteX1" fmla="*/ 6404 w 98481"/>
                    <a:gd name="connsiteY1" fmla="*/ 99851 h 100005"/>
                    <a:gd name="connsiteX2" fmla="*/ 268 w 98481"/>
                    <a:gd name="connsiteY2" fmla="*/ 93843 h 100005"/>
                    <a:gd name="connsiteX3" fmla="*/ 25302 w 98481"/>
                    <a:gd name="connsiteY3" fmla="*/ 26552 h 100005"/>
                    <a:gd name="connsiteX4" fmla="*/ 92077 w 98481"/>
                    <a:gd name="connsiteY4" fmla="*/ 152 h 100005"/>
                    <a:gd name="connsiteX5" fmla="*/ 98213 w 98481"/>
                    <a:gd name="connsiteY5" fmla="*/ 6159 h 100005"/>
                    <a:gd name="connsiteX6" fmla="*/ 73179 w 98481"/>
                    <a:gd name="connsiteY6" fmla="*/ 73450 h 100005"/>
                    <a:gd name="connsiteX7" fmla="*/ 73179 w 98481"/>
                    <a:gd name="connsiteY7" fmla="*/ 73450 h 100005"/>
                    <a:gd name="connsiteX8" fmla="*/ 11354 w 98481"/>
                    <a:gd name="connsiteY8" fmla="*/ 100005 h 100005"/>
                    <a:gd name="connsiteX9" fmla="*/ 85374 w 98481"/>
                    <a:gd name="connsiteY9" fmla="*/ 13120 h 100005"/>
                    <a:gd name="connsiteX10" fmla="*/ 34687 w 98481"/>
                    <a:gd name="connsiteY10" fmla="*/ 35731 h 100005"/>
                    <a:gd name="connsiteX11" fmla="*/ 13133 w 98481"/>
                    <a:gd name="connsiteY11" fmla="*/ 86882 h 100005"/>
                    <a:gd name="connsiteX12" fmla="*/ 63820 w 98481"/>
                    <a:gd name="connsiteY12" fmla="*/ 64271 h 100005"/>
                    <a:gd name="connsiteX13" fmla="*/ 63820 w 98481"/>
                    <a:gd name="connsiteY13" fmla="*/ 64271 h 100005"/>
                    <a:gd name="connsiteX14" fmla="*/ 85374 w 98481"/>
                    <a:gd name="connsiteY14" fmla="*/ 13120 h 10000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</a:cxnLst>
                  <a:rect l="l" t="t" r="r" b="b"/>
                  <a:pathLst>
                    <a:path w="98481" h="100005">
                      <a:moveTo>
                        <a:pt x="11354" y="100005"/>
                      </a:moveTo>
                      <a:cubicBezTo>
                        <a:pt x="9704" y="100005"/>
                        <a:pt x="8054" y="99954"/>
                        <a:pt x="6404" y="99851"/>
                      </a:cubicBezTo>
                      <a:cubicBezTo>
                        <a:pt x="3155" y="99644"/>
                        <a:pt x="525" y="97092"/>
                        <a:pt x="268" y="93843"/>
                      </a:cubicBezTo>
                      <a:cubicBezTo>
                        <a:pt x="-1718" y="69350"/>
                        <a:pt x="7409" y="44806"/>
                        <a:pt x="25302" y="26552"/>
                      </a:cubicBezTo>
                      <a:cubicBezTo>
                        <a:pt x="43195" y="8273"/>
                        <a:pt x="67481" y="-1344"/>
                        <a:pt x="92077" y="152"/>
                      </a:cubicBezTo>
                      <a:cubicBezTo>
                        <a:pt x="95326" y="358"/>
                        <a:pt x="97956" y="2910"/>
                        <a:pt x="98213" y="6159"/>
                      </a:cubicBezTo>
                      <a:cubicBezTo>
                        <a:pt x="100199" y="30652"/>
                        <a:pt x="91072" y="55196"/>
                        <a:pt x="73179" y="73450"/>
                      </a:cubicBezTo>
                      <a:lnTo>
                        <a:pt x="73179" y="73450"/>
                      </a:lnTo>
                      <a:cubicBezTo>
                        <a:pt x="56498" y="90466"/>
                        <a:pt x="34197" y="100005"/>
                        <a:pt x="11354" y="100005"/>
                      </a:cubicBezTo>
                      <a:close/>
                      <a:moveTo>
                        <a:pt x="85374" y="13120"/>
                      </a:moveTo>
                      <a:cubicBezTo>
                        <a:pt x="66656" y="13584"/>
                        <a:pt x="48454" y="21654"/>
                        <a:pt x="34687" y="35731"/>
                      </a:cubicBezTo>
                      <a:cubicBezTo>
                        <a:pt x="20893" y="49808"/>
                        <a:pt x="13210" y="68165"/>
                        <a:pt x="13133" y="86882"/>
                      </a:cubicBezTo>
                      <a:cubicBezTo>
                        <a:pt x="31851" y="86392"/>
                        <a:pt x="50053" y="78348"/>
                        <a:pt x="63820" y="64271"/>
                      </a:cubicBezTo>
                      <a:cubicBezTo>
                        <a:pt x="63820" y="64271"/>
                        <a:pt x="63820" y="64271"/>
                        <a:pt x="63820" y="64271"/>
                      </a:cubicBezTo>
                      <a:cubicBezTo>
                        <a:pt x="77588" y="50194"/>
                        <a:pt x="85271" y="31812"/>
                        <a:pt x="85374" y="13120"/>
                      </a:cubicBezTo>
                      <a:close/>
                    </a:path>
                  </a:pathLst>
                </a:custGeom>
                <a:grpFill/>
                <a:ln w="25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24" name="Freihandform: Form 51">
                  <a:extLst>
                    <a:ext uri="{FF2B5EF4-FFF2-40B4-BE49-F238E27FC236}">
                      <a16:creationId xmlns:a16="http://schemas.microsoft.com/office/drawing/2014/main" id="{2AD67457-DC36-C8CB-1181-1350B14FC281}"/>
                    </a:ext>
                  </a:extLst>
                </p:cNvPr>
                <p:cNvSpPr/>
                <p:nvPr/>
              </p:nvSpPr>
              <p:spPr>
                <a:xfrm>
                  <a:off x="7194036" y="1845159"/>
                  <a:ext cx="77660" cy="82345"/>
                </a:xfrm>
                <a:custGeom>
                  <a:avLst/>
                  <a:gdLst>
                    <a:gd name="connsiteX0" fmla="*/ 6546 w 77660"/>
                    <a:gd name="connsiteY0" fmla="*/ 82345 h 82345"/>
                    <a:gd name="connsiteX1" fmla="*/ 2086 w 77660"/>
                    <a:gd name="connsiteY1" fmla="*/ 80592 h 82345"/>
                    <a:gd name="connsiteX2" fmla="*/ 1751 w 77660"/>
                    <a:gd name="connsiteY2" fmla="*/ 71336 h 82345"/>
                    <a:gd name="connsiteX3" fmla="*/ 66309 w 77660"/>
                    <a:gd name="connsiteY3" fmla="*/ 2086 h 82345"/>
                    <a:gd name="connsiteX4" fmla="*/ 75565 w 77660"/>
                    <a:gd name="connsiteY4" fmla="*/ 1751 h 82345"/>
                    <a:gd name="connsiteX5" fmla="*/ 75900 w 77660"/>
                    <a:gd name="connsiteY5" fmla="*/ 11006 h 82345"/>
                    <a:gd name="connsiteX6" fmla="*/ 11342 w 77660"/>
                    <a:gd name="connsiteY6" fmla="*/ 80257 h 82345"/>
                    <a:gd name="connsiteX7" fmla="*/ 6546 w 77660"/>
                    <a:gd name="connsiteY7" fmla="*/ 82345 h 8234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77660" h="82345">
                      <a:moveTo>
                        <a:pt x="6546" y="82345"/>
                      </a:moveTo>
                      <a:cubicBezTo>
                        <a:pt x="4948" y="82345"/>
                        <a:pt x="3349" y="81752"/>
                        <a:pt x="2086" y="80592"/>
                      </a:cubicBezTo>
                      <a:cubicBezTo>
                        <a:pt x="-570" y="78117"/>
                        <a:pt x="-699" y="73966"/>
                        <a:pt x="1751" y="71336"/>
                      </a:cubicBezTo>
                      <a:lnTo>
                        <a:pt x="66309" y="2086"/>
                      </a:lnTo>
                      <a:cubicBezTo>
                        <a:pt x="68784" y="-570"/>
                        <a:pt x="72935" y="-699"/>
                        <a:pt x="75565" y="1751"/>
                      </a:cubicBezTo>
                      <a:cubicBezTo>
                        <a:pt x="78220" y="4226"/>
                        <a:pt x="78375" y="8377"/>
                        <a:pt x="75900" y="11006"/>
                      </a:cubicBezTo>
                      <a:lnTo>
                        <a:pt x="11342" y="80257"/>
                      </a:lnTo>
                      <a:cubicBezTo>
                        <a:pt x="10052" y="81649"/>
                        <a:pt x="8299" y="82345"/>
                        <a:pt x="6546" y="82345"/>
                      </a:cubicBezTo>
                      <a:close/>
                    </a:path>
                  </a:pathLst>
                </a:custGeom>
                <a:grpFill/>
                <a:ln w="25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</a:endParaRPr>
                </a:p>
              </p:txBody>
            </p:sp>
          </p:grpSp>
        </p:grpSp>
      </p:grpSp>
      <p:sp>
        <p:nvSpPr>
          <p:cNvPr id="41" name="Textfeld 39">
            <a:extLst>
              <a:ext uri="{FF2B5EF4-FFF2-40B4-BE49-F238E27FC236}">
                <a16:creationId xmlns:a16="http://schemas.microsoft.com/office/drawing/2014/main" id="{D6484B34-F77D-FE25-1D35-094D48AE0D11}"/>
              </a:ext>
            </a:extLst>
          </p:cNvPr>
          <p:cNvSpPr txBox="1"/>
          <p:nvPr/>
        </p:nvSpPr>
        <p:spPr>
          <a:xfrm>
            <a:off x="1432586" y="2548853"/>
            <a:ext cx="2708676" cy="871264"/>
          </a:xfrm>
          <a:prstGeom prst="rect">
            <a:avLst/>
          </a:prstGeom>
          <a:noFill/>
          <a:effectLst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0" cap="none" spc="0" normalizeH="0" baseline="0" noProof="0" dirty="0">
                <a:ln>
                  <a:noFill/>
                </a:ln>
                <a:solidFill>
                  <a:srgbClr val="9CB40D"/>
                </a:solidFill>
                <a:effectLst/>
                <a:uLnTx/>
                <a:uFillTx/>
              </a:rPr>
              <a:t>Low interest rates</a:t>
            </a:r>
          </a:p>
        </p:txBody>
      </p:sp>
      <p:sp>
        <p:nvSpPr>
          <p:cNvPr id="42" name="Textfeld 41">
            <a:extLst>
              <a:ext uri="{FF2B5EF4-FFF2-40B4-BE49-F238E27FC236}">
                <a16:creationId xmlns:a16="http://schemas.microsoft.com/office/drawing/2014/main" id="{C0FA6959-190D-8A6A-A3F0-DEC7DC2A33E8}"/>
              </a:ext>
            </a:extLst>
          </p:cNvPr>
          <p:cNvSpPr txBox="1"/>
          <p:nvPr/>
        </p:nvSpPr>
        <p:spPr>
          <a:xfrm>
            <a:off x="4140596" y="2548853"/>
            <a:ext cx="5049743" cy="871264"/>
          </a:xfrm>
          <a:prstGeom prst="rect">
            <a:avLst/>
          </a:prstGeom>
          <a:noFill/>
          <a:effectLst/>
        </p:spPr>
        <p:txBody>
          <a:bodyPr wrap="square" lIns="36000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66FF"/>
              </a:buClr>
              <a:buSzTx/>
              <a:buFontTx/>
              <a:buNone/>
              <a:tabLst/>
              <a:defRPr/>
            </a:pPr>
            <a:r>
              <a:rPr kumimoji="0" lang="en-GB" sz="1200" b="0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rPr>
              <a:t>Mitigating yield attrition without increasing risk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C0345B86-5ECD-1C85-468C-051612CD9544}"/>
              </a:ext>
            </a:extLst>
          </p:cNvPr>
          <p:cNvGrpSpPr/>
          <p:nvPr/>
        </p:nvGrpSpPr>
        <p:grpSpPr>
          <a:xfrm>
            <a:off x="320932" y="2667377"/>
            <a:ext cx="808273" cy="634216"/>
            <a:chOff x="320932" y="2667377"/>
            <a:chExt cx="808273" cy="634216"/>
          </a:xfrm>
        </p:grpSpPr>
        <p:grpSp>
          <p:nvGrpSpPr>
            <p:cNvPr id="44" name="Gruppieren 69">
              <a:extLst>
                <a:ext uri="{FF2B5EF4-FFF2-40B4-BE49-F238E27FC236}">
                  <a16:creationId xmlns:a16="http://schemas.microsoft.com/office/drawing/2014/main" id="{B38C69CD-A5E3-7EAF-952E-A4B227618D92}"/>
                </a:ext>
              </a:extLst>
            </p:cNvPr>
            <p:cNvGrpSpPr/>
            <p:nvPr/>
          </p:nvGrpSpPr>
          <p:grpSpPr>
            <a:xfrm>
              <a:off x="473099" y="2667377"/>
              <a:ext cx="656106" cy="590470"/>
              <a:chOff x="1771495" y="3343287"/>
              <a:chExt cx="393270" cy="353929"/>
            </a:xfrm>
            <a:solidFill>
              <a:schemeClr val="tx2"/>
            </a:solidFill>
          </p:grpSpPr>
          <p:sp>
            <p:nvSpPr>
              <p:cNvPr id="50" name="Freihandform: Form 75">
                <a:extLst>
                  <a:ext uri="{FF2B5EF4-FFF2-40B4-BE49-F238E27FC236}">
                    <a16:creationId xmlns:a16="http://schemas.microsoft.com/office/drawing/2014/main" id="{86B12B38-072F-B424-1870-47B0C3D46F3A}"/>
                  </a:ext>
                </a:extLst>
              </p:cNvPr>
              <p:cNvSpPr/>
              <p:nvPr/>
            </p:nvSpPr>
            <p:spPr>
              <a:xfrm>
                <a:off x="1877237" y="3684096"/>
                <a:ext cx="287528" cy="13120"/>
              </a:xfrm>
              <a:custGeom>
                <a:avLst/>
                <a:gdLst>
                  <a:gd name="connsiteX0" fmla="*/ 280968 w 287528"/>
                  <a:gd name="connsiteY0" fmla="*/ 13120 h 13120"/>
                  <a:gd name="connsiteX1" fmla="*/ 6560 w 287528"/>
                  <a:gd name="connsiteY1" fmla="*/ 13120 h 13120"/>
                  <a:gd name="connsiteX2" fmla="*/ 0 w 287528"/>
                  <a:gd name="connsiteY2" fmla="*/ 6560 h 13120"/>
                  <a:gd name="connsiteX3" fmla="*/ 6560 w 287528"/>
                  <a:gd name="connsiteY3" fmla="*/ 0 h 13120"/>
                  <a:gd name="connsiteX4" fmla="*/ 280968 w 287528"/>
                  <a:gd name="connsiteY4" fmla="*/ 0 h 13120"/>
                  <a:gd name="connsiteX5" fmla="*/ 287529 w 287528"/>
                  <a:gd name="connsiteY5" fmla="*/ 6560 h 13120"/>
                  <a:gd name="connsiteX6" fmla="*/ 280968 w 287528"/>
                  <a:gd name="connsiteY6" fmla="*/ 13120 h 131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87528" h="13120">
                    <a:moveTo>
                      <a:pt x="280968" y="13120"/>
                    </a:moveTo>
                    <a:lnTo>
                      <a:pt x="6560" y="13120"/>
                    </a:lnTo>
                    <a:cubicBezTo>
                      <a:pt x="2936" y="13120"/>
                      <a:pt x="0" y="10184"/>
                      <a:pt x="0" y="6560"/>
                    </a:cubicBezTo>
                    <a:cubicBezTo>
                      <a:pt x="0" y="2936"/>
                      <a:pt x="2936" y="0"/>
                      <a:pt x="6560" y="0"/>
                    </a:cubicBezTo>
                    <a:lnTo>
                      <a:pt x="280968" y="0"/>
                    </a:lnTo>
                    <a:cubicBezTo>
                      <a:pt x="284592" y="0"/>
                      <a:pt x="287529" y="2936"/>
                      <a:pt x="287529" y="6560"/>
                    </a:cubicBezTo>
                    <a:cubicBezTo>
                      <a:pt x="287510" y="10202"/>
                      <a:pt x="284574" y="13120"/>
                      <a:pt x="280968" y="13120"/>
                    </a:cubicBezTo>
                    <a:close/>
                  </a:path>
                </a:pathLst>
              </a:custGeom>
              <a:grpFill/>
              <a:ln w="185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51" name="Freihandform: Form 76">
                <a:extLst>
                  <a:ext uri="{FF2B5EF4-FFF2-40B4-BE49-F238E27FC236}">
                    <a16:creationId xmlns:a16="http://schemas.microsoft.com/office/drawing/2014/main" id="{0BA7ECD7-D38E-F9FC-78BE-92AE44DE7AE9}"/>
                  </a:ext>
                </a:extLst>
              </p:cNvPr>
              <p:cNvSpPr/>
              <p:nvPr/>
            </p:nvSpPr>
            <p:spPr>
              <a:xfrm>
                <a:off x="1771495" y="3343287"/>
                <a:ext cx="13120" cy="137650"/>
              </a:xfrm>
              <a:custGeom>
                <a:avLst/>
                <a:gdLst>
                  <a:gd name="connsiteX0" fmla="*/ 6560 w 13120"/>
                  <a:gd name="connsiteY0" fmla="*/ 137650 h 137650"/>
                  <a:gd name="connsiteX1" fmla="*/ 0 w 13120"/>
                  <a:gd name="connsiteY1" fmla="*/ 131090 h 137650"/>
                  <a:gd name="connsiteX2" fmla="*/ 0 w 13120"/>
                  <a:gd name="connsiteY2" fmla="*/ 6560 h 137650"/>
                  <a:gd name="connsiteX3" fmla="*/ 6560 w 13120"/>
                  <a:gd name="connsiteY3" fmla="*/ 0 h 137650"/>
                  <a:gd name="connsiteX4" fmla="*/ 13120 w 13120"/>
                  <a:gd name="connsiteY4" fmla="*/ 6560 h 137650"/>
                  <a:gd name="connsiteX5" fmla="*/ 13120 w 13120"/>
                  <a:gd name="connsiteY5" fmla="*/ 131090 h 137650"/>
                  <a:gd name="connsiteX6" fmla="*/ 6560 w 13120"/>
                  <a:gd name="connsiteY6" fmla="*/ 137650 h 1376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3120" h="137650">
                    <a:moveTo>
                      <a:pt x="6560" y="137650"/>
                    </a:moveTo>
                    <a:cubicBezTo>
                      <a:pt x="2936" y="137650"/>
                      <a:pt x="0" y="134714"/>
                      <a:pt x="0" y="131090"/>
                    </a:cubicBezTo>
                    <a:lnTo>
                      <a:pt x="0" y="6560"/>
                    </a:lnTo>
                    <a:cubicBezTo>
                      <a:pt x="0" y="2936"/>
                      <a:pt x="2936" y="0"/>
                      <a:pt x="6560" y="0"/>
                    </a:cubicBezTo>
                    <a:cubicBezTo>
                      <a:pt x="10184" y="0"/>
                      <a:pt x="13120" y="2936"/>
                      <a:pt x="13120" y="6560"/>
                    </a:cubicBezTo>
                    <a:lnTo>
                      <a:pt x="13120" y="131090"/>
                    </a:lnTo>
                    <a:cubicBezTo>
                      <a:pt x="13120" y="134714"/>
                      <a:pt x="10184" y="137650"/>
                      <a:pt x="6560" y="137650"/>
                    </a:cubicBezTo>
                    <a:close/>
                  </a:path>
                </a:pathLst>
              </a:custGeom>
              <a:grpFill/>
              <a:ln w="185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52" name="Freihandform: Form 77">
                <a:extLst>
                  <a:ext uri="{FF2B5EF4-FFF2-40B4-BE49-F238E27FC236}">
                    <a16:creationId xmlns:a16="http://schemas.microsoft.com/office/drawing/2014/main" id="{4ABF4699-F05B-B1A2-B046-8467A6B1456B}"/>
                  </a:ext>
                </a:extLst>
              </p:cNvPr>
              <p:cNvSpPr/>
              <p:nvPr/>
            </p:nvSpPr>
            <p:spPr>
              <a:xfrm>
                <a:off x="1856702" y="3520242"/>
                <a:ext cx="13120" cy="39341"/>
              </a:xfrm>
              <a:custGeom>
                <a:avLst/>
                <a:gdLst>
                  <a:gd name="connsiteX0" fmla="*/ 6560 w 13120"/>
                  <a:gd name="connsiteY0" fmla="*/ 39342 h 39341"/>
                  <a:gd name="connsiteX1" fmla="*/ 0 w 13120"/>
                  <a:gd name="connsiteY1" fmla="*/ 32782 h 39341"/>
                  <a:gd name="connsiteX2" fmla="*/ 0 w 13120"/>
                  <a:gd name="connsiteY2" fmla="*/ 6560 h 39341"/>
                  <a:gd name="connsiteX3" fmla="*/ 6560 w 13120"/>
                  <a:gd name="connsiteY3" fmla="*/ 0 h 39341"/>
                  <a:gd name="connsiteX4" fmla="*/ 13120 w 13120"/>
                  <a:gd name="connsiteY4" fmla="*/ 6560 h 39341"/>
                  <a:gd name="connsiteX5" fmla="*/ 13120 w 13120"/>
                  <a:gd name="connsiteY5" fmla="*/ 32782 h 39341"/>
                  <a:gd name="connsiteX6" fmla="*/ 6560 w 13120"/>
                  <a:gd name="connsiteY6" fmla="*/ 39342 h 393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3120" h="39341">
                    <a:moveTo>
                      <a:pt x="6560" y="39342"/>
                    </a:moveTo>
                    <a:cubicBezTo>
                      <a:pt x="2936" y="39342"/>
                      <a:pt x="0" y="36406"/>
                      <a:pt x="0" y="32782"/>
                    </a:cubicBezTo>
                    <a:lnTo>
                      <a:pt x="0" y="6560"/>
                    </a:lnTo>
                    <a:cubicBezTo>
                      <a:pt x="0" y="2936"/>
                      <a:pt x="2936" y="0"/>
                      <a:pt x="6560" y="0"/>
                    </a:cubicBezTo>
                    <a:cubicBezTo>
                      <a:pt x="10184" y="0"/>
                      <a:pt x="13120" y="2936"/>
                      <a:pt x="13120" y="6560"/>
                    </a:cubicBezTo>
                    <a:lnTo>
                      <a:pt x="13120" y="32782"/>
                    </a:lnTo>
                    <a:cubicBezTo>
                      <a:pt x="13120" y="36406"/>
                      <a:pt x="10184" y="39342"/>
                      <a:pt x="6560" y="39342"/>
                    </a:cubicBezTo>
                    <a:close/>
                  </a:path>
                </a:pathLst>
              </a:custGeom>
              <a:grpFill/>
              <a:ln w="185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53" name="Freihandform: Form 78">
                <a:extLst>
                  <a:ext uri="{FF2B5EF4-FFF2-40B4-BE49-F238E27FC236}">
                    <a16:creationId xmlns:a16="http://schemas.microsoft.com/office/drawing/2014/main" id="{79B2420D-F178-F7C0-52A6-7ACB0AC26DD8}"/>
                  </a:ext>
                </a:extLst>
              </p:cNvPr>
              <p:cNvSpPr/>
              <p:nvPr/>
            </p:nvSpPr>
            <p:spPr>
              <a:xfrm>
                <a:off x="1941909" y="3474377"/>
                <a:ext cx="13120" cy="222838"/>
              </a:xfrm>
              <a:custGeom>
                <a:avLst/>
                <a:gdLst>
                  <a:gd name="connsiteX0" fmla="*/ 6560 w 13120"/>
                  <a:gd name="connsiteY0" fmla="*/ 222838 h 222838"/>
                  <a:gd name="connsiteX1" fmla="*/ 0 w 13120"/>
                  <a:gd name="connsiteY1" fmla="*/ 216278 h 222838"/>
                  <a:gd name="connsiteX2" fmla="*/ 0 w 13120"/>
                  <a:gd name="connsiteY2" fmla="*/ 6560 h 222838"/>
                  <a:gd name="connsiteX3" fmla="*/ 6560 w 13120"/>
                  <a:gd name="connsiteY3" fmla="*/ 0 h 222838"/>
                  <a:gd name="connsiteX4" fmla="*/ 13120 w 13120"/>
                  <a:gd name="connsiteY4" fmla="*/ 6560 h 222838"/>
                  <a:gd name="connsiteX5" fmla="*/ 13120 w 13120"/>
                  <a:gd name="connsiteY5" fmla="*/ 216297 h 222838"/>
                  <a:gd name="connsiteX6" fmla="*/ 6560 w 13120"/>
                  <a:gd name="connsiteY6" fmla="*/ 222838 h 2228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3120" h="222838">
                    <a:moveTo>
                      <a:pt x="6560" y="222838"/>
                    </a:moveTo>
                    <a:cubicBezTo>
                      <a:pt x="2936" y="222838"/>
                      <a:pt x="0" y="219902"/>
                      <a:pt x="0" y="216278"/>
                    </a:cubicBezTo>
                    <a:lnTo>
                      <a:pt x="0" y="6560"/>
                    </a:lnTo>
                    <a:cubicBezTo>
                      <a:pt x="0" y="2936"/>
                      <a:pt x="2936" y="0"/>
                      <a:pt x="6560" y="0"/>
                    </a:cubicBezTo>
                    <a:cubicBezTo>
                      <a:pt x="10184" y="0"/>
                      <a:pt x="13120" y="2936"/>
                      <a:pt x="13120" y="6560"/>
                    </a:cubicBezTo>
                    <a:lnTo>
                      <a:pt x="13120" y="216297"/>
                    </a:lnTo>
                    <a:cubicBezTo>
                      <a:pt x="13102" y="219921"/>
                      <a:pt x="10184" y="222838"/>
                      <a:pt x="6560" y="222838"/>
                    </a:cubicBezTo>
                    <a:close/>
                  </a:path>
                </a:pathLst>
              </a:custGeom>
              <a:grpFill/>
              <a:ln w="185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54" name="Freihandform: Form 79">
                <a:extLst>
                  <a:ext uri="{FF2B5EF4-FFF2-40B4-BE49-F238E27FC236}">
                    <a16:creationId xmlns:a16="http://schemas.microsoft.com/office/drawing/2014/main" id="{37795899-6921-F706-4060-0AB31BF130E8}"/>
                  </a:ext>
                </a:extLst>
              </p:cNvPr>
              <p:cNvSpPr/>
              <p:nvPr/>
            </p:nvSpPr>
            <p:spPr>
              <a:xfrm>
                <a:off x="2027116" y="3559566"/>
                <a:ext cx="13120" cy="137650"/>
              </a:xfrm>
              <a:custGeom>
                <a:avLst/>
                <a:gdLst>
                  <a:gd name="connsiteX0" fmla="*/ 6560 w 13120"/>
                  <a:gd name="connsiteY0" fmla="*/ 137650 h 137650"/>
                  <a:gd name="connsiteX1" fmla="*/ 0 w 13120"/>
                  <a:gd name="connsiteY1" fmla="*/ 131090 h 137650"/>
                  <a:gd name="connsiteX2" fmla="*/ 0 w 13120"/>
                  <a:gd name="connsiteY2" fmla="*/ 6560 h 137650"/>
                  <a:gd name="connsiteX3" fmla="*/ 6560 w 13120"/>
                  <a:gd name="connsiteY3" fmla="*/ 0 h 137650"/>
                  <a:gd name="connsiteX4" fmla="*/ 13120 w 13120"/>
                  <a:gd name="connsiteY4" fmla="*/ 6560 h 137650"/>
                  <a:gd name="connsiteX5" fmla="*/ 13120 w 13120"/>
                  <a:gd name="connsiteY5" fmla="*/ 131090 h 137650"/>
                  <a:gd name="connsiteX6" fmla="*/ 6560 w 13120"/>
                  <a:gd name="connsiteY6" fmla="*/ 137650 h 1376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3120" h="137650">
                    <a:moveTo>
                      <a:pt x="6560" y="137650"/>
                    </a:moveTo>
                    <a:cubicBezTo>
                      <a:pt x="2936" y="137650"/>
                      <a:pt x="0" y="134714"/>
                      <a:pt x="0" y="131090"/>
                    </a:cubicBezTo>
                    <a:lnTo>
                      <a:pt x="0" y="6560"/>
                    </a:lnTo>
                    <a:cubicBezTo>
                      <a:pt x="0" y="2936"/>
                      <a:pt x="2936" y="0"/>
                      <a:pt x="6560" y="0"/>
                    </a:cubicBezTo>
                    <a:cubicBezTo>
                      <a:pt x="10184" y="0"/>
                      <a:pt x="13120" y="2936"/>
                      <a:pt x="13120" y="6560"/>
                    </a:cubicBezTo>
                    <a:lnTo>
                      <a:pt x="13120" y="131090"/>
                    </a:lnTo>
                    <a:cubicBezTo>
                      <a:pt x="13102" y="134733"/>
                      <a:pt x="10165" y="137650"/>
                      <a:pt x="6560" y="137650"/>
                    </a:cubicBezTo>
                    <a:close/>
                  </a:path>
                </a:pathLst>
              </a:custGeom>
              <a:grpFill/>
              <a:ln w="185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55" name="Freihandform: Form 80">
                <a:extLst>
                  <a:ext uri="{FF2B5EF4-FFF2-40B4-BE49-F238E27FC236}">
                    <a16:creationId xmlns:a16="http://schemas.microsoft.com/office/drawing/2014/main" id="{5A15E1DE-063E-78EE-A926-459A382AB377}"/>
                  </a:ext>
                </a:extLst>
              </p:cNvPr>
              <p:cNvSpPr/>
              <p:nvPr/>
            </p:nvSpPr>
            <p:spPr>
              <a:xfrm>
                <a:off x="2112322" y="3520911"/>
                <a:ext cx="13120" cy="176304"/>
              </a:xfrm>
              <a:custGeom>
                <a:avLst/>
                <a:gdLst>
                  <a:gd name="connsiteX0" fmla="*/ 6560 w 13120"/>
                  <a:gd name="connsiteY0" fmla="*/ 176305 h 176304"/>
                  <a:gd name="connsiteX1" fmla="*/ 0 w 13120"/>
                  <a:gd name="connsiteY1" fmla="*/ 169744 h 176304"/>
                  <a:gd name="connsiteX2" fmla="*/ 0 w 13120"/>
                  <a:gd name="connsiteY2" fmla="*/ 6560 h 176304"/>
                  <a:gd name="connsiteX3" fmla="*/ 6560 w 13120"/>
                  <a:gd name="connsiteY3" fmla="*/ 0 h 176304"/>
                  <a:gd name="connsiteX4" fmla="*/ 13120 w 13120"/>
                  <a:gd name="connsiteY4" fmla="*/ 6560 h 176304"/>
                  <a:gd name="connsiteX5" fmla="*/ 13120 w 13120"/>
                  <a:gd name="connsiteY5" fmla="*/ 169744 h 176304"/>
                  <a:gd name="connsiteX6" fmla="*/ 6560 w 13120"/>
                  <a:gd name="connsiteY6" fmla="*/ 176305 h 1763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3120" h="176304">
                    <a:moveTo>
                      <a:pt x="6560" y="176305"/>
                    </a:moveTo>
                    <a:cubicBezTo>
                      <a:pt x="2936" y="176305"/>
                      <a:pt x="0" y="173368"/>
                      <a:pt x="0" y="169744"/>
                    </a:cubicBezTo>
                    <a:lnTo>
                      <a:pt x="0" y="6560"/>
                    </a:lnTo>
                    <a:cubicBezTo>
                      <a:pt x="0" y="2936"/>
                      <a:pt x="2936" y="0"/>
                      <a:pt x="6560" y="0"/>
                    </a:cubicBezTo>
                    <a:cubicBezTo>
                      <a:pt x="10184" y="0"/>
                      <a:pt x="13120" y="2936"/>
                      <a:pt x="13120" y="6560"/>
                    </a:cubicBezTo>
                    <a:lnTo>
                      <a:pt x="13120" y="169744"/>
                    </a:lnTo>
                    <a:cubicBezTo>
                      <a:pt x="13102" y="173387"/>
                      <a:pt x="10165" y="176305"/>
                      <a:pt x="6560" y="176305"/>
                    </a:cubicBezTo>
                    <a:close/>
                  </a:path>
                </a:pathLst>
              </a:custGeom>
              <a:grpFill/>
              <a:ln w="185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</p:grpSp>
        <p:grpSp>
          <p:nvGrpSpPr>
            <p:cNvPr id="45" name="Gruppieren 70">
              <a:extLst>
                <a:ext uri="{FF2B5EF4-FFF2-40B4-BE49-F238E27FC236}">
                  <a16:creationId xmlns:a16="http://schemas.microsoft.com/office/drawing/2014/main" id="{F83C4247-9AC7-BAFB-450F-1991A9FA330A}"/>
                </a:ext>
              </a:extLst>
            </p:cNvPr>
            <p:cNvGrpSpPr/>
            <p:nvPr/>
          </p:nvGrpSpPr>
          <p:grpSpPr>
            <a:xfrm>
              <a:off x="320932" y="2798601"/>
              <a:ext cx="751137" cy="502992"/>
              <a:chOff x="1680286" y="3421943"/>
              <a:chExt cx="450232" cy="301494"/>
            </a:xfrm>
            <a:solidFill>
              <a:srgbClr val="9CB40D"/>
            </a:solidFill>
          </p:grpSpPr>
          <p:sp>
            <p:nvSpPr>
              <p:cNvPr id="46" name="Freihandform: Form 71">
                <a:extLst>
                  <a:ext uri="{FF2B5EF4-FFF2-40B4-BE49-F238E27FC236}">
                    <a16:creationId xmlns:a16="http://schemas.microsoft.com/office/drawing/2014/main" id="{7F2B5218-208F-78A9-ABE1-C19159D9E3A9}"/>
                  </a:ext>
                </a:extLst>
              </p:cNvPr>
              <p:cNvSpPr/>
              <p:nvPr/>
            </p:nvSpPr>
            <p:spPr>
              <a:xfrm>
                <a:off x="1797707" y="3421943"/>
                <a:ext cx="327792" cy="124539"/>
              </a:xfrm>
              <a:custGeom>
                <a:avLst/>
                <a:gdLst>
                  <a:gd name="connsiteX0" fmla="*/ 235968 w 327792"/>
                  <a:gd name="connsiteY0" fmla="*/ 124540 h 124539"/>
                  <a:gd name="connsiteX1" fmla="*/ 235578 w 327792"/>
                  <a:gd name="connsiteY1" fmla="*/ 124521 h 124539"/>
                  <a:gd name="connsiteX2" fmla="*/ 231006 w 327792"/>
                  <a:gd name="connsiteY2" fmla="*/ 122273 h 124539"/>
                  <a:gd name="connsiteX3" fmla="*/ 149646 w 327792"/>
                  <a:gd name="connsiteY3" fmla="*/ 28406 h 124539"/>
                  <a:gd name="connsiteX4" fmla="*/ 69272 w 327792"/>
                  <a:gd name="connsiteY4" fmla="*/ 84046 h 124539"/>
                  <a:gd name="connsiteX5" fmla="*/ 60463 w 327792"/>
                  <a:gd name="connsiteY5" fmla="*/ 82800 h 124539"/>
                  <a:gd name="connsiteX6" fmla="*/ 1478 w 327792"/>
                  <a:gd name="connsiteY6" fmla="*/ 10695 h 124539"/>
                  <a:gd name="connsiteX7" fmla="*/ 2407 w 327792"/>
                  <a:gd name="connsiteY7" fmla="*/ 1478 h 124539"/>
                  <a:gd name="connsiteX8" fmla="*/ 11625 w 327792"/>
                  <a:gd name="connsiteY8" fmla="*/ 2407 h 124539"/>
                  <a:gd name="connsiteX9" fmla="*/ 66781 w 327792"/>
                  <a:gd name="connsiteY9" fmla="*/ 69810 h 124539"/>
                  <a:gd name="connsiteX10" fmla="*/ 147007 w 327792"/>
                  <a:gd name="connsiteY10" fmla="*/ 14263 h 124539"/>
                  <a:gd name="connsiteX11" fmla="*/ 155686 w 327792"/>
                  <a:gd name="connsiteY11" fmla="*/ 15360 h 124539"/>
                  <a:gd name="connsiteX12" fmla="*/ 236489 w 327792"/>
                  <a:gd name="connsiteY12" fmla="*/ 108595 h 124539"/>
                  <a:gd name="connsiteX13" fmla="*/ 316826 w 327792"/>
                  <a:gd name="connsiteY13" fmla="*/ 35152 h 124539"/>
                  <a:gd name="connsiteX14" fmla="*/ 326081 w 327792"/>
                  <a:gd name="connsiteY14" fmla="*/ 35560 h 124539"/>
                  <a:gd name="connsiteX15" fmla="*/ 325672 w 327792"/>
                  <a:gd name="connsiteY15" fmla="*/ 44815 h 124539"/>
                  <a:gd name="connsiteX16" fmla="*/ 240373 w 327792"/>
                  <a:gd name="connsiteY16" fmla="*/ 122793 h 124539"/>
                  <a:gd name="connsiteX17" fmla="*/ 235968 w 327792"/>
                  <a:gd name="connsiteY17" fmla="*/ 124540 h 1245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327792" h="124539">
                    <a:moveTo>
                      <a:pt x="235968" y="124540"/>
                    </a:moveTo>
                    <a:cubicBezTo>
                      <a:pt x="235838" y="124540"/>
                      <a:pt x="235708" y="124540"/>
                      <a:pt x="235578" y="124521"/>
                    </a:cubicBezTo>
                    <a:cubicBezTo>
                      <a:pt x="233812" y="124409"/>
                      <a:pt x="232158" y="123611"/>
                      <a:pt x="231006" y="122273"/>
                    </a:cubicBezTo>
                    <a:lnTo>
                      <a:pt x="149646" y="28406"/>
                    </a:lnTo>
                    <a:lnTo>
                      <a:pt x="69272" y="84046"/>
                    </a:lnTo>
                    <a:cubicBezTo>
                      <a:pt x="66465" y="85997"/>
                      <a:pt x="62637" y="85458"/>
                      <a:pt x="60463" y="82800"/>
                    </a:cubicBezTo>
                    <a:lnTo>
                      <a:pt x="1478" y="10695"/>
                    </a:lnTo>
                    <a:cubicBezTo>
                      <a:pt x="-808" y="7889"/>
                      <a:pt x="-399" y="3764"/>
                      <a:pt x="2407" y="1478"/>
                    </a:cubicBezTo>
                    <a:cubicBezTo>
                      <a:pt x="5213" y="-808"/>
                      <a:pt x="9339" y="-399"/>
                      <a:pt x="11625" y="2407"/>
                    </a:cubicBezTo>
                    <a:lnTo>
                      <a:pt x="66781" y="69810"/>
                    </a:lnTo>
                    <a:lnTo>
                      <a:pt x="147007" y="14263"/>
                    </a:lnTo>
                    <a:cubicBezTo>
                      <a:pt x="149758" y="12368"/>
                      <a:pt x="153493" y="12833"/>
                      <a:pt x="155686" y="15360"/>
                    </a:cubicBezTo>
                    <a:lnTo>
                      <a:pt x="236489" y="108595"/>
                    </a:lnTo>
                    <a:lnTo>
                      <a:pt x="316826" y="35152"/>
                    </a:lnTo>
                    <a:cubicBezTo>
                      <a:pt x="319502" y="32717"/>
                      <a:pt x="323647" y="32903"/>
                      <a:pt x="326081" y="35560"/>
                    </a:cubicBezTo>
                    <a:cubicBezTo>
                      <a:pt x="328516" y="38237"/>
                      <a:pt x="328330" y="42381"/>
                      <a:pt x="325672" y="44815"/>
                    </a:cubicBezTo>
                    <a:lnTo>
                      <a:pt x="240373" y="122793"/>
                    </a:lnTo>
                    <a:cubicBezTo>
                      <a:pt x="239165" y="123927"/>
                      <a:pt x="237585" y="124540"/>
                      <a:pt x="235968" y="124540"/>
                    </a:cubicBezTo>
                    <a:close/>
                  </a:path>
                </a:pathLst>
              </a:custGeom>
              <a:grpFill/>
              <a:ln w="185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7" name="Freihandform: Form 72">
                <a:extLst>
                  <a:ext uri="{FF2B5EF4-FFF2-40B4-BE49-F238E27FC236}">
                    <a16:creationId xmlns:a16="http://schemas.microsoft.com/office/drawing/2014/main" id="{DE4DB2F3-A306-777E-ABC7-1DF349101EC7}"/>
                  </a:ext>
                </a:extLst>
              </p:cNvPr>
              <p:cNvSpPr/>
              <p:nvPr/>
            </p:nvSpPr>
            <p:spPr>
              <a:xfrm>
                <a:off x="2083495" y="3449470"/>
                <a:ext cx="47023" cy="48137"/>
              </a:xfrm>
              <a:custGeom>
                <a:avLst/>
                <a:gdLst>
                  <a:gd name="connsiteX0" fmla="*/ 36521 w 47023"/>
                  <a:gd name="connsiteY0" fmla="*/ 48137 h 48137"/>
                  <a:gd name="connsiteX1" fmla="*/ 35777 w 47023"/>
                  <a:gd name="connsiteY1" fmla="*/ 48100 h 48137"/>
                  <a:gd name="connsiteX2" fmla="*/ 29998 w 47023"/>
                  <a:gd name="connsiteY2" fmla="*/ 40852 h 48137"/>
                  <a:gd name="connsiteX3" fmla="*/ 33008 w 47023"/>
                  <a:gd name="connsiteY3" fmla="*/ 14148 h 48137"/>
                  <a:gd name="connsiteX4" fmla="*/ 7418 w 47023"/>
                  <a:gd name="connsiteY4" fmla="*/ 17567 h 48137"/>
                  <a:gd name="connsiteX5" fmla="*/ 59 w 47023"/>
                  <a:gd name="connsiteY5" fmla="*/ 11936 h 48137"/>
                  <a:gd name="connsiteX6" fmla="*/ 5690 w 47023"/>
                  <a:gd name="connsiteY6" fmla="*/ 4577 h 48137"/>
                  <a:gd name="connsiteX7" fmla="*/ 39606 w 47023"/>
                  <a:gd name="connsiteY7" fmla="*/ 61 h 48137"/>
                  <a:gd name="connsiteX8" fmla="*/ 45051 w 47023"/>
                  <a:gd name="connsiteY8" fmla="*/ 1882 h 48137"/>
                  <a:gd name="connsiteX9" fmla="*/ 46983 w 47023"/>
                  <a:gd name="connsiteY9" fmla="*/ 7290 h 48137"/>
                  <a:gd name="connsiteX10" fmla="*/ 43025 w 47023"/>
                  <a:gd name="connsiteY10" fmla="*/ 42339 h 48137"/>
                  <a:gd name="connsiteX11" fmla="*/ 36521 w 47023"/>
                  <a:gd name="connsiteY11" fmla="*/ 48137 h 481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47023" h="48137">
                    <a:moveTo>
                      <a:pt x="36521" y="48137"/>
                    </a:moveTo>
                    <a:cubicBezTo>
                      <a:pt x="36279" y="48137"/>
                      <a:pt x="36019" y="48119"/>
                      <a:pt x="35777" y="48100"/>
                    </a:cubicBezTo>
                    <a:cubicBezTo>
                      <a:pt x="32172" y="47691"/>
                      <a:pt x="29589" y="44439"/>
                      <a:pt x="29998" y="40852"/>
                    </a:cubicBezTo>
                    <a:lnTo>
                      <a:pt x="33008" y="14148"/>
                    </a:lnTo>
                    <a:lnTo>
                      <a:pt x="7418" y="17567"/>
                    </a:lnTo>
                    <a:cubicBezTo>
                      <a:pt x="3850" y="18032"/>
                      <a:pt x="524" y="15523"/>
                      <a:pt x="59" y="11936"/>
                    </a:cubicBezTo>
                    <a:cubicBezTo>
                      <a:pt x="-424" y="8349"/>
                      <a:pt x="2103" y="5060"/>
                      <a:pt x="5690" y="4577"/>
                    </a:cubicBezTo>
                    <a:lnTo>
                      <a:pt x="39606" y="61"/>
                    </a:lnTo>
                    <a:cubicBezTo>
                      <a:pt x="41613" y="-218"/>
                      <a:pt x="43620" y="470"/>
                      <a:pt x="45051" y="1882"/>
                    </a:cubicBezTo>
                    <a:cubicBezTo>
                      <a:pt x="46500" y="3295"/>
                      <a:pt x="47206" y="5283"/>
                      <a:pt x="46983" y="7290"/>
                    </a:cubicBezTo>
                    <a:lnTo>
                      <a:pt x="43025" y="42339"/>
                    </a:lnTo>
                    <a:cubicBezTo>
                      <a:pt x="42653" y="45666"/>
                      <a:pt x="39810" y="48137"/>
                      <a:pt x="36521" y="48137"/>
                    </a:cubicBezTo>
                    <a:close/>
                  </a:path>
                </a:pathLst>
              </a:custGeom>
              <a:grpFill/>
              <a:ln w="185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8" name="Freihandform: Form 73">
                <a:extLst>
                  <a:ext uri="{FF2B5EF4-FFF2-40B4-BE49-F238E27FC236}">
                    <a16:creationId xmlns:a16="http://schemas.microsoft.com/office/drawing/2014/main" id="{69B27C36-544C-3536-B238-440390BCCB6C}"/>
                  </a:ext>
                </a:extLst>
              </p:cNvPr>
              <p:cNvSpPr/>
              <p:nvPr/>
            </p:nvSpPr>
            <p:spPr>
              <a:xfrm>
                <a:off x="1680286" y="3522549"/>
                <a:ext cx="203176" cy="200888"/>
              </a:xfrm>
              <a:custGeom>
                <a:avLst/>
                <a:gdLst>
                  <a:gd name="connsiteX0" fmla="*/ 101598 w 203176"/>
                  <a:gd name="connsiteY0" fmla="*/ 200889 h 200888"/>
                  <a:gd name="connsiteX1" fmla="*/ 0 w 203176"/>
                  <a:gd name="connsiteY1" fmla="*/ 117577 h 200888"/>
                  <a:gd name="connsiteX2" fmla="*/ 72960 w 203176"/>
                  <a:gd name="connsiteY2" fmla="*/ 351 h 200888"/>
                  <a:gd name="connsiteX3" fmla="*/ 81267 w 203176"/>
                  <a:gd name="connsiteY3" fmla="*/ 4458 h 200888"/>
                  <a:gd name="connsiteX4" fmla="*/ 77197 w 203176"/>
                  <a:gd name="connsiteY4" fmla="*/ 12746 h 200888"/>
                  <a:gd name="connsiteX5" fmla="*/ 13120 w 203176"/>
                  <a:gd name="connsiteY5" fmla="*/ 117577 h 200888"/>
                  <a:gd name="connsiteX6" fmla="*/ 101598 w 203176"/>
                  <a:gd name="connsiteY6" fmla="*/ 187787 h 200888"/>
                  <a:gd name="connsiteX7" fmla="*/ 190075 w 203176"/>
                  <a:gd name="connsiteY7" fmla="*/ 117577 h 200888"/>
                  <a:gd name="connsiteX8" fmla="*/ 124084 w 203176"/>
                  <a:gd name="connsiteY8" fmla="*/ 12746 h 200888"/>
                  <a:gd name="connsiteX9" fmla="*/ 120200 w 203176"/>
                  <a:gd name="connsiteY9" fmla="*/ 4346 h 200888"/>
                  <a:gd name="connsiteX10" fmla="*/ 128321 w 203176"/>
                  <a:gd name="connsiteY10" fmla="*/ 332 h 200888"/>
                  <a:gd name="connsiteX11" fmla="*/ 203177 w 203176"/>
                  <a:gd name="connsiteY11" fmla="*/ 117559 h 200888"/>
                  <a:gd name="connsiteX12" fmla="*/ 101598 w 203176"/>
                  <a:gd name="connsiteY12" fmla="*/ 200889 h 2008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203176" h="200888">
                    <a:moveTo>
                      <a:pt x="101598" y="200889"/>
                    </a:moveTo>
                    <a:cubicBezTo>
                      <a:pt x="31425" y="200889"/>
                      <a:pt x="0" y="159038"/>
                      <a:pt x="0" y="117577"/>
                    </a:cubicBezTo>
                    <a:cubicBezTo>
                      <a:pt x="0" y="59503"/>
                      <a:pt x="61921" y="4068"/>
                      <a:pt x="72960" y="351"/>
                    </a:cubicBezTo>
                    <a:cubicBezTo>
                      <a:pt x="76379" y="-820"/>
                      <a:pt x="80115" y="1038"/>
                      <a:pt x="81267" y="4458"/>
                    </a:cubicBezTo>
                    <a:cubicBezTo>
                      <a:pt x="82419" y="7877"/>
                      <a:pt x="80598" y="11575"/>
                      <a:pt x="77197" y="12746"/>
                    </a:cubicBezTo>
                    <a:cubicBezTo>
                      <a:pt x="70265" y="15552"/>
                      <a:pt x="13120" y="65877"/>
                      <a:pt x="13120" y="117577"/>
                    </a:cubicBezTo>
                    <a:cubicBezTo>
                      <a:pt x="13120" y="166081"/>
                      <a:pt x="57554" y="187787"/>
                      <a:pt x="101598" y="187787"/>
                    </a:cubicBezTo>
                    <a:cubicBezTo>
                      <a:pt x="145641" y="187787"/>
                      <a:pt x="190075" y="166081"/>
                      <a:pt x="190075" y="117577"/>
                    </a:cubicBezTo>
                    <a:cubicBezTo>
                      <a:pt x="190075" y="66100"/>
                      <a:pt x="131146" y="15534"/>
                      <a:pt x="124084" y="12746"/>
                    </a:cubicBezTo>
                    <a:cubicBezTo>
                      <a:pt x="120776" y="11445"/>
                      <a:pt x="118974" y="7691"/>
                      <a:pt x="120200" y="4346"/>
                    </a:cubicBezTo>
                    <a:cubicBezTo>
                      <a:pt x="121427" y="1001"/>
                      <a:pt x="124957" y="-783"/>
                      <a:pt x="128321" y="332"/>
                    </a:cubicBezTo>
                    <a:cubicBezTo>
                      <a:pt x="139639" y="4160"/>
                      <a:pt x="203177" y="59912"/>
                      <a:pt x="203177" y="117559"/>
                    </a:cubicBezTo>
                    <a:cubicBezTo>
                      <a:pt x="203195" y="159038"/>
                      <a:pt x="171770" y="200889"/>
                      <a:pt x="101598" y="200889"/>
                    </a:cubicBezTo>
                    <a:close/>
                  </a:path>
                </a:pathLst>
              </a:custGeom>
              <a:grpFill/>
              <a:ln w="185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9" name="Freihandform: Form 74">
                <a:extLst>
                  <a:ext uri="{FF2B5EF4-FFF2-40B4-BE49-F238E27FC236}">
                    <a16:creationId xmlns:a16="http://schemas.microsoft.com/office/drawing/2014/main" id="{084B53A4-AE3A-B286-FBCB-64ACFC9FC626}"/>
                  </a:ext>
                </a:extLst>
              </p:cNvPr>
              <p:cNvSpPr/>
              <p:nvPr/>
            </p:nvSpPr>
            <p:spPr>
              <a:xfrm>
                <a:off x="1737511" y="3470684"/>
                <a:ext cx="86893" cy="64964"/>
              </a:xfrm>
              <a:custGeom>
                <a:avLst/>
                <a:gdLst>
                  <a:gd name="connsiteX0" fmla="*/ 69015 w 86893"/>
                  <a:gd name="connsiteY0" fmla="*/ 64964 h 64964"/>
                  <a:gd name="connsiteX1" fmla="*/ 17835 w 86893"/>
                  <a:gd name="connsiteY1" fmla="*/ 64964 h 64964"/>
                  <a:gd name="connsiteX2" fmla="*/ 11554 w 86893"/>
                  <a:gd name="connsiteY2" fmla="*/ 60300 h 64964"/>
                  <a:gd name="connsiteX3" fmla="*/ 590 w 86893"/>
                  <a:gd name="connsiteY3" fmla="*/ 23746 h 64964"/>
                  <a:gd name="connsiteX4" fmla="*/ 4269 w 86893"/>
                  <a:gd name="connsiteY4" fmla="*/ 7132 h 64964"/>
                  <a:gd name="connsiteX5" fmla="*/ 20697 w 86893"/>
                  <a:gd name="connsiteY5" fmla="*/ 14 h 64964"/>
                  <a:gd name="connsiteX6" fmla="*/ 66023 w 86893"/>
                  <a:gd name="connsiteY6" fmla="*/ 14 h 64964"/>
                  <a:gd name="connsiteX7" fmla="*/ 82934 w 86893"/>
                  <a:gd name="connsiteY7" fmla="*/ 8451 h 64964"/>
                  <a:gd name="connsiteX8" fmla="*/ 86298 w 86893"/>
                  <a:gd name="connsiteY8" fmla="*/ 23671 h 64964"/>
                  <a:gd name="connsiteX9" fmla="*/ 75315 w 86893"/>
                  <a:gd name="connsiteY9" fmla="*/ 60300 h 64964"/>
                  <a:gd name="connsiteX10" fmla="*/ 69015 w 86893"/>
                  <a:gd name="connsiteY10" fmla="*/ 64964 h 64964"/>
                  <a:gd name="connsiteX11" fmla="*/ 22723 w 86893"/>
                  <a:gd name="connsiteY11" fmla="*/ 51863 h 64964"/>
                  <a:gd name="connsiteX12" fmla="*/ 64146 w 86893"/>
                  <a:gd name="connsiteY12" fmla="*/ 51863 h 64964"/>
                  <a:gd name="connsiteX13" fmla="*/ 73717 w 86893"/>
                  <a:gd name="connsiteY13" fmla="*/ 19992 h 64964"/>
                  <a:gd name="connsiteX14" fmla="*/ 72602 w 86893"/>
                  <a:gd name="connsiteY14" fmla="*/ 16516 h 64964"/>
                  <a:gd name="connsiteX15" fmla="*/ 66246 w 86893"/>
                  <a:gd name="connsiteY15" fmla="*/ 13116 h 64964"/>
                  <a:gd name="connsiteX16" fmla="*/ 20418 w 86893"/>
                  <a:gd name="connsiteY16" fmla="*/ 13116 h 64964"/>
                  <a:gd name="connsiteX17" fmla="*/ 14509 w 86893"/>
                  <a:gd name="connsiteY17" fmla="*/ 15346 h 64964"/>
                  <a:gd name="connsiteX18" fmla="*/ 13227 w 86893"/>
                  <a:gd name="connsiteY18" fmla="*/ 20159 h 64964"/>
                  <a:gd name="connsiteX19" fmla="*/ 22723 w 86893"/>
                  <a:gd name="connsiteY19" fmla="*/ 51863 h 649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86893" h="64964">
                    <a:moveTo>
                      <a:pt x="69015" y="64964"/>
                    </a:moveTo>
                    <a:lnTo>
                      <a:pt x="17835" y="64964"/>
                    </a:lnTo>
                    <a:cubicBezTo>
                      <a:pt x="14936" y="64964"/>
                      <a:pt x="12390" y="63069"/>
                      <a:pt x="11554" y="60300"/>
                    </a:cubicBezTo>
                    <a:lnTo>
                      <a:pt x="590" y="23746"/>
                    </a:lnTo>
                    <a:cubicBezTo>
                      <a:pt x="-916" y="18096"/>
                      <a:pt x="515" y="11815"/>
                      <a:pt x="4269" y="7132"/>
                    </a:cubicBezTo>
                    <a:cubicBezTo>
                      <a:pt x="8209" y="2244"/>
                      <a:pt x="13988" y="-209"/>
                      <a:pt x="20697" y="14"/>
                    </a:cubicBezTo>
                    <a:lnTo>
                      <a:pt x="66023" y="14"/>
                    </a:lnTo>
                    <a:cubicBezTo>
                      <a:pt x="72137" y="-228"/>
                      <a:pt x="78790" y="3136"/>
                      <a:pt x="82934" y="8451"/>
                    </a:cubicBezTo>
                    <a:cubicBezTo>
                      <a:pt x="86521" y="13041"/>
                      <a:pt x="87748" y="18598"/>
                      <a:pt x="86298" y="23671"/>
                    </a:cubicBezTo>
                    <a:lnTo>
                      <a:pt x="75315" y="60300"/>
                    </a:lnTo>
                    <a:cubicBezTo>
                      <a:pt x="74460" y="63069"/>
                      <a:pt x="71914" y="64964"/>
                      <a:pt x="69015" y="64964"/>
                    </a:cubicBezTo>
                    <a:close/>
                    <a:moveTo>
                      <a:pt x="22723" y="51863"/>
                    </a:moveTo>
                    <a:lnTo>
                      <a:pt x="64146" y="51863"/>
                    </a:lnTo>
                    <a:lnTo>
                      <a:pt x="73717" y="19992"/>
                    </a:lnTo>
                    <a:cubicBezTo>
                      <a:pt x="74088" y="18691"/>
                      <a:pt x="73178" y="17260"/>
                      <a:pt x="72602" y="16516"/>
                    </a:cubicBezTo>
                    <a:cubicBezTo>
                      <a:pt x="71022" y="14472"/>
                      <a:pt x="68309" y="12967"/>
                      <a:pt x="66246" y="13116"/>
                    </a:cubicBezTo>
                    <a:lnTo>
                      <a:pt x="20418" y="13116"/>
                    </a:lnTo>
                    <a:cubicBezTo>
                      <a:pt x="17724" y="13060"/>
                      <a:pt x="15791" y="13747"/>
                      <a:pt x="14509" y="15346"/>
                    </a:cubicBezTo>
                    <a:cubicBezTo>
                      <a:pt x="13189" y="16981"/>
                      <a:pt x="12911" y="19007"/>
                      <a:pt x="13227" y="20159"/>
                    </a:cubicBezTo>
                    <a:lnTo>
                      <a:pt x="22723" y="51863"/>
                    </a:lnTo>
                    <a:close/>
                  </a:path>
                </a:pathLst>
              </a:custGeom>
              <a:grpFill/>
              <a:ln w="185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</p:grpSp>
      </p:grpSp>
      <p:sp>
        <p:nvSpPr>
          <p:cNvPr id="56" name="Textfeld 38">
            <a:extLst>
              <a:ext uri="{FF2B5EF4-FFF2-40B4-BE49-F238E27FC236}">
                <a16:creationId xmlns:a16="http://schemas.microsoft.com/office/drawing/2014/main" id="{798FD944-6AF8-0E60-6A14-C0D72C7352CA}"/>
              </a:ext>
            </a:extLst>
          </p:cNvPr>
          <p:cNvSpPr txBox="1"/>
          <p:nvPr/>
        </p:nvSpPr>
        <p:spPr>
          <a:xfrm>
            <a:off x="1432586" y="3601341"/>
            <a:ext cx="2708010" cy="871264"/>
          </a:xfrm>
          <a:prstGeom prst="rect">
            <a:avLst/>
          </a:prstGeom>
          <a:noFill/>
          <a:effectLst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0" cap="none" spc="0" normalizeH="0" baseline="0" noProof="0" dirty="0">
                <a:ln>
                  <a:noFill/>
                </a:ln>
                <a:solidFill>
                  <a:srgbClr val="9CB40D"/>
                </a:solidFill>
                <a:effectLst/>
                <a:uLnTx/>
                <a:uFillTx/>
              </a:rPr>
              <a:t>Capital market volatility</a:t>
            </a:r>
          </a:p>
        </p:txBody>
      </p:sp>
      <p:sp>
        <p:nvSpPr>
          <p:cNvPr id="57" name="Textfeld 40">
            <a:extLst>
              <a:ext uri="{FF2B5EF4-FFF2-40B4-BE49-F238E27FC236}">
                <a16:creationId xmlns:a16="http://schemas.microsoft.com/office/drawing/2014/main" id="{87915FE9-26EC-7929-DF46-E400C08E2711}"/>
              </a:ext>
            </a:extLst>
          </p:cNvPr>
          <p:cNvSpPr txBox="1"/>
          <p:nvPr/>
        </p:nvSpPr>
        <p:spPr>
          <a:xfrm>
            <a:off x="4140596" y="3601341"/>
            <a:ext cx="5049743" cy="871264"/>
          </a:xfrm>
          <a:prstGeom prst="rect">
            <a:avLst/>
          </a:prstGeom>
          <a:noFill/>
          <a:effectLst/>
        </p:spPr>
        <p:txBody>
          <a:bodyPr wrap="square" lIns="36000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66FF"/>
              </a:buClr>
              <a:buSzTx/>
              <a:buFontTx/>
              <a:buNone/>
              <a:tabLst/>
              <a:defRPr/>
            </a:pPr>
            <a:r>
              <a:rPr kumimoji="0" lang="en-GB" sz="1200" b="0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rPr>
              <a:t>Portfolio resilience and market opportunities </a:t>
            </a: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8BE48A2F-50C0-B08E-4040-57D35E7D1469}"/>
              </a:ext>
            </a:extLst>
          </p:cNvPr>
          <p:cNvGrpSpPr/>
          <p:nvPr/>
        </p:nvGrpSpPr>
        <p:grpSpPr>
          <a:xfrm>
            <a:off x="333526" y="3712871"/>
            <a:ext cx="783087" cy="648205"/>
            <a:chOff x="333526" y="3712871"/>
            <a:chExt cx="783087" cy="648205"/>
          </a:xfrm>
        </p:grpSpPr>
        <p:grpSp>
          <p:nvGrpSpPr>
            <p:cNvPr id="59" name="Gruppieren 82">
              <a:extLst>
                <a:ext uri="{FF2B5EF4-FFF2-40B4-BE49-F238E27FC236}">
                  <a16:creationId xmlns:a16="http://schemas.microsoft.com/office/drawing/2014/main" id="{ADD5489D-CC80-5640-5AAA-815DCCC6E16E}"/>
                </a:ext>
              </a:extLst>
            </p:cNvPr>
            <p:cNvGrpSpPr/>
            <p:nvPr/>
          </p:nvGrpSpPr>
          <p:grpSpPr>
            <a:xfrm>
              <a:off x="417831" y="3712871"/>
              <a:ext cx="698782" cy="603483"/>
              <a:chOff x="7863314" y="2511020"/>
              <a:chExt cx="438830" cy="378984"/>
            </a:xfrm>
            <a:solidFill>
              <a:srgbClr val="9CB40D"/>
            </a:solidFill>
          </p:grpSpPr>
          <p:sp>
            <p:nvSpPr>
              <p:cNvPr id="67" name="Freihandform: Form 90">
                <a:extLst>
                  <a:ext uri="{FF2B5EF4-FFF2-40B4-BE49-F238E27FC236}">
                    <a16:creationId xmlns:a16="http://schemas.microsoft.com/office/drawing/2014/main" id="{0B02FDAD-9F53-71A6-F062-14ED7363E9B3}"/>
                  </a:ext>
                </a:extLst>
              </p:cNvPr>
              <p:cNvSpPr/>
              <p:nvPr/>
            </p:nvSpPr>
            <p:spPr>
              <a:xfrm>
                <a:off x="7863314" y="2511020"/>
                <a:ext cx="13304" cy="206122"/>
              </a:xfrm>
              <a:custGeom>
                <a:avLst/>
                <a:gdLst>
                  <a:gd name="connsiteX0" fmla="*/ 6652 w 13304"/>
                  <a:gd name="connsiteY0" fmla="*/ 206123 h 206122"/>
                  <a:gd name="connsiteX1" fmla="*/ 0 w 13304"/>
                  <a:gd name="connsiteY1" fmla="*/ 199471 h 206122"/>
                  <a:gd name="connsiteX2" fmla="*/ 0 w 13304"/>
                  <a:gd name="connsiteY2" fmla="*/ 6652 h 206122"/>
                  <a:gd name="connsiteX3" fmla="*/ 6652 w 13304"/>
                  <a:gd name="connsiteY3" fmla="*/ 0 h 206122"/>
                  <a:gd name="connsiteX4" fmla="*/ 13305 w 13304"/>
                  <a:gd name="connsiteY4" fmla="*/ 6652 h 206122"/>
                  <a:gd name="connsiteX5" fmla="*/ 13305 w 13304"/>
                  <a:gd name="connsiteY5" fmla="*/ 199471 h 206122"/>
                  <a:gd name="connsiteX6" fmla="*/ 6652 w 13304"/>
                  <a:gd name="connsiteY6" fmla="*/ 206123 h 2061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3304" h="206122">
                    <a:moveTo>
                      <a:pt x="6652" y="206123"/>
                    </a:moveTo>
                    <a:cubicBezTo>
                      <a:pt x="2976" y="206123"/>
                      <a:pt x="0" y="203147"/>
                      <a:pt x="0" y="199471"/>
                    </a:cubicBezTo>
                    <a:lnTo>
                      <a:pt x="0" y="6652"/>
                    </a:lnTo>
                    <a:cubicBezTo>
                      <a:pt x="0" y="2976"/>
                      <a:pt x="2976" y="0"/>
                      <a:pt x="6652" y="0"/>
                    </a:cubicBezTo>
                    <a:cubicBezTo>
                      <a:pt x="10329" y="0"/>
                      <a:pt x="13305" y="2976"/>
                      <a:pt x="13305" y="6652"/>
                    </a:cubicBezTo>
                    <a:lnTo>
                      <a:pt x="13305" y="199471"/>
                    </a:lnTo>
                    <a:cubicBezTo>
                      <a:pt x="13305" y="203147"/>
                      <a:pt x="10329" y="206123"/>
                      <a:pt x="6652" y="206123"/>
                    </a:cubicBezTo>
                    <a:close/>
                  </a:path>
                </a:pathLst>
              </a:custGeom>
              <a:grpFill/>
              <a:ln w="249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8" name="Freihandform: Form 91">
                <a:extLst>
                  <a:ext uri="{FF2B5EF4-FFF2-40B4-BE49-F238E27FC236}">
                    <a16:creationId xmlns:a16="http://schemas.microsoft.com/office/drawing/2014/main" id="{79C3B981-BADB-E4F3-3F4D-3FB8339A8680}"/>
                  </a:ext>
                </a:extLst>
              </p:cNvPr>
              <p:cNvSpPr/>
              <p:nvPr/>
            </p:nvSpPr>
            <p:spPr>
              <a:xfrm>
                <a:off x="7969702" y="2876700"/>
                <a:ext cx="332442" cy="13304"/>
              </a:xfrm>
              <a:custGeom>
                <a:avLst/>
                <a:gdLst>
                  <a:gd name="connsiteX0" fmla="*/ 325790 w 332442"/>
                  <a:gd name="connsiteY0" fmla="*/ 13305 h 13304"/>
                  <a:gd name="connsiteX1" fmla="*/ 6652 w 332442"/>
                  <a:gd name="connsiteY1" fmla="*/ 13305 h 13304"/>
                  <a:gd name="connsiteX2" fmla="*/ 0 w 332442"/>
                  <a:gd name="connsiteY2" fmla="*/ 6652 h 13304"/>
                  <a:gd name="connsiteX3" fmla="*/ 6652 w 332442"/>
                  <a:gd name="connsiteY3" fmla="*/ 0 h 13304"/>
                  <a:gd name="connsiteX4" fmla="*/ 325790 w 332442"/>
                  <a:gd name="connsiteY4" fmla="*/ 0 h 13304"/>
                  <a:gd name="connsiteX5" fmla="*/ 332443 w 332442"/>
                  <a:gd name="connsiteY5" fmla="*/ 6652 h 13304"/>
                  <a:gd name="connsiteX6" fmla="*/ 325790 w 332442"/>
                  <a:gd name="connsiteY6" fmla="*/ 13305 h 133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32442" h="13304">
                    <a:moveTo>
                      <a:pt x="325790" y="13305"/>
                    </a:moveTo>
                    <a:lnTo>
                      <a:pt x="6652" y="13305"/>
                    </a:lnTo>
                    <a:cubicBezTo>
                      <a:pt x="2976" y="13305"/>
                      <a:pt x="0" y="10329"/>
                      <a:pt x="0" y="6652"/>
                    </a:cubicBezTo>
                    <a:cubicBezTo>
                      <a:pt x="0" y="2976"/>
                      <a:pt x="2976" y="0"/>
                      <a:pt x="6652" y="0"/>
                    </a:cubicBezTo>
                    <a:lnTo>
                      <a:pt x="325790" y="0"/>
                    </a:lnTo>
                    <a:cubicBezTo>
                      <a:pt x="329467" y="0"/>
                      <a:pt x="332443" y="2976"/>
                      <a:pt x="332443" y="6652"/>
                    </a:cubicBezTo>
                    <a:cubicBezTo>
                      <a:pt x="332443" y="10329"/>
                      <a:pt x="329467" y="13305"/>
                      <a:pt x="325790" y="13305"/>
                    </a:cubicBezTo>
                    <a:close/>
                  </a:path>
                </a:pathLst>
              </a:custGeom>
              <a:grpFill/>
              <a:ln w="249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9" name="Freihandform: Form 92">
                <a:extLst>
                  <a:ext uri="{FF2B5EF4-FFF2-40B4-BE49-F238E27FC236}">
                    <a16:creationId xmlns:a16="http://schemas.microsoft.com/office/drawing/2014/main" id="{980BEFD5-3B2C-043E-EECB-FE4A7029B3E6}"/>
                  </a:ext>
                </a:extLst>
              </p:cNvPr>
              <p:cNvSpPr/>
              <p:nvPr/>
            </p:nvSpPr>
            <p:spPr>
              <a:xfrm>
                <a:off x="7994673" y="2659810"/>
                <a:ext cx="287501" cy="168047"/>
              </a:xfrm>
              <a:custGeom>
                <a:avLst/>
                <a:gdLst>
                  <a:gd name="connsiteX0" fmla="*/ 210087 w 287501"/>
                  <a:gd name="connsiteY0" fmla="*/ 168047 h 168047"/>
                  <a:gd name="connsiteX1" fmla="*/ 208362 w 287501"/>
                  <a:gd name="connsiteY1" fmla="*/ 167997 h 168047"/>
                  <a:gd name="connsiteX2" fmla="*/ 188530 w 287501"/>
                  <a:gd name="connsiteY2" fmla="*/ 155143 h 168047"/>
                  <a:gd name="connsiteX3" fmla="*/ 158094 w 287501"/>
                  <a:gd name="connsiteY3" fmla="*/ 98123 h 168047"/>
                  <a:gd name="connsiteX4" fmla="*/ 151391 w 287501"/>
                  <a:gd name="connsiteY4" fmla="*/ 92671 h 168047"/>
                  <a:gd name="connsiteX5" fmla="*/ 142838 w 287501"/>
                  <a:gd name="connsiteY5" fmla="*/ 93671 h 168047"/>
                  <a:gd name="connsiteX6" fmla="*/ 95622 w 287501"/>
                  <a:gd name="connsiteY6" fmla="*/ 120280 h 168047"/>
                  <a:gd name="connsiteX7" fmla="*/ 62685 w 287501"/>
                  <a:gd name="connsiteY7" fmla="*/ 111577 h 168047"/>
                  <a:gd name="connsiteX8" fmla="*/ 963 w 287501"/>
                  <a:gd name="connsiteY8" fmla="*/ 10091 h 168047"/>
                  <a:gd name="connsiteX9" fmla="*/ 3189 w 287501"/>
                  <a:gd name="connsiteY9" fmla="*/ 963 h 168047"/>
                  <a:gd name="connsiteX10" fmla="*/ 12317 w 287501"/>
                  <a:gd name="connsiteY10" fmla="*/ 3189 h 168047"/>
                  <a:gd name="connsiteX11" fmla="*/ 74064 w 287501"/>
                  <a:gd name="connsiteY11" fmla="*/ 104700 h 168047"/>
                  <a:gd name="connsiteX12" fmla="*/ 89069 w 287501"/>
                  <a:gd name="connsiteY12" fmla="*/ 108701 h 168047"/>
                  <a:gd name="connsiteX13" fmla="*/ 136286 w 287501"/>
                  <a:gd name="connsiteY13" fmla="*/ 82092 h 168047"/>
                  <a:gd name="connsiteX14" fmla="*/ 155093 w 287501"/>
                  <a:gd name="connsiteY14" fmla="*/ 79916 h 168047"/>
                  <a:gd name="connsiteX15" fmla="*/ 169798 w 287501"/>
                  <a:gd name="connsiteY15" fmla="*/ 91870 h 168047"/>
                  <a:gd name="connsiteX16" fmla="*/ 200234 w 287501"/>
                  <a:gd name="connsiteY16" fmla="*/ 148890 h 168047"/>
                  <a:gd name="connsiteX17" fmla="*/ 209262 w 287501"/>
                  <a:gd name="connsiteY17" fmla="*/ 154743 h 168047"/>
                  <a:gd name="connsiteX18" fmla="*/ 219015 w 287501"/>
                  <a:gd name="connsiteY18" fmla="*/ 150191 h 168047"/>
                  <a:gd name="connsiteX19" fmla="*/ 243124 w 287501"/>
                  <a:gd name="connsiteY19" fmla="*/ 117079 h 168047"/>
                  <a:gd name="connsiteX20" fmla="*/ 263281 w 287501"/>
                  <a:gd name="connsiteY20" fmla="*/ 107051 h 168047"/>
                  <a:gd name="connsiteX21" fmla="*/ 283088 w 287501"/>
                  <a:gd name="connsiteY21" fmla="*/ 117755 h 168047"/>
                  <a:gd name="connsiteX22" fmla="*/ 286364 w 287501"/>
                  <a:gd name="connsiteY22" fmla="*/ 122581 h 168047"/>
                  <a:gd name="connsiteX23" fmla="*/ 284589 w 287501"/>
                  <a:gd name="connsiteY23" fmla="*/ 131809 h 168047"/>
                  <a:gd name="connsiteX24" fmla="*/ 275360 w 287501"/>
                  <a:gd name="connsiteY24" fmla="*/ 130034 h 168047"/>
                  <a:gd name="connsiteX25" fmla="*/ 272084 w 287501"/>
                  <a:gd name="connsiteY25" fmla="*/ 125207 h 168047"/>
                  <a:gd name="connsiteX26" fmla="*/ 263056 w 287501"/>
                  <a:gd name="connsiteY26" fmla="*/ 120330 h 168047"/>
                  <a:gd name="connsiteX27" fmla="*/ 253878 w 287501"/>
                  <a:gd name="connsiteY27" fmla="*/ 124907 h 168047"/>
                  <a:gd name="connsiteX28" fmla="*/ 229769 w 287501"/>
                  <a:gd name="connsiteY28" fmla="*/ 158019 h 168047"/>
                  <a:gd name="connsiteX29" fmla="*/ 210087 w 287501"/>
                  <a:gd name="connsiteY29" fmla="*/ 168047 h 1680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</a:cxnLst>
                <a:rect l="l" t="t" r="r" b="b"/>
                <a:pathLst>
                  <a:path w="287501" h="168047">
                    <a:moveTo>
                      <a:pt x="210087" y="168047"/>
                    </a:moveTo>
                    <a:cubicBezTo>
                      <a:pt x="209512" y="168047"/>
                      <a:pt x="208937" y="168022"/>
                      <a:pt x="208362" y="167997"/>
                    </a:cubicBezTo>
                    <a:cubicBezTo>
                      <a:pt x="199934" y="167397"/>
                      <a:pt x="192506" y="162595"/>
                      <a:pt x="188530" y="155143"/>
                    </a:cubicBezTo>
                    <a:lnTo>
                      <a:pt x="158094" y="98123"/>
                    </a:lnTo>
                    <a:cubicBezTo>
                      <a:pt x="156668" y="95447"/>
                      <a:pt x="154292" y="93521"/>
                      <a:pt x="151391" y="92671"/>
                    </a:cubicBezTo>
                    <a:cubicBezTo>
                      <a:pt x="148490" y="91820"/>
                      <a:pt x="145464" y="92170"/>
                      <a:pt x="142838" y="93671"/>
                    </a:cubicBezTo>
                    <a:lnTo>
                      <a:pt x="95622" y="120280"/>
                    </a:lnTo>
                    <a:cubicBezTo>
                      <a:pt x="84018" y="126833"/>
                      <a:pt x="69537" y="123006"/>
                      <a:pt x="62685" y="111577"/>
                    </a:cubicBezTo>
                    <a:lnTo>
                      <a:pt x="963" y="10091"/>
                    </a:lnTo>
                    <a:cubicBezTo>
                      <a:pt x="-937" y="6965"/>
                      <a:pt x="63" y="2864"/>
                      <a:pt x="3189" y="963"/>
                    </a:cubicBezTo>
                    <a:cubicBezTo>
                      <a:pt x="6340" y="-937"/>
                      <a:pt x="10416" y="63"/>
                      <a:pt x="12317" y="3189"/>
                    </a:cubicBezTo>
                    <a:lnTo>
                      <a:pt x="74064" y="104700"/>
                    </a:lnTo>
                    <a:cubicBezTo>
                      <a:pt x="77190" y="109952"/>
                      <a:pt x="83793" y="111677"/>
                      <a:pt x="89069" y="108701"/>
                    </a:cubicBezTo>
                    <a:lnTo>
                      <a:pt x="136286" y="82092"/>
                    </a:lnTo>
                    <a:cubicBezTo>
                      <a:pt x="142063" y="78841"/>
                      <a:pt x="148741" y="78065"/>
                      <a:pt x="155093" y="79916"/>
                    </a:cubicBezTo>
                    <a:cubicBezTo>
                      <a:pt x="161445" y="81767"/>
                      <a:pt x="166672" y="86018"/>
                      <a:pt x="169798" y="91870"/>
                    </a:cubicBezTo>
                    <a:lnTo>
                      <a:pt x="200234" y="148890"/>
                    </a:lnTo>
                    <a:cubicBezTo>
                      <a:pt x="202084" y="152342"/>
                      <a:pt x="205361" y="154467"/>
                      <a:pt x="209262" y="154743"/>
                    </a:cubicBezTo>
                    <a:cubicBezTo>
                      <a:pt x="213113" y="154993"/>
                      <a:pt x="216714" y="153367"/>
                      <a:pt x="219015" y="150191"/>
                    </a:cubicBezTo>
                    <a:lnTo>
                      <a:pt x="243124" y="117079"/>
                    </a:lnTo>
                    <a:cubicBezTo>
                      <a:pt x="247801" y="110652"/>
                      <a:pt x="255178" y="106926"/>
                      <a:pt x="263281" y="107051"/>
                    </a:cubicBezTo>
                    <a:cubicBezTo>
                      <a:pt x="271234" y="107176"/>
                      <a:pt x="278636" y="111177"/>
                      <a:pt x="283088" y="117755"/>
                    </a:cubicBezTo>
                    <a:lnTo>
                      <a:pt x="286364" y="122581"/>
                    </a:lnTo>
                    <a:cubicBezTo>
                      <a:pt x="288415" y="125632"/>
                      <a:pt x="287615" y="129759"/>
                      <a:pt x="284589" y="131809"/>
                    </a:cubicBezTo>
                    <a:cubicBezTo>
                      <a:pt x="281563" y="133885"/>
                      <a:pt x="277411" y="133085"/>
                      <a:pt x="275360" y="130034"/>
                    </a:cubicBezTo>
                    <a:lnTo>
                      <a:pt x="272084" y="125207"/>
                    </a:lnTo>
                    <a:cubicBezTo>
                      <a:pt x="270034" y="122156"/>
                      <a:pt x="266732" y="120380"/>
                      <a:pt x="263056" y="120330"/>
                    </a:cubicBezTo>
                    <a:cubicBezTo>
                      <a:pt x="259305" y="120280"/>
                      <a:pt x="256054" y="121931"/>
                      <a:pt x="253878" y="124907"/>
                    </a:cubicBezTo>
                    <a:lnTo>
                      <a:pt x="229769" y="158019"/>
                    </a:lnTo>
                    <a:cubicBezTo>
                      <a:pt x="225142" y="164371"/>
                      <a:pt x="217890" y="168047"/>
                      <a:pt x="210087" y="168047"/>
                    </a:cubicBezTo>
                    <a:close/>
                  </a:path>
                </a:pathLst>
              </a:custGeom>
              <a:grpFill/>
              <a:ln w="249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0" name="Freihandform: Form 93">
                <a:extLst>
                  <a:ext uri="{FF2B5EF4-FFF2-40B4-BE49-F238E27FC236}">
                    <a16:creationId xmlns:a16="http://schemas.microsoft.com/office/drawing/2014/main" id="{E5FF9214-3567-40C9-5AB5-9220DDDEEDCE}"/>
                  </a:ext>
                </a:extLst>
              </p:cNvPr>
              <p:cNvSpPr/>
              <p:nvPr/>
            </p:nvSpPr>
            <p:spPr>
              <a:xfrm>
                <a:off x="7863327" y="2597726"/>
                <a:ext cx="127937" cy="116916"/>
              </a:xfrm>
              <a:custGeom>
                <a:avLst/>
                <a:gdLst>
                  <a:gd name="connsiteX0" fmla="*/ 6640 w 127937"/>
                  <a:gd name="connsiteY0" fmla="*/ 116916 h 116916"/>
                  <a:gd name="connsiteX1" fmla="*/ 2713 w 127937"/>
                  <a:gd name="connsiteY1" fmla="*/ 115641 h 116916"/>
                  <a:gd name="connsiteX2" fmla="*/ 1288 w 127937"/>
                  <a:gd name="connsiteY2" fmla="*/ 106363 h 116916"/>
                  <a:gd name="connsiteX3" fmla="*/ 70863 w 127937"/>
                  <a:gd name="connsiteY3" fmla="*/ 11404 h 116916"/>
                  <a:gd name="connsiteX4" fmla="*/ 91445 w 127937"/>
                  <a:gd name="connsiteY4" fmla="*/ 0 h 116916"/>
                  <a:gd name="connsiteX5" fmla="*/ 91495 w 127937"/>
                  <a:gd name="connsiteY5" fmla="*/ 0 h 116916"/>
                  <a:gd name="connsiteX6" fmla="*/ 112427 w 127937"/>
                  <a:gd name="connsiteY6" fmla="*/ 11854 h 116916"/>
                  <a:gd name="connsiteX7" fmla="*/ 126983 w 127937"/>
                  <a:gd name="connsiteY7" fmla="*/ 36113 h 116916"/>
                  <a:gd name="connsiteX8" fmla="*/ 124707 w 127937"/>
                  <a:gd name="connsiteY8" fmla="*/ 45241 h 116916"/>
                  <a:gd name="connsiteX9" fmla="*/ 115578 w 127937"/>
                  <a:gd name="connsiteY9" fmla="*/ 42965 h 116916"/>
                  <a:gd name="connsiteX10" fmla="*/ 101023 w 127937"/>
                  <a:gd name="connsiteY10" fmla="*/ 18707 h 116916"/>
                  <a:gd name="connsiteX11" fmla="*/ 91495 w 127937"/>
                  <a:gd name="connsiteY11" fmla="*/ 13305 h 116916"/>
                  <a:gd name="connsiteX12" fmla="*/ 91470 w 127937"/>
                  <a:gd name="connsiteY12" fmla="*/ 13305 h 116916"/>
                  <a:gd name="connsiteX13" fmla="*/ 81917 w 127937"/>
                  <a:gd name="connsiteY13" fmla="*/ 18732 h 116916"/>
                  <a:gd name="connsiteX14" fmla="*/ 11992 w 127937"/>
                  <a:gd name="connsiteY14" fmla="*/ 114215 h 116916"/>
                  <a:gd name="connsiteX15" fmla="*/ 6640 w 127937"/>
                  <a:gd name="connsiteY15" fmla="*/ 116916 h 1169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127937" h="116916">
                    <a:moveTo>
                      <a:pt x="6640" y="116916"/>
                    </a:moveTo>
                    <a:cubicBezTo>
                      <a:pt x="5264" y="116916"/>
                      <a:pt x="3889" y="116491"/>
                      <a:pt x="2713" y="115641"/>
                    </a:cubicBezTo>
                    <a:cubicBezTo>
                      <a:pt x="-237" y="113465"/>
                      <a:pt x="-888" y="109314"/>
                      <a:pt x="1288" y="106363"/>
                    </a:cubicBezTo>
                    <a:lnTo>
                      <a:pt x="70863" y="11404"/>
                    </a:lnTo>
                    <a:cubicBezTo>
                      <a:pt x="74964" y="4477"/>
                      <a:pt x="82792" y="0"/>
                      <a:pt x="91445" y="0"/>
                    </a:cubicBezTo>
                    <a:cubicBezTo>
                      <a:pt x="91470" y="0"/>
                      <a:pt x="91470" y="0"/>
                      <a:pt x="91495" y="0"/>
                    </a:cubicBezTo>
                    <a:cubicBezTo>
                      <a:pt x="100148" y="0"/>
                      <a:pt x="107976" y="4427"/>
                      <a:pt x="112427" y="11854"/>
                    </a:cubicBezTo>
                    <a:lnTo>
                      <a:pt x="126983" y="36113"/>
                    </a:lnTo>
                    <a:cubicBezTo>
                      <a:pt x="128883" y="39264"/>
                      <a:pt x="127858" y="43340"/>
                      <a:pt x="124707" y="45241"/>
                    </a:cubicBezTo>
                    <a:cubicBezTo>
                      <a:pt x="121556" y="47142"/>
                      <a:pt x="117479" y="46116"/>
                      <a:pt x="115578" y="42965"/>
                    </a:cubicBezTo>
                    <a:lnTo>
                      <a:pt x="101023" y="18707"/>
                    </a:lnTo>
                    <a:cubicBezTo>
                      <a:pt x="98998" y="15330"/>
                      <a:pt x="95421" y="13305"/>
                      <a:pt x="91495" y="13305"/>
                    </a:cubicBezTo>
                    <a:cubicBezTo>
                      <a:pt x="91495" y="13305"/>
                      <a:pt x="91470" y="13305"/>
                      <a:pt x="91470" y="13305"/>
                    </a:cubicBezTo>
                    <a:cubicBezTo>
                      <a:pt x="87519" y="13305"/>
                      <a:pt x="83942" y="15355"/>
                      <a:pt x="81917" y="18732"/>
                    </a:cubicBezTo>
                    <a:lnTo>
                      <a:pt x="11992" y="114215"/>
                    </a:lnTo>
                    <a:cubicBezTo>
                      <a:pt x="10716" y="115966"/>
                      <a:pt x="8691" y="116916"/>
                      <a:pt x="6640" y="116916"/>
                    </a:cubicBezTo>
                    <a:close/>
                  </a:path>
                </a:pathLst>
              </a:custGeom>
              <a:grpFill/>
              <a:ln w="249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</p:grpSp>
        <p:grpSp>
          <p:nvGrpSpPr>
            <p:cNvPr id="60" name="Gruppieren 83">
              <a:extLst>
                <a:ext uri="{FF2B5EF4-FFF2-40B4-BE49-F238E27FC236}">
                  <a16:creationId xmlns:a16="http://schemas.microsoft.com/office/drawing/2014/main" id="{4C6DB400-B182-FDD9-81C7-08DAC93FF5FB}"/>
                </a:ext>
              </a:extLst>
            </p:cNvPr>
            <p:cNvGrpSpPr/>
            <p:nvPr/>
          </p:nvGrpSpPr>
          <p:grpSpPr>
            <a:xfrm>
              <a:off x="333526" y="3860655"/>
              <a:ext cx="757647" cy="500421"/>
              <a:chOff x="7810371" y="2603828"/>
              <a:chExt cx="475797" cy="314261"/>
            </a:xfrm>
            <a:solidFill>
              <a:schemeClr val="tx2"/>
            </a:solidFill>
          </p:grpSpPr>
          <p:grpSp>
            <p:nvGrpSpPr>
              <p:cNvPr id="61" name="Grafik 300">
                <a:extLst>
                  <a:ext uri="{FF2B5EF4-FFF2-40B4-BE49-F238E27FC236}">
                    <a16:creationId xmlns:a16="http://schemas.microsoft.com/office/drawing/2014/main" id="{970A3D90-493C-973A-A9DA-011B5107D2FC}"/>
                  </a:ext>
                </a:extLst>
              </p:cNvPr>
              <p:cNvGrpSpPr/>
              <p:nvPr/>
            </p:nvGrpSpPr>
            <p:grpSpPr>
              <a:xfrm>
                <a:off x="7810371" y="2723721"/>
                <a:ext cx="194368" cy="194368"/>
                <a:chOff x="7810371" y="2723721"/>
                <a:chExt cx="194368" cy="194368"/>
              </a:xfrm>
              <a:grpFill/>
            </p:grpSpPr>
            <p:sp>
              <p:nvSpPr>
                <p:cNvPr id="63" name="Freihandform: Form 86">
                  <a:extLst>
                    <a:ext uri="{FF2B5EF4-FFF2-40B4-BE49-F238E27FC236}">
                      <a16:creationId xmlns:a16="http://schemas.microsoft.com/office/drawing/2014/main" id="{563D51FC-F7BF-7828-AE57-A7AB443C3C2F}"/>
                    </a:ext>
                  </a:extLst>
                </p:cNvPr>
                <p:cNvSpPr/>
                <p:nvPr/>
              </p:nvSpPr>
              <p:spPr>
                <a:xfrm>
                  <a:off x="7810371" y="2723721"/>
                  <a:ext cx="194368" cy="194368"/>
                </a:xfrm>
                <a:custGeom>
                  <a:avLst/>
                  <a:gdLst>
                    <a:gd name="connsiteX0" fmla="*/ 97184 w 194368"/>
                    <a:gd name="connsiteY0" fmla="*/ 194369 h 194368"/>
                    <a:gd name="connsiteX1" fmla="*/ 0 w 194368"/>
                    <a:gd name="connsiteY1" fmla="*/ 97184 h 194368"/>
                    <a:gd name="connsiteX2" fmla="*/ 97184 w 194368"/>
                    <a:gd name="connsiteY2" fmla="*/ 0 h 194368"/>
                    <a:gd name="connsiteX3" fmla="*/ 194369 w 194368"/>
                    <a:gd name="connsiteY3" fmla="*/ 97184 h 194368"/>
                    <a:gd name="connsiteX4" fmla="*/ 97184 w 194368"/>
                    <a:gd name="connsiteY4" fmla="*/ 194369 h 194368"/>
                    <a:gd name="connsiteX5" fmla="*/ 97184 w 194368"/>
                    <a:gd name="connsiteY5" fmla="*/ 13305 h 194368"/>
                    <a:gd name="connsiteX6" fmla="*/ 13305 w 194368"/>
                    <a:gd name="connsiteY6" fmla="*/ 97184 h 194368"/>
                    <a:gd name="connsiteX7" fmla="*/ 97184 w 194368"/>
                    <a:gd name="connsiteY7" fmla="*/ 181064 h 194368"/>
                    <a:gd name="connsiteX8" fmla="*/ 181064 w 194368"/>
                    <a:gd name="connsiteY8" fmla="*/ 97184 h 194368"/>
                    <a:gd name="connsiteX9" fmla="*/ 97184 w 194368"/>
                    <a:gd name="connsiteY9" fmla="*/ 13305 h 19436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194368" h="194368">
                      <a:moveTo>
                        <a:pt x="97184" y="194369"/>
                      </a:moveTo>
                      <a:cubicBezTo>
                        <a:pt x="43591" y="194369"/>
                        <a:pt x="0" y="150778"/>
                        <a:pt x="0" y="97184"/>
                      </a:cubicBezTo>
                      <a:cubicBezTo>
                        <a:pt x="0" y="43590"/>
                        <a:pt x="43591" y="0"/>
                        <a:pt x="97184" y="0"/>
                      </a:cubicBezTo>
                      <a:cubicBezTo>
                        <a:pt x="150779" y="0"/>
                        <a:pt x="194369" y="43590"/>
                        <a:pt x="194369" y="97184"/>
                      </a:cubicBezTo>
                      <a:cubicBezTo>
                        <a:pt x="194369" y="150753"/>
                        <a:pt x="150779" y="194369"/>
                        <a:pt x="97184" y="194369"/>
                      </a:cubicBezTo>
                      <a:close/>
                      <a:moveTo>
                        <a:pt x="97184" y="13305"/>
                      </a:moveTo>
                      <a:cubicBezTo>
                        <a:pt x="50918" y="13305"/>
                        <a:pt x="13305" y="50943"/>
                        <a:pt x="13305" y="97184"/>
                      </a:cubicBezTo>
                      <a:cubicBezTo>
                        <a:pt x="13305" y="143451"/>
                        <a:pt x="50943" y="181064"/>
                        <a:pt x="97184" y="181064"/>
                      </a:cubicBezTo>
                      <a:cubicBezTo>
                        <a:pt x="143451" y="181064"/>
                        <a:pt x="181064" y="143426"/>
                        <a:pt x="181064" y="97184"/>
                      </a:cubicBezTo>
                      <a:cubicBezTo>
                        <a:pt x="181064" y="50918"/>
                        <a:pt x="143451" y="13305"/>
                        <a:pt x="97184" y="13305"/>
                      </a:cubicBezTo>
                      <a:close/>
                    </a:path>
                  </a:pathLst>
                </a:custGeom>
                <a:grpFill/>
                <a:ln w="249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64" name="Freihandform: Form 87">
                  <a:extLst>
                    <a:ext uri="{FF2B5EF4-FFF2-40B4-BE49-F238E27FC236}">
                      <a16:creationId xmlns:a16="http://schemas.microsoft.com/office/drawing/2014/main" id="{A82D5CED-85D5-B547-96B5-269AE36F1263}"/>
                    </a:ext>
                  </a:extLst>
                </p:cNvPr>
                <p:cNvSpPr/>
                <p:nvPr/>
              </p:nvSpPr>
              <p:spPr>
                <a:xfrm>
                  <a:off x="7958523" y="2723721"/>
                  <a:ext cx="29760" cy="29760"/>
                </a:xfrm>
                <a:custGeom>
                  <a:avLst/>
                  <a:gdLst>
                    <a:gd name="connsiteX0" fmla="*/ 6652 w 29760"/>
                    <a:gd name="connsiteY0" fmla="*/ 29761 h 29760"/>
                    <a:gd name="connsiteX1" fmla="*/ 1951 w 29760"/>
                    <a:gd name="connsiteY1" fmla="*/ 27810 h 29760"/>
                    <a:gd name="connsiteX2" fmla="*/ 1951 w 29760"/>
                    <a:gd name="connsiteY2" fmla="*/ 18406 h 29760"/>
                    <a:gd name="connsiteX3" fmla="*/ 18406 w 29760"/>
                    <a:gd name="connsiteY3" fmla="*/ 1951 h 29760"/>
                    <a:gd name="connsiteX4" fmla="*/ 27810 w 29760"/>
                    <a:gd name="connsiteY4" fmla="*/ 1951 h 29760"/>
                    <a:gd name="connsiteX5" fmla="*/ 27810 w 29760"/>
                    <a:gd name="connsiteY5" fmla="*/ 11354 h 29760"/>
                    <a:gd name="connsiteX6" fmla="*/ 11354 w 29760"/>
                    <a:gd name="connsiteY6" fmla="*/ 27810 h 29760"/>
                    <a:gd name="connsiteX7" fmla="*/ 6652 w 29760"/>
                    <a:gd name="connsiteY7" fmla="*/ 29761 h 2976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29760" h="29760">
                      <a:moveTo>
                        <a:pt x="6652" y="29761"/>
                      </a:moveTo>
                      <a:cubicBezTo>
                        <a:pt x="4952" y="29761"/>
                        <a:pt x="3251" y="29110"/>
                        <a:pt x="1951" y="27810"/>
                      </a:cubicBezTo>
                      <a:cubicBezTo>
                        <a:pt x="-650" y="25209"/>
                        <a:pt x="-650" y="21007"/>
                        <a:pt x="1951" y="18406"/>
                      </a:cubicBezTo>
                      <a:lnTo>
                        <a:pt x="18406" y="1951"/>
                      </a:lnTo>
                      <a:cubicBezTo>
                        <a:pt x="21008" y="-650"/>
                        <a:pt x="25209" y="-650"/>
                        <a:pt x="27810" y="1951"/>
                      </a:cubicBezTo>
                      <a:cubicBezTo>
                        <a:pt x="30411" y="4552"/>
                        <a:pt x="30411" y="8753"/>
                        <a:pt x="27810" y="11354"/>
                      </a:cubicBezTo>
                      <a:lnTo>
                        <a:pt x="11354" y="27810"/>
                      </a:lnTo>
                      <a:cubicBezTo>
                        <a:pt x="10054" y="29110"/>
                        <a:pt x="8353" y="29761"/>
                        <a:pt x="6652" y="29761"/>
                      </a:cubicBezTo>
                      <a:close/>
                    </a:path>
                  </a:pathLst>
                </a:custGeom>
                <a:grpFill/>
                <a:ln w="249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65" name="Freihandform: Form 88">
                  <a:extLst>
                    <a:ext uri="{FF2B5EF4-FFF2-40B4-BE49-F238E27FC236}">
                      <a16:creationId xmlns:a16="http://schemas.microsoft.com/office/drawing/2014/main" id="{D0913282-6539-F04A-F740-8E41C3BC5E7A}"/>
                    </a:ext>
                  </a:extLst>
                </p:cNvPr>
                <p:cNvSpPr/>
                <p:nvPr/>
              </p:nvSpPr>
              <p:spPr>
                <a:xfrm>
                  <a:off x="7826827" y="2723721"/>
                  <a:ext cx="29760" cy="29760"/>
                </a:xfrm>
                <a:custGeom>
                  <a:avLst/>
                  <a:gdLst>
                    <a:gd name="connsiteX0" fmla="*/ 23108 w 29760"/>
                    <a:gd name="connsiteY0" fmla="*/ 29761 h 29760"/>
                    <a:gd name="connsiteX1" fmla="*/ 18407 w 29760"/>
                    <a:gd name="connsiteY1" fmla="*/ 27810 h 29760"/>
                    <a:gd name="connsiteX2" fmla="*/ 1951 w 29760"/>
                    <a:gd name="connsiteY2" fmla="*/ 11354 h 29760"/>
                    <a:gd name="connsiteX3" fmla="*/ 1951 w 29760"/>
                    <a:gd name="connsiteY3" fmla="*/ 1951 h 29760"/>
                    <a:gd name="connsiteX4" fmla="*/ 11354 w 29760"/>
                    <a:gd name="connsiteY4" fmla="*/ 1951 h 29760"/>
                    <a:gd name="connsiteX5" fmla="*/ 27810 w 29760"/>
                    <a:gd name="connsiteY5" fmla="*/ 18406 h 29760"/>
                    <a:gd name="connsiteX6" fmla="*/ 27810 w 29760"/>
                    <a:gd name="connsiteY6" fmla="*/ 27810 h 29760"/>
                    <a:gd name="connsiteX7" fmla="*/ 23108 w 29760"/>
                    <a:gd name="connsiteY7" fmla="*/ 29761 h 2976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29760" h="29760">
                      <a:moveTo>
                        <a:pt x="23108" y="29761"/>
                      </a:moveTo>
                      <a:cubicBezTo>
                        <a:pt x="21408" y="29761"/>
                        <a:pt x="19707" y="29110"/>
                        <a:pt x="18407" y="27810"/>
                      </a:cubicBezTo>
                      <a:lnTo>
                        <a:pt x="1951" y="11354"/>
                      </a:lnTo>
                      <a:cubicBezTo>
                        <a:pt x="-650" y="8753"/>
                        <a:pt x="-650" y="4552"/>
                        <a:pt x="1951" y="1951"/>
                      </a:cubicBezTo>
                      <a:cubicBezTo>
                        <a:pt x="4552" y="-650"/>
                        <a:pt x="8753" y="-650"/>
                        <a:pt x="11354" y="1951"/>
                      </a:cubicBezTo>
                      <a:lnTo>
                        <a:pt x="27810" y="18406"/>
                      </a:lnTo>
                      <a:cubicBezTo>
                        <a:pt x="30411" y="21007"/>
                        <a:pt x="30411" y="25209"/>
                        <a:pt x="27810" y="27810"/>
                      </a:cubicBezTo>
                      <a:cubicBezTo>
                        <a:pt x="26509" y="29110"/>
                        <a:pt x="24809" y="29761"/>
                        <a:pt x="23108" y="29761"/>
                      </a:cubicBezTo>
                      <a:close/>
                    </a:path>
                  </a:pathLst>
                </a:custGeom>
                <a:grpFill/>
                <a:ln w="249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66" name="Freihandform: Form 89">
                  <a:extLst>
                    <a:ext uri="{FF2B5EF4-FFF2-40B4-BE49-F238E27FC236}">
                      <a16:creationId xmlns:a16="http://schemas.microsoft.com/office/drawing/2014/main" id="{968F5CA5-F697-E0CC-20CB-A9CEAF339E34}"/>
                    </a:ext>
                  </a:extLst>
                </p:cNvPr>
                <p:cNvSpPr/>
                <p:nvPr/>
              </p:nvSpPr>
              <p:spPr>
                <a:xfrm>
                  <a:off x="7900903" y="2773099"/>
                  <a:ext cx="46238" cy="95598"/>
                </a:xfrm>
                <a:custGeom>
                  <a:avLst/>
                  <a:gdLst>
                    <a:gd name="connsiteX0" fmla="*/ 6652 w 46238"/>
                    <a:gd name="connsiteY0" fmla="*/ 95598 h 95598"/>
                    <a:gd name="connsiteX1" fmla="*/ 0 w 46238"/>
                    <a:gd name="connsiteY1" fmla="*/ 88946 h 95598"/>
                    <a:gd name="connsiteX2" fmla="*/ 0 w 46238"/>
                    <a:gd name="connsiteY2" fmla="*/ 45455 h 95598"/>
                    <a:gd name="connsiteX3" fmla="*/ 34387 w 46238"/>
                    <a:gd name="connsiteY3" fmla="*/ 2490 h 95598"/>
                    <a:gd name="connsiteX4" fmla="*/ 43740 w 46238"/>
                    <a:gd name="connsiteY4" fmla="*/ 1440 h 95598"/>
                    <a:gd name="connsiteX5" fmla="*/ 44791 w 46238"/>
                    <a:gd name="connsiteY5" fmla="*/ 10793 h 95598"/>
                    <a:gd name="connsiteX6" fmla="*/ 13330 w 46238"/>
                    <a:gd name="connsiteY6" fmla="*/ 50132 h 95598"/>
                    <a:gd name="connsiteX7" fmla="*/ 13330 w 46238"/>
                    <a:gd name="connsiteY7" fmla="*/ 88946 h 95598"/>
                    <a:gd name="connsiteX8" fmla="*/ 6652 w 46238"/>
                    <a:gd name="connsiteY8" fmla="*/ 95598 h 955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46238" h="95598">
                      <a:moveTo>
                        <a:pt x="6652" y="95598"/>
                      </a:moveTo>
                      <a:cubicBezTo>
                        <a:pt x="2976" y="95598"/>
                        <a:pt x="0" y="92622"/>
                        <a:pt x="0" y="88946"/>
                      </a:cubicBezTo>
                      <a:lnTo>
                        <a:pt x="0" y="45455"/>
                      </a:lnTo>
                      <a:lnTo>
                        <a:pt x="34387" y="2490"/>
                      </a:lnTo>
                      <a:cubicBezTo>
                        <a:pt x="36688" y="-361"/>
                        <a:pt x="40864" y="-836"/>
                        <a:pt x="43740" y="1440"/>
                      </a:cubicBezTo>
                      <a:cubicBezTo>
                        <a:pt x="46616" y="3741"/>
                        <a:pt x="47067" y="7917"/>
                        <a:pt x="44791" y="10793"/>
                      </a:cubicBezTo>
                      <a:lnTo>
                        <a:pt x="13330" y="50132"/>
                      </a:lnTo>
                      <a:lnTo>
                        <a:pt x="13330" y="88946"/>
                      </a:lnTo>
                      <a:cubicBezTo>
                        <a:pt x="13305" y="92622"/>
                        <a:pt x="10329" y="95598"/>
                        <a:pt x="6652" y="95598"/>
                      </a:cubicBezTo>
                      <a:close/>
                    </a:path>
                  </a:pathLst>
                </a:custGeom>
                <a:grpFill/>
                <a:ln w="249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</a:endParaRPr>
                </a:p>
              </p:txBody>
            </p:sp>
          </p:grpSp>
          <p:sp>
            <p:nvSpPr>
              <p:cNvPr id="62" name="Freihandform: Form 85">
                <a:extLst>
                  <a:ext uri="{FF2B5EF4-FFF2-40B4-BE49-F238E27FC236}">
                    <a16:creationId xmlns:a16="http://schemas.microsoft.com/office/drawing/2014/main" id="{C5691059-0502-FA66-2364-882C451062A9}"/>
                  </a:ext>
                </a:extLst>
              </p:cNvPr>
              <p:cNvSpPr/>
              <p:nvPr/>
            </p:nvSpPr>
            <p:spPr>
              <a:xfrm>
                <a:off x="7886187" y="2603828"/>
                <a:ext cx="399981" cy="134497"/>
              </a:xfrm>
              <a:custGeom>
                <a:avLst/>
                <a:gdLst>
                  <a:gd name="connsiteX0" fmla="*/ 6637 w 399981"/>
                  <a:gd name="connsiteY0" fmla="*/ 134498 h 134497"/>
                  <a:gd name="connsiteX1" fmla="*/ 35 w 399981"/>
                  <a:gd name="connsiteY1" fmla="*/ 128545 h 134497"/>
                  <a:gd name="connsiteX2" fmla="*/ 5937 w 399981"/>
                  <a:gd name="connsiteY2" fmla="*/ 121243 h 134497"/>
                  <a:gd name="connsiteX3" fmla="*/ 40449 w 399981"/>
                  <a:gd name="connsiteY3" fmla="*/ 92783 h 134497"/>
                  <a:gd name="connsiteX4" fmla="*/ 47152 w 399981"/>
                  <a:gd name="connsiteY4" fmla="*/ 84055 h 134497"/>
                  <a:gd name="connsiteX5" fmla="*/ 85366 w 399981"/>
                  <a:gd name="connsiteY5" fmla="*/ 78328 h 134497"/>
                  <a:gd name="connsiteX6" fmla="*/ 88467 w 399981"/>
                  <a:gd name="connsiteY6" fmla="*/ 79903 h 134497"/>
                  <a:gd name="connsiteX7" fmla="*/ 88617 w 399981"/>
                  <a:gd name="connsiteY7" fmla="*/ 79903 h 134497"/>
                  <a:gd name="connsiteX8" fmla="*/ 130056 w 399981"/>
                  <a:gd name="connsiteY8" fmla="*/ 17456 h 134497"/>
                  <a:gd name="connsiteX9" fmla="*/ 130632 w 399981"/>
                  <a:gd name="connsiteY9" fmla="*/ 16256 h 134497"/>
                  <a:gd name="connsiteX10" fmla="*/ 151989 w 399981"/>
                  <a:gd name="connsiteY10" fmla="*/ 0 h 134497"/>
                  <a:gd name="connsiteX11" fmla="*/ 152139 w 399981"/>
                  <a:gd name="connsiteY11" fmla="*/ 0 h 134497"/>
                  <a:gd name="connsiteX12" fmla="*/ 173547 w 399981"/>
                  <a:gd name="connsiteY12" fmla="*/ 16706 h 134497"/>
                  <a:gd name="connsiteX13" fmla="*/ 182700 w 399981"/>
                  <a:gd name="connsiteY13" fmla="*/ 35312 h 134497"/>
                  <a:gd name="connsiteX14" fmla="*/ 210760 w 399981"/>
                  <a:gd name="connsiteY14" fmla="*/ 86556 h 134497"/>
                  <a:gd name="connsiteX15" fmla="*/ 217913 w 399981"/>
                  <a:gd name="connsiteY15" fmla="*/ 90807 h 134497"/>
                  <a:gd name="connsiteX16" fmla="*/ 233718 w 399981"/>
                  <a:gd name="connsiteY16" fmla="*/ 76652 h 134497"/>
                  <a:gd name="connsiteX17" fmla="*/ 261303 w 399981"/>
                  <a:gd name="connsiteY17" fmla="*/ 51918 h 134497"/>
                  <a:gd name="connsiteX18" fmla="*/ 292089 w 399981"/>
                  <a:gd name="connsiteY18" fmla="*/ 84880 h 134497"/>
                  <a:gd name="connsiteX19" fmla="*/ 303218 w 399981"/>
                  <a:gd name="connsiteY19" fmla="*/ 96409 h 134497"/>
                  <a:gd name="connsiteX20" fmla="*/ 310870 w 399981"/>
                  <a:gd name="connsiteY20" fmla="*/ 96684 h 134497"/>
                  <a:gd name="connsiteX21" fmla="*/ 350384 w 399981"/>
                  <a:gd name="connsiteY21" fmla="*/ 80804 h 134497"/>
                  <a:gd name="connsiteX22" fmla="*/ 378194 w 399981"/>
                  <a:gd name="connsiteY22" fmla="*/ 105637 h 134497"/>
                  <a:gd name="connsiteX23" fmla="*/ 387497 w 399981"/>
                  <a:gd name="connsiteY23" fmla="*/ 117592 h 134497"/>
                  <a:gd name="connsiteX24" fmla="*/ 394975 w 399981"/>
                  <a:gd name="connsiteY24" fmla="*/ 120143 h 134497"/>
                  <a:gd name="connsiteX25" fmla="*/ 399777 w 399981"/>
                  <a:gd name="connsiteY25" fmla="*/ 128220 h 134497"/>
                  <a:gd name="connsiteX26" fmla="*/ 391699 w 399981"/>
                  <a:gd name="connsiteY26" fmla="*/ 133022 h 134497"/>
                  <a:gd name="connsiteX27" fmla="*/ 381770 w 399981"/>
                  <a:gd name="connsiteY27" fmla="*/ 129571 h 134497"/>
                  <a:gd name="connsiteX28" fmla="*/ 366865 w 399981"/>
                  <a:gd name="connsiteY28" fmla="*/ 112565 h 134497"/>
                  <a:gd name="connsiteX29" fmla="*/ 348184 w 399981"/>
                  <a:gd name="connsiteY29" fmla="*/ 93908 h 134497"/>
                  <a:gd name="connsiteX30" fmla="*/ 319323 w 399981"/>
                  <a:gd name="connsiteY30" fmla="*/ 106913 h 134497"/>
                  <a:gd name="connsiteX31" fmla="*/ 302092 w 399981"/>
                  <a:gd name="connsiteY31" fmla="*/ 109864 h 134497"/>
                  <a:gd name="connsiteX32" fmla="*/ 279734 w 399981"/>
                  <a:gd name="connsiteY32" fmla="*/ 89707 h 134497"/>
                  <a:gd name="connsiteX33" fmla="*/ 261128 w 399981"/>
                  <a:gd name="connsiteY33" fmla="*/ 65198 h 134497"/>
                  <a:gd name="connsiteX34" fmla="*/ 245322 w 399981"/>
                  <a:gd name="connsiteY34" fmla="*/ 83129 h 134497"/>
                  <a:gd name="connsiteX35" fmla="*/ 219013 w 399981"/>
                  <a:gd name="connsiteY35" fmla="*/ 104062 h 134497"/>
                  <a:gd name="connsiteX36" fmla="*/ 200881 w 399981"/>
                  <a:gd name="connsiteY36" fmla="*/ 95434 h 134497"/>
                  <a:gd name="connsiteX37" fmla="*/ 170721 w 399981"/>
                  <a:gd name="connsiteY37" fmla="*/ 41040 h 134497"/>
                  <a:gd name="connsiteX38" fmla="*/ 161717 w 399981"/>
                  <a:gd name="connsiteY38" fmla="*/ 22683 h 134497"/>
                  <a:gd name="connsiteX39" fmla="*/ 152064 w 399981"/>
                  <a:gd name="connsiteY39" fmla="*/ 13280 h 134497"/>
                  <a:gd name="connsiteX40" fmla="*/ 142586 w 399981"/>
                  <a:gd name="connsiteY40" fmla="*/ 22108 h 134497"/>
                  <a:gd name="connsiteX41" fmla="*/ 142111 w 399981"/>
                  <a:gd name="connsiteY41" fmla="*/ 23133 h 134497"/>
                  <a:gd name="connsiteX42" fmla="*/ 83715 w 399981"/>
                  <a:gd name="connsiteY42" fmla="*/ 92283 h 134497"/>
                  <a:gd name="connsiteX43" fmla="*/ 79088 w 399981"/>
                  <a:gd name="connsiteY43" fmla="*/ 90007 h 134497"/>
                  <a:gd name="connsiteX44" fmla="*/ 56680 w 399981"/>
                  <a:gd name="connsiteY44" fmla="*/ 93333 h 134497"/>
                  <a:gd name="connsiteX45" fmla="*/ 51428 w 399981"/>
                  <a:gd name="connsiteY45" fmla="*/ 100310 h 134497"/>
                  <a:gd name="connsiteX46" fmla="*/ 7363 w 399981"/>
                  <a:gd name="connsiteY46" fmla="*/ 134423 h 134497"/>
                  <a:gd name="connsiteX47" fmla="*/ 6637 w 399981"/>
                  <a:gd name="connsiteY47" fmla="*/ 134498 h 1344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</a:cxnLst>
                <a:rect l="l" t="t" r="r" b="b"/>
                <a:pathLst>
                  <a:path w="399981" h="134497">
                    <a:moveTo>
                      <a:pt x="6637" y="134498"/>
                    </a:moveTo>
                    <a:cubicBezTo>
                      <a:pt x="3286" y="134498"/>
                      <a:pt x="385" y="131947"/>
                      <a:pt x="35" y="128545"/>
                    </a:cubicBezTo>
                    <a:cubicBezTo>
                      <a:pt x="-340" y="124894"/>
                      <a:pt x="2311" y="121618"/>
                      <a:pt x="5937" y="121243"/>
                    </a:cubicBezTo>
                    <a:cubicBezTo>
                      <a:pt x="21918" y="119567"/>
                      <a:pt x="33072" y="103462"/>
                      <a:pt x="40449" y="92783"/>
                    </a:cubicBezTo>
                    <a:cubicBezTo>
                      <a:pt x="43076" y="89006"/>
                      <a:pt x="45126" y="86005"/>
                      <a:pt x="47152" y="84055"/>
                    </a:cubicBezTo>
                    <a:cubicBezTo>
                      <a:pt x="63633" y="66599"/>
                      <a:pt x="78313" y="74501"/>
                      <a:pt x="85366" y="78328"/>
                    </a:cubicBezTo>
                    <a:cubicBezTo>
                      <a:pt x="86491" y="78928"/>
                      <a:pt x="87516" y="79503"/>
                      <a:pt x="88467" y="79903"/>
                    </a:cubicBezTo>
                    <a:cubicBezTo>
                      <a:pt x="88517" y="79903"/>
                      <a:pt x="88567" y="79903"/>
                      <a:pt x="88617" y="79903"/>
                    </a:cubicBezTo>
                    <a:cubicBezTo>
                      <a:pt x="92368" y="79903"/>
                      <a:pt x="107473" y="65123"/>
                      <a:pt x="130056" y="17456"/>
                    </a:cubicBezTo>
                    <a:lnTo>
                      <a:pt x="130632" y="16256"/>
                    </a:lnTo>
                    <a:cubicBezTo>
                      <a:pt x="135758" y="5902"/>
                      <a:pt x="143536" y="0"/>
                      <a:pt x="151989" y="0"/>
                    </a:cubicBezTo>
                    <a:cubicBezTo>
                      <a:pt x="152039" y="0"/>
                      <a:pt x="152089" y="0"/>
                      <a:pt x="152139" y="0"/>
                    </a:cubicBezTo>
                    <a:cubicBezTo>
                      <a:pt x="160742" y="75"/>
                      <a:pt x="168545" y="6177"/>
                      <a:pt x="173547" y="16706"/>
                    </a:cubicBezTo>
                    <a:cubicBezTo>
                      <a:pt x="175747" y="20782"/>
                      <a:pt x="178974" y="27510"/>
                      <a:pt x="182700" y="35312"/>
                    </a:cubicBezTo>
                    <a:cubicBezTo>
                      <a:pt x="191078" y="52844"/>
                      <a:pt x="203732" y="79328"/>
                      <a:pt x="210760" y="86556"/>
                    </a:cubicBezTo>
                    <a:cubicBezTo>
                      <a:pt x="214561" y="91082"/>
                      <a:pt x="217087" y="90882"/>
                      <a:pt x="217913" y="90807"/>
                    </a:cubicBezTo>
                    <a:cubicBezTo>
                      <a:pt x="223664" y="90332"/>
                      <a:pt x="230667" y="81879"/>
                      <a:pt x="233718" y="76652"/>
                    </a:cubicBezTo>
                    <a:cubicBezTo>
                      <a:pt x="240170" y="64548"/>
                      <a:pt x="248623" y="51918"/>
                      <a:pt x="261303" y="51918"/>
                    </a:cubicBezTo>
                    <a:cubicBezTo>
                      <a:pt x="279459" y="52419"/>
                      <a:pt x="291989" y="84555"/>
                      <a:pt x="292089" y="84880"/>
                    </a:cubicBezTo>
                    <a:cubicBezTo>
                      <a:pt x="295165" y="92258"/>
                      <a:pt x="299866" y="95234"/>
                      <a:pt x="303218" y="96409"/>
                    </a:cubicBezTo>
                    <a:cubicBezTo>
                      <a:pt x="307069" y="97735"/>
                      <a:pt x="310170" y="97059"/>
                      <a:pt x="310870" y="96684"/>
                    </a:cubicBezTo>
                    <a:cubicBezTo>
                      <a:pt x="326176" y="84105"/>
                      <a:pt x="339130" y="78928"/>
                      <a:pt x="350384" y="80804"/>
                    </a:cubicBezTo>
                    <a:cubicBezTo>
                      <a:pt x="364439" y="83179"/>
                      <a:pt x="372067" y="95609"/>
                      <a:pt x="378194" y="105637"/>
                    </a:cubicBezTo>
                    <a:cubicBezTo>
                      <a:pt x="381245" y="110614"/>
                      <a:pt x="384722" y="116266"/>
                      <a:pt x="387497" y="117592"/>
                    </a:cubicBezTo>
                    <a:cubicBezTo>
                      <a:pt x="389923" y="118742"/>
                      <a:pt x="393725" y="119842"/>
                      <a:pt x="394975" y="120143"/>
                    </a:cubicBezTo>
                    <a:cubicBezTo>
                      <a:pt x="398526" y="121043"/>
                      <a:pt x="400677" y="124669"/>
                      <a:pt x="399777" y="128220"/>
                    </a:cubicBezTo>
                    <a:cubicBezTo>
                      <a:pt x="398877" y="131772"/>
                      <a:pt x="395250" y="133922"/>
                      <a:pt x="391699" y="133022"/>
                    </a:cubicBezTo>
                    <a:cubicBezTo>
                      <a:pt x="391099" y="132872"/>
                      <a:pt x="385822" y="131497"/>
                      <a:pt x="381770" y="129571"/>
                    </a:cubicBezTo>
                    <a:cubicBezTo>
                      <a:pt x="375443" y="126545"/>
                      <a:pt x="371292" y="119767"/>
                      <a:pt x="366865" y="112565"/>
                    </a:cubicBezTo>
                    <a:cubicBezTo>
                      <a:pt x="361663" y="104062"/>
                      <a:pt x="356261" y="95259"/>
                      <a:pt x="348184" y="93908"/>
                    </a:cubicBezTo>
                    <a:cubicBezTo>
                      <a:pt x="341006" y="92683"/>
                      <a:pt x="331303" y="97059"/>
                      <a:pt x="319323" y="106913"/>
                    </a:cubicBezTo>
                    <a:cubicBezTo>
                      <a:pt x="315897" y="110114"/>
                      <a:pt x="309020" y="111364"/>
                      <a:pt x="302092" y="109864"/>
                    </a:cubicBezTo>
                    <a:cubicBezTo>
                      <a:pt x="296340" y="108613"/>
                      <a:pt x="285811" y="104337"/>
                      <a:pt x="279734" y="89707"/>
                    </a:cubicBezTo>
                    <a:cubicBezTo>
                      <a:pt x="276183" y="79978"/>
                      <a:pt x="266530" y="65373"/>
                      <a:pt x="261128" y="65198"/>
                    </a:cubicBezTo>
                    <a:cubicBezTo>
                      <a:pt x="257001" y="65198"/>
                      <a:pt x="251774" y="71075"/>
                      <a:pt x="245322" y="83129"/>
                    </a:cubicBezTo>
                    <a:cubicBezTo>
                      <a:pt x="243296" y="86606"/>
                      <a:pt x="233068" y="102886"/>
                      <a:pt x="219013" y="104062"/>
                    </a:cubicBezTo>
                    <a:cubicBezTo>
                      <a:pt x="214336" y="104437"/>
                      <a:pt x="207409" y="103262"/>
                      <a:pt x="200881" y="95434"/>
                    </a:cubicBezTo>
                    <a:cubicBezTo>
                      <a:pt x="192678" y="87006"/>
                      <a:pt x="180499" y="61497"/>
                      <a:pt x="170721" y="41040"/>
                    </a:cubicBezTo>
                    <a:cubicBezTo>
                      <a:pt x="167069" y="33387"/>
                      <a:pt x="163893" y="26784"/>
                      <a:pt x="161717" y="22683"/>
                    </a:cubicBezTo>
                    <a:cubicBezTo>
                      <a:pt x="158866" y="16706"/>
                      <a:pt x="155315" y="13305"/>
                      <a:pt x="152064" y="13280"/>
                    </a:cubicBezTo>
                    <a:cubicBezTo>
                      <a:pt x="149038" y="13130"/>
                      <a:pt x="145337" y="16556"/>
                      <a:pt x="142586" y="22108"/>
                    </a:cubicBezTo>
                    <a:lnTo>
                      <a:pt x="142111" y="23133"/>
                    </a:lnTo>
                    <a:cubicBezTo>
                      <a:pt x="105623" y="100160"/>
                      <a:pt x="89717" y="94433"/>
                      <a:pt x="83715" y="92283"/>
                    </a:cubicBezTo>
                    <a:cubicBezTo>
                      <a:pt x="82114" y="91632"/>
                      <a:pt x="80664" y="90857"/>
                      <a:pt x="79088" y="90007"/>
                    </a:cubicBezTo>
                    <a:cubicBezTo>
                      <a:pt x="72236" y="86306"/>
                      <a:pt x="66334" y="83129"/>
                      <a:pt x="56680" y="93333"/>
                    </a:cubicBezTo>
                    <a:cubicBezTo>
                      <a:pt x="55405" y="94608"/>
                      <a:pt x="53479" y="97384"/>
                      <a:pt x="51428" y="100310"/>
                    </a:cubicBezTo>
                    <a:cubicBezTo>
                      <a:pt x="43200" y="112215"/>
                      <a:pt x="29421" y="132122"/>
                      <a:pt x="7363" y="134423"/>
                    </a:cubicBezTo>
                    <a:cubicBezTo>
                      <a:pt x="7088" y="134473"/>
                      <a:pt x="6863" y="134498"/>
                      <a:pt x="6637" y="134498"/>
                    </a:cubicBezTo>
                    <a:close/>
                  </a:path>
                </a:pathLst>
              </a:custGeom>
              <a:grpFill/>
              <a:ln w="249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1805515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5E06970-45C9-9311-A12F-34BE575EE6D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708895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5" imgH="426" progId="TCLayout.ActiveDocument.1">
                  <p:embed/>
                </p:oleObj>
              </mc:Choice>
              <mc:Fallback>
                <p:oleObj name="think-cell Folie" r:id="rId4" imgW="425" imgH="42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5E06970-45C9-9311-A12F-34BE575EE6D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>
            <a:extLst>
              <a:ext uri="{FF2B5EF4-FFF2-40B4-BE49-F238E27FC236}">
                <a16:creationId xmlns:a16="http://schemas.microsoft.com/office/drawing/2014/main" id="{4746A4AD-870B-439D-6B39-5705AA3CBA8F}"/>
              </a:ext>
            </a:extLst>
          </p:cNvPr>
          <p:cNvSpPr/>
          <p:nvPr/>
        </p:nvSpPr>
        <p:spPr>
          <a:xfrm>
            <a:off x="0" y="0"/>
            <a:ext cx="4572000" cy="5148000"/>
          </a:xfrm>
          <a:prstGeom prst="rect">
            <a:avLst/>
          </a:pr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endParaRPr lang="en-GB" sz="1400" dirty="0">
              <a:solidFill>
                <a:schemeClr val="bg1"/>
              </a:solidFill>
            </a:endParaRPr>
          </a:p>
        </p:txBody>
      </p:sp>
      <p:pic>
        <p:nvPicPr>
          <p:cNvPr id="13" name="Picture Placeholder 12">
            <a:extLst>
              <a:ext uri="{FF2B5EF4-FFF2-40B4-BE49-F238E27FC236}">
                <a16:creationId xmlns:a16="http://schemas.microsoft.com/office/drawing/2014/main" id="{A0F660F8-86DC-B0C2-4A11-D8F4A3813731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 rotWithShape="1">
          <a:blip r:embed="rId6"/>
          <a:srcRect l="20398" r="20398"/>
          <a:stretch/>
        </p:blipFill>
        <p:spPr>
          <a:prstGeom prst="rect">
            <a:avLst/>
          </a:prstGeom>
        </p:spPr>
      </p:pic>
      <p:sp>
        <p:nvSpPr>
          <p:cNvPr id="14" name="Title 13">
            <a:extLst>
              <a:ext uri="{FF2B5EF4-FFF2-40B4-BE49-F238E27FC236}">
                <a16:creationId xmlns:a16="http://schemas.microsoft.com/office/drawing/2014/main" id="{D3AB1AB9-5A15-8DA4-2FE9-B4B81FC6658A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en-GB" dirty="0"/>
              <a:t>Thank you for </a:t>
            </a:r>
            <a:br>
              <a:rPr lang="en-GB" dirty="0"/>
            </a:br>
            <a:r>
              <a:rPr lang="en-GB" dirty="0"/>
              <a:t>your interest!</a:t>
            </a:r>
            <a:endParaRPr lang="en-GB" dirty="0">
              <a:solidFill>
                <a:schemeClr val="accent1">
                  <a:lumMod val="40000"/>
                  <a:lumOff val="60000"/>
                </a:schemeClr>
              </a:solidFill>
            </a:endParaRPr>
          </a:p>
        </p:txBody>
      </p:sp>
      <p:sp>
        <p:nvSpPr>
          <p:cNvPr id="2" name="Subtitle 1">
            <a:extLst>
              <a:ext uri="{FF2B5EF4-FFF2-40B4-BE49-F238E27FC236}">
                <a16:creationId xmlns:a16="http://schemas.microsoft.com/office/drawing/2014/main" id="{54FE4860-8B44-FA1E-2467-3050677A7873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B867B34D-56E8-6FC0-3094-E851C093291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GB" dirty="0"/>
              <a:t>Image: Sasi Ponchaisang / EyeEm / Getty Images</a:t>
            </a:r>
          </a:p>
        </p:txBody>
      </p:sp>
      <p:pic>
        <p:nvPicPr>
          <p:cNvPr id="12" name="MR Logo white 1">
            <a:extLst>
              <a:ext uri="{FF2B5EF4-FFF2-40B4-BE49-F238E27FC236}">
                <a16:creationId xmlns:a16="http://schemas.microsoft.com/office/drawing/2014/main" id="{627744CB-E4EB-D610-474F-98A6DA834758}"/>
              </a:ext>
            </a:extLst>
          </p:cNvPr>
          <p:cNvPicPr/>
          <p:nvPr/>
        </p:nvPicPr>
        <p:blipFill>
          <a:blip r:embed="rId7"/>
          <a:stretch>
            <a:fillRect/>
          </a:stretch>
        </p:blipFill>
        <p:spPr>
          <a:xfrm>
            <a:off x="2718000" y="4446000"/>
            <a:ext cx="1512000" cy="349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75259492"/>
      </p:ext>
    </p:extLst>
  </p:cSld>
  <p:clrMapOvr>
    <a:masterClrMapping/>
  </p:clrMapOvr>
  <p:transition spd="slow">
    <p:fade thruBlk="1"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1A6A978A-E65B-DC67-6740-5ABB58A2C05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984279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5" imgH="426" progId="TCLayout.ActiveDocument.1">
                  <p:embed/>
                </p:oleObj>
              </mc:Choice>
              <mc:Fallback>
                <p:oleObj name="think-cell Folie" r:id="rId4" imgW="425" imgH="42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1A6A978A-E65B-DC67-6740-5ABB58A2C05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FDFE70A-A851-830B-B70B-96D334E362F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49344FF-55B1-48A3-A989-D5C140E50241}" type="datetime4">
              <a:rPr lang="en-GB" noProof="0" smtClean="0"/>
              <a:pPr/>
              <a:t>14 March 2024</a:t>
            </a:fld>
            <a:endParaRPr lang="en-GB" noProof="0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22DF4CD-80EB-9199-B899-9FA2E996762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94909C6-CC71-4962-A18E-AF0515723D95}" type="slidenum">
              <a:rPr lang="en-GB" noProof="0" smtClean="0"/>
              <a:pPr/>
              <a:t>2</a:t>
            </a:fld>
            <a:endParaRPr lang="en-GB" noProof="0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6BBEB53-973A-69D6-041B-57D44C4055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GB" noProof="0" dirty="0"/>
              <a:t>Munich Re Group – Company Presentation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108A6CCA-BB9F-76AC-65A3-74B18AD4E3B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>
                <a:solidFill>
                  <a:schemeClr val="bg2"/>
                </a:solidFill>
              </a:rPr>
              <a:t>Munich Re Group </a:t>
            </a:r>
            <a:br>
              <a:rPr lang="en-GB" dirty="0"/>
            </a:br>
            <a:r>
              <a:rPr lang="en-GB" sz="1400" dirty="0">
                <a:solidFill>
                  <a:schemeClr val="tx2"/>
                </a:solidFill>
              </a:rPr>
              <a:t>Creating value through its diversified business model and innovative strength</a:t>
            </a:r>
            <a:endParaRPr lang="en-GB" sz="1600" dirty="0">
              <a:solidFill>
                <a:schemeClr val="tx2"/>
              </a:solidFill>
            </a:endParaRPr>
          </a:p>
        </p:txBody>
      </p:sp>
      <p:sp>
        <p:nvSpPr>
          <p:cNvPr id="508" name="Rechteck 18">
            <a:extLst>
              <a:ext uri="{FF2B5EF4-FFF2-40B4-BE49-F238E27FC236}">
                <a16:creationId xmlns:a16="http://schemas.microsoft.com/office/drawing/2014/main" id="{EE38FFDD-957F-8749-0116-848439FFF3DB}"/>
              </a:ext>
            </a:extLst>
          </p:cNvPr>
          <p:cNvSpPr/>
          <p:nvPr/>
        </p:nvSpPr>
        <p:spPr>
          <a:xfrm>
            <a:off x="0" y="3038400"/>
            <a:ext cx="2986414" cy="1821600"/>
          </a:xfrm>
          <a:prstGeom prst="rect">
            <a:avLst/>
          </a:prstGeom>
          <a:solidFill>
            <a:schemeClr val="bg2">
              <a:alpha val="7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52000" tIns="108000" rIns="108000" bIns="108000" rtlCol="0" anchor="t" anchorCtr="0"/>
          <a:lstStyle>
            <a:defPPr>
              <a:defRPr lang="x-none"/>
            </a:defPPr>
            <a:lvl1pPr marL="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6858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chemeClr val="bg2">
                    <a:lumMod val="50000"/>
                  </a:schemeClr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t>… plays a key role in addressing and insuring </a:t>
            </a: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t>climate</a:t>
            </a: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schemeClr val="bg2">
                    <a:lumMod val="50000"/>
                  </a:schemeClr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t> </a:t>
            </a: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t>risks</a:t>
            </a: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chemeClr val="bg2">
                    <a:lumMod val="50000"/>
                  </a:schemeClr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t> to make the world more resilient. </a:t>
            </a:r>
          </a:p>
        </p:txBody>
      </p:sp>
      <p:sp>
        <p:nvSpPr>
          <p:cNvPr id="509" name="Rechteck 18">
            <a:extLst>
              <a:ext uri="{FF2B5EF4-FFF2-40B4-BE49-F238E27FC236}">
                <a16:creationId xmlns:a16="http://schemas.microsoft.com/office/drawing/2014/main" id="{7AD814A7-5639-1FA6-0CF3-A03BD71CC0DA}"/>
              </a:ext>
            </a:extLst>
          </p:cNvPr>
          <p:cNvSpPr/>
          <p:nvPr/>
        </p:nvSpPr>
        <p:spPr>
          <a:xfrm>
            <a:off x="3078793" y="3038400"/>
            <a:ext cx="2986414" cy="1821600"/>
          </a:xfrm>
          <a:prstGeom prst="rect">
            <a:avLst/>
          </a:prstGeom>
          <a:solidFill>
            <a:schemeClr val="bg2">
              <a:alpha val="7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t" anchorCtr="0"/>
          <a:lstStyle>
            <a:defPPr>
              <a:defRPr lang="x-none"/>
            </a:defPPr>
            <a:lvl1pPr marL="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6858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chemeClr val="bg2">
                    <a:lumMod val="50000"/>
                  </a:schemeClr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t>… provides coverage for extraordinary risks such as </a:t>
            </a: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t>rocket</a:t>
            </a: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schemeClr val="bg2">
                    <a:lumMod val="50000"/>
                  </a:schemeClr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t> </a:t>
            </a: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t>launches</a:t>
            </a: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chemeClr val="bg2">
                    <a:lumMod val="50000"/>
                  </a:schemeClr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t>, </a:t>
            </a: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t>renewable</a:t>
            </a: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schemeClr val="bg2">
                    <a:lumMod val="50000"/>
                  </a:schemeClr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t> </a:t>
            </a: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t>energies</a:t>
            </a: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chemeClr val="bg2">
                    <a:lumMod val="50000"/>
                  </a:schemeClr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t> or </a:t>
            </a: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t>cyberattacks</a:t>
            </a: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chemeClr val="bg2">
                    <a:lumMod val="50000"/>
                  </a:schemeClr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t>.</a:t>
            </a:r>
            <a:endParaRPr kumimoji="0" lang="en-GB" sz="1200" b="1" i="0" u="none" strike="noStrike" kern="1200" cap="none" spc="0" normalizeH="0" baseline="0" noProof="0" dirty="0">
              <a:ln>
                <a:noFill/>
              </a:ln>
              <a:solidFill>
                <a:schemeClr val="bg2">
                  <a:lumMod val="50000"/>
                </a:schemeClr>
              </a:solidFill>
              <a:effectLst/>
              <a:uLnTx/>
              <a:uFillTx/>
              <a:latin typeface="Arial"/>
              <a:ea typeface="Arial Unicode MS"/>
              <a:cs typeface="Arial"/>
            </a:endParaRPr>
          </a:p>
        </p:txBody>
      </p:sp>
      <p:sp>
        <p:nvSpPr>
          <p:cNvPr id="510" name="Freeform: Shape 509">
            <a:extLst>
              <a:ext uri="{FF2B5EF4-FFF2-40B4-BE49-F238E27FC236}">
                <a16:creationId xmlns:a16="http://schemas.microsoft.com/office/drawing/2014/main" id="{D8740D4B-CF28-4210-C622-0333B016E9BB}"/>
              </a:ext>
            </a:extLst>
          </p:cNvPr>
          <p:cNvSpPr/>
          <p:nvPr/>
        </p:nvSpPr>
        <p:spPr>
          <a:xfrm>
            <a:off x="0" y="4112568"/>
            <a:ext cx="2986415" cy="747432"/>
          </a:xfrm>
          <a:custGeom>
            <a:avLst/>
            <a:gdLst>
              <a:gd name="connsiteX0" fmla="*/ 0 w 2986415"/>
              <a:gd name="connsiteY0" fmla="*/ 0 h 747432"/>
              <a:gd name="connsiteX1" fmla="*/ 1375679 w 2986415"/>
              <a:gd name="connsiteY1" fmla="*/ 0 h 747432"/>
              <a:gd name="connsiteX2" fmla="*/ 1493208 w 2986415"/>
              <a:gd name="connsiteY2" fmla="*/ 98931 h 747432"/>
              <a:gd name="connsiteX3" fmla="*/ 1610737 w 2986415"/>
              <a:gd name="connsiteY3" fmla="*/ 0 h 747432"/>
              <a:gd name="connsiteX4" fmla="*/ 2986415 w 2986415"/>
              <a:gd name="connsiteY4" fmla="*/ 0 h 747432"/>
              <a:gd name="connsiteX5" fmla="*/ 2986415 w 2986415"/>
              <a:gd name="connsiteY5" fmla="*/ 747432 h 747432"/>
              <a:gd name="connsiteX6" fmla="*/ 0 w 2986415"/>
              <a:gd name="connsiteY6" fmla="*/ 747432 h 7474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986415" h="747432">
                <a:moveTo>
                  <a:pt x="0" y="0"/>
                </a:moveTo>
                <a:lnTo>
                  <a:pt x="1375679" y="0"/>
                </a:lnTo>
                <a:lnTo>
                  <a:pt x="1493208" y="98931"/>
                </a:lnTo>
                <a:lnTo>
                  <a:pt x="1610737" y="0"/>
                </a:lnTo>
                <a:lnTo>
                  <a:pt x="2986415" y="0"/>
                </a:lnTo>
                <a:lnTo>
                  <a:pt x="2986415" y="747432"/>
                </a:lnTo>
                <a:lnTo>
                  <a:pt x="0" y="747432"/>
                </a:lnTo>
                <a:close/>
              </a:path>
            </a:pathLst>
          </a:custGeom>
          <a:solidFill>
            <a:schemeClr val="bg2">
              <a:alpha val="7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 anchorCtr="0">
            <a:noAutofit/>
          </a:bodyPr>
          <a:lstStyle/>
          <a:p>
            <a:pPr algn="ctr"/>
            <a:endParaRPr lang="en-GB" sz="1400" dirty="0">
              <a:solidFill>
                <a:schemeClr val="bg1"/>
              </a:solidFill>
            </a:endParaRPr>
          </a:p>
        </p:txBody>
      </p:sp>
      <p:sp>
        <p:nvSpPr>
          <p:cNvPr id="511" name="Freeform: Shape 510">
            <a:extLst>
              <a:ext uri="{FF2B5EF4-FFF2-40B4-BE49-F238E27FC236}">
                <a16:creationId xmlns:a16="http://schemas.microsoft.com/office/drawing/2014/main" id="{A03E58F7-587F-81F6-ED93-83CB0BDF0CA3}"/>
              </a:ext>
            </a:extLst>
          </p:cNvPr>
          <p:cNvSpPr/>
          <p:nvPr/>
        </p:nvSpPr>
        <p:spPr>
          <a:xfrm>
            <a:off x="1" y="1116000"/>
            <a:ext cx="2986414" cy="1821600"/>
          </a:xfrm>
          <a:custGeom>
            <a:avLst/>
            <a:gdLst>
              <a:gd name="connsiteX0" fmla="*/ 0 w 2986414"/>
              <a:gd name="connsiteY0" fmla="*/ 0 h 1821600"/>
              <a:gd name="connsiteX1" fmla="*/ 2986414 w 2986414"/>
              <a:gd name="connsiteY1" fmla="*/ 0 h 1821600"/>
              <a:gd name="connsiteX2" fmla="*/ 2986414 w 2986414"/>
              <a:gd name="connsiteY2" fmla="*/ 1821600 h 1821600"/>
              <a:gd name="connsiteX3" fmla="*/ 0 w 2986414"/>
              <a:gd name="connsiteY3" fmla="*/ 1821600 h 1821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986414" h="1821600">
                <a:moveTo>
                  <a:pt x="0" y="0"/>
                </a:moveTo>
                <a:lnTo>
                  <a:pt x="2986414" y="0"/>
                </a:lnTo>
                <a:lnTo>
                  <a:pt x="2986414" y="1821600"/>
                </a:lnTo>
                <a:lnTo>
                  <a:pt x="0" y="1821600"/>
                </a:lnTo>
                <a:close/>
              </a:path>
            </a:pathLst>
          </a:custGeom>
          <a:solidFill>
            <a:schemeClr val="bg2">
              <a:alpha val="7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52000" tIns="108000" rIns="108000" bIns="108000" rtlCol="0" anchor="t" anchorCtr="0">
            <a:noAutofit/>
          </a:bodyPr>
          <a:lstStyle>
            <a:defPPr>
              <a:defRPr lang="x-none"/>
            </a:defPPr>
            <a:lvl1pPr marL="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6858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chemeClr val="bg2">
                    <a:lumMod val="50000"/>
                  </a:schemeClr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t>Munich Re Group is one of the </a:t>
            </a:r>
            <a:b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chemeClr val="bg2">
                    <a:lumMod val="50000"/>
                  </a:schemeClr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</a:b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chemeClr val="bg2">
                    <a:lumMod val="50000"/>
                  </a:schemeClr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t>world’s leading risk carriers with </a:t>
            </a:r>
            <a:b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chemeClr val="bg2">
                    <a:lumMod val="50000"/>
                  </a:schemeClr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</a:b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chemeClr val="bg2">
                    <a:lumMod val="50000"/>
                  </a:schemeClr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t>more than </a:t>
            </a: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t>140 years </a:t>
            </a: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chemeClr val="bg2">
                    <a:lumMod val="50000"/>
                  </a:schemeClr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t>of unrivalled </a:t>
            </a:r>
            <a:b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chemeClr val="bg2">
                    <a:lumMod val="50000"/>
                  </a:schemeClr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</a:b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chemeClr val="bg2">
                    <a:lumMod val="50000"/>
                  </a:schemeClr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t>risk-related expertise.</a:t>
            </a:r>
          </a:p>
        </p:txBody>
      </p:sp>
      <p:sp>
        <p:nvSpPr>
          <p:cNvPr id="512" name="Rechteck 18">
            <a:extLst>
              <a:ext uri="{FF2B5EF4-FFF2-40B4-BE49-F238E27FC236}">
                <a16:creationId xmlns:a16="http://schemas.microsoft.com/office/drawing/2014/main" id="{C15AC5DA-E8B2-7579-5AAA-436C47DE0AE3}"/>
              </a:ext>
            </a:extLst>
          </p:cNvPr>
          <p:cNvSpPr/>
          <p:nvPr/>
        </p:nvSpPr>
        <p:spPr>
          <a:xfrm>
            <a:off x="6157586" y="3038400"/>
            <a:ext cx="2986414" cy="1821600"/>
          </a:xfrm>
          <a:prstGeom prst="rect">
            <a:avLst/>
          </a:prstGeom>
          <a:solidFill>
            <a:schemeClr val="bg2">
              <a:alpha val="7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306000" bIns="108000" rtlCol="0" anchor="t" anchorCtr="0"/>
          <a:lstStyle>
            <a:defPPr>
              <a:defRPr lang="x-none"/>
            </a:defPPr>
            <a:lvl1pPr marL="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6858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chemeClr val="bg2">
                    <a:lumMod val="50000"/>
                  </a:schemeClr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t>… drives the </a:t>
            </a: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t>digital</a:t>
            </a: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schemeClr val="bg2">
                    <a:lumMod val="50000"/>
                  </a:schemeClr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t> </a:t>
            </a: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t>transformation</a:t>
            </a: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chemeClr val="bg2">
                    <a:lumMod val="50000"/>
                  </a:schemeClr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t> of the insurance industry in order to push forward the boundaries </a:t>
            </a:r>
            <a:b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chemeClr val="bg2">
                    <a:lumMod val="50000"/>
                  </a:schemeClr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</a:b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chemeClr val="bg2">
                    <a:lumMod val="50000"/>
                  </a:schemeClr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t>of insurability.</a:t>
            </a:r>
          </a:p>
        </p:txBody>
      </p:sp>
      <p:sp>
        <p:nvSpPr>
          <p:cNvPr id="513" name="Rechteck 18">
            <a:extLst>
              <a:ext uri="{FF2B5EF4-FFF2-40B4-BE49-F238E27FC236}">
                <a16:creationId xmlns:a16="http://schemas.microsoft.com/office/drawing/2014/main" id="{A47F7259-93D5-86BA-97B6-A411300E09E0}"/>
              </a:ext>
            </a:extLst>
          </p:cNvPr>
          <p:cNvSpPr/>
          <p:nvPr/>
        </p:nvSpPr>
        <p:spPr>
          <a:xfrm>
            <a:off x="6157586" y="1116000"/>
            <a:ext cx="2986414" cy="1821600"/>
          </a:xfrm>
          <a:prstGeom prst="rect">
            <a:avLst/>
          </a:prstGeom>
          <a:solidFill>
            <a:schemeClr val="bg2">
              <a:alpha val="7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306000" bIns="108000" rtlCol="0" anchor="t" anchorCtr="0"/>
          <a:lstStyle>
            <a:defPPr>
              <a:defRPr lang="x-none"/>
            </a:defPPr>
            <a:lvl1pPr marL="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6858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chemeClr val="bg2">
                    <a:lumMod val="50000"/>
                  </a:schemeClr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t>… maintains with </a:t>
            </a: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t>42,812 employees</a:t>
            </a:r>
            <a:b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chemeClr val="bg2">
                    <a:lumMod val="50000"/>
                  </a:schemeClr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</a:b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chemeClr val="bg2">
                    <a:lumMod val="50000"/>
                  </a:schemeClr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t>a global presence in </a:t>
            </a: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t>50+ countries</a:t>
            </a: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chemeClr val="bg2">
                    <a:lumMod val="50000"/>
                  </a:schemeClr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t>. </a:t>
            </a:r>
          </a:p>
        </p:txBody>
      </p:sp>
      <p:sp>
        <p:nvSpPr>
          <p:cNvPr id="514" name="Rechteck 18">
            <a:extLst>
              <a:ext uri="{FF2B5EF4-FFF2-40B4-BE49-F238E27FC236}">
                <a16:creationId xmlns:a16="http://schemas.microsoft.com/office/drawing/2014/main" id="{424D5135-E384-DE08-82BC-2B6DA65DBC66}"/>
              </a:ext>
            </a:extLst>
          </p:cNvPr>
          <p:cNvSpPr/>
          <p:nvPr/>
        </p:nvSpPr>
        <p:spPr>
          <a:xfrm>
            <a:off x="3078793" y="1116000"/>
            <a:ext cx="2986414" cy="1821600"/>
          </a:xfrm>
          <a:prstGeom prst="rect">
            <a:avLst/>
          </a:prstGeom>
          <a:solidFill>
            <a:schemeClr val="bg2">
              <a:alpha val="7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t" anchorCtr="0"/>
          <a:lstStyle>
            <a:defPPr>
              <a:defRPr lang="x-none"/>
            </a:defPPr>
            <a:lvl1pPr marL="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6858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chemeClr val="bg2">
                    <a:lumMod val="50000"/>
                  </a:schemeClr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t>… covers the entire value chain </a:t>
            </a:r>
            <a:b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chemeClr val="bg2">
                    <a:lumMod val="50000"/>
                  </a:schemeClr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</a:b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chemeClr val="bg2">
                    <a:lumMod val="50000"/>
                  </a:schemeClr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t>of </a:t>
            </a: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t>reinsurance</a:t>
            </a: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t>, </a:t>
            </a: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t>primary insurance</a:t>
            </a: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t>, </a:t>
            </a: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t>insurance related services</a:t>
            </a: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schemeClr val="bg2">
                    <a:lumMod val="50000"/>
                  </a:schemeClr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t> </a:t>
            </a: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chemeClr val="bg2">
                    <a:lumMod val="50000"/>
                  </a:schemeClr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t>and</a:t>
            </a: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schemeClr val="bg2">
                    <a:lumMod val="50000"/>
                  </a:schemeClr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t> </a:t>
            </a: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t>capital market solutions</a:t>
            </a: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chemeClr val="bg2">
                    <a:lumMod val="50000"/>
                  </a:schemeClr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t>. </a:t>
            </a:r>
          </a:p>
        </p:txBody>
      </p:sp>
      <p:sp>
        <p:nvSpPr>
          <p:cNvPr id="515" name="Freeform: Shape 514">
            <a:extLst>
              <a:ext uri="{FF2B5EF4-FFF2-40B4-BE49-F238E27FC236}">
                <a16:creationId xmlns:a16="http://schemas.microsoft.com/office/drawing/2014/main" id="{9241E160-B82B-30EC-FDBF-4D862396999A}"/>
              </a:ext>
            </a:extLst>
          </p:cNvPr>
          <p:cNvSpPr/>
          <p:nvPr/>
        </p:nvSpPr>
        <p:spPr>
          <a:xfrm>
            <a:off x="0" y="2190168"/>
            <a:ext cx="2986415" cy="747432"/>
          </a:xfrm>
          <a:custGeom>
            <a:avLst/>
            <a:gdLst>
              <a:gd name="connsiteX0" fmla="*/ 0 w 2986415"/>
              <a:gd name="connsiteY0" fmla="*/ 0 h 747432"/>
              <a:gd name="connsiteX1" fmla="*/ 1375679 w 2986415"/>
              <a:gd name="connsiteY1" fmla="*/ 0 h 747432"/>
              <a:gd name="connsiteX2" fmla="*/ 1493208 w 2986415"/>
              <a:gd name="connsiteY2" fmla="*/ 98931 h 747432"/>
              <a:gd name="connsiteX3" fmla="*/ 1610737 w 2986415"/>
              <a:gd name="connsiteY3" fmla="*/ 0 h 747432"/>
              <a:gd name="connsiteX4" fmla="*/ 2986415 w 2986415"/>
              <a:gd name="connsiteY4" fmla="*/ 0 h 747432"/>
              <a:gd name="connsiteX5" fmla="*/ 2986415 w 2986415"/>
              <a:gd name="connsiteY5" fmla="*/ 747432 h 747432"/>
              <a:gd name="connsiteX6" fmla="*/ 0 w 2986415"/>
              <a:gd name="connsiteY6" fmla="*/ 747432 h 7474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986415" h="747432">
                <a:moveTo>
                  <a:pt x="0" y="0"/>
                </a:moveTo>
                <a:lnTo>
                  <a:pt x="1375679" y="0"/>
                </a:lnTo>
                <a:lnTo>
                  <a:pt x="1493208" y="98931"/>
                </a:lnTo>
                <a:lnTo>
                  <a:pt x="1610737" y="0"/>
                </a:lnTo>
                <a:lnTo>
                  <a:pt x="2986415" y="0"/>
                </a:lnTo>
                <a:lnTo>
                  <a:pt x="2986415" y="747432"/>
                </a:lnTo>
                <a:lnTo>
                  <a:pt x="0" y="747432"/>
                </a:lnTo>
                <a:close/>
              </a:path>
            </a:pathLst>
          </a:custGeom>
          <a:solidFill>
            <a:schemeClr val="bg2">
              <a:alpha val="7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 anchorCtr="0">
            <a:noAutofit/>
          </a:bodyPr>
          <a:lstStyle/>
          <a:p>
            <a:pPr algn="ctr"/>
            <a:endParaRPr lang="en-GB" sz="1400" dirty="0">
              <a:solidFill>
                <a:schemeClr val="bg1"/>
              </a:solidFill>
            </a:endParaRPr>
          </a:p>
        </p:txBody>
      </p:sp>
      <p:grpSp>
        <p:nvGrpSpPr>
          <p:cNvPr id="517" name="Graphic 24">
            <a:extLst>
              <a:ext uri="{FF2B5EF4-FFF2-40B4-BE49-F238E27FC236}">
                <a16:creationId xmlns:a16="http://schemas.microsoft.com/office/drawing/2014/main" id="{A277A419-3F97-25E4-496A-70D9818920B5}"/>
              </a:ext>
            </a:extLst>
          </p:cNvPr>
          <p:cNvGrpSpPr/>
          <p:nvPr/>
        </p:nvGrpSpPr>
        <p:grpSpPr>
          <a:xfrm>
            <a:off x="1422813" y="2433858"/>
            <a:ext cx="140800" cy="202575"/>
            <a:chOff x="2694763" y="1663503"/>
            <a:chExt cx="169722" cy="244187"/>
          </a:xfrm>
          <a:solidFill>
            <a:schemeClr val="bg2"/>
          </a:solidFill>
        </p:grpSpPr>
        <p:sp>
          <p:nvSpPr>
            <p:cNvPr id="544" name="Freeform: Shape 726">
              <a:extLst>
                <a:ext uri="{FF2B5EF4-FFF2-40B4-BE49-F238E27FC236}">
                  <a16:creationId xmlns:a16="http://schemas.microsoft.com/office/drawing/2014/main" id="{9CC68460-C1DD-BD41-4742-77A6E350705C}"/>
                </a:ext>
              </a:extLst>
            </p:cNvPr>
            <p:cNvSpPr/>
            <p:nvPr/>
          </p:nvSpPr>
          <p:spPr>
            <a:xfrm>
              <a:off x="2694763" y="1663503"/>
              <a:ext cx="169722" cy="193814"/>
            </a:xfrm>
            <a:custGeom>
              <a:avLst/>
              <a:gdLst>
                <a:gd name="connsiteX0" fmla="*/ 122030 w 169722"/>
                <a:gd name="connsiteY0" fmla="*/ 193812 h 193814"/>
                <a:gd name="connsiteX1" fmla="*/ 121418 w 169722"/>
                <a:gd name="connsiteY1" fmla="*/ 193782 h 193814"/>
                <a:gd name="connsiteX2" fmla="*/ 115659 w 169722"/>
                <a:gd name="connsiteY2" fmla="*/ 186516 h 193814"/>
                <a:gd name="connsiteX3" fmla="*/ 116147 w 169722"/>
                <a:gd name="connsiteY3" fmla="*/ 181205 h 193814"/>
                <a:gd name="connsiteX4" fmla="*/ 135978 w 169722"/>
                <a:gd name="connsiteY4" fmla="*/ 140317 h 193814"/>
                <a:gd name="connsiteX5" fmla="*/ 156928 w 169722"/>
                <a:gd name="connsiteY5" fmla="*/ 87815 h 193814"/>
                <a:gd name="connsiteX6" fmla="*/ 133102 w 169722"/>
                <a:gd name="connsiteY6" fmla="*/ 32460 h 193814"/>
                <a:gd name="connsiteX7" fmla="*/ 76510 w 169722"/>
                <a:gd name="connsiteY7" fmla="*/ 13787 h 193814"/>
                <a:gd name="connsiteX8" fmla="*/ 13356 w 169722"/>
                <a:gd name="connsiteY8" fmla="*/ 78307 h 193814"/>
                <a:gd name="connsiteX9" fmla="*/ 34856 w 169722"/>
                <a:gd name="connsiteY9" fmla="*/ 141457 h 193814"/>
                <a:gd name="connsiteX10" fmla="*/ 53957 w 169722"/>
                <a:gd name="connsiteY10" fmla="*/ 185135 h 193814"/>
                <a:gd name="connsiteX11" fmla="*/ 54064 w 169722"/>
                <a:gd name="connsiteY11" fmla="*/ 186669 h 193814"/>
                <a:gd name="connsiteX12" fmla="*/ 48159 w 169722"/>
                <a:gd name="connsiteY12" fmla="*/ 193799 h 193814"/>
                <a:gd name="connsiteX13" fmla="*/ 41313 w 169722"/>
                <a:gd name="connsiteY13" fmla="*/ 187639 h 193814"/>
                <a:gd name="connsiteX14" fmla="*/ 41199 w 169722"/>
                <a:gd name="connsiteY14" fmla="*/ 186037 h 193814"/>
                <a:gd name="connsiteX15" fmla="*/ 26014 w 169722"/>
                <a:gd name="connsiteY15" fmla="*/ 151085 h 193814"/>
                <a:gd name="connsiteX16" fmla="*/ 669 w 169722"/>
                <a:gd name="connsiteY16" fmla="*/ 76662 h 193814"/>
                <a:gd name="connsiteX17" fmla="*/ 75102 w 169722"/>
                <a:gd name="connsiteY17" fmla="*/ 551 h 193814"/>
                <a:gd name="connsiteX18" fmla="*/ 141636 w 169722"/>
                <a:gd name="connsiteY18" fmla="*/ 22535 h 193814"/>
                <a:gd name="connsiteX19" fmla="*/ 169723 w 169722"/>
                <a:gd name="connsiteY19" fmla="*/ 87815 h 193814"/>
                <a:gd name="connsiteX20" fmla="*/ 145027 w 169722"/>
                <a:gd name="connsiteY20" fmla="*/ 149744 h 193814"/>
                <a:gd name="connsiteX21" fmla="*/ 128855 w 169722"/>
                <a:gd name="connsiteY21" fmla="*/ 182720 h 193814"/>
                <a:gd name="connsiteX22" fmla="*/ 128393 w 169722"/>
                <a:gd name="connsiteY22" fmla="*/ 187786 h 193814"/>
                <a:gd name="connsiteX23" fmla="*/ 122030 w 169722"/>
                <a:gd name="connsiteY23" fmla="*/ 193812 h 1938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69722" h="193814">
                  <a:moveTo>
                    <a:pt x="122030" y="193812"/>
                  </a:moveTo>
                  <a:cubicBezTo>
                    <a:pt x="121829" y="193812"/>
                    <a:pt x="121625" y="193802"/>
                    <a:pt x="121418" y="193782"/>
                  </a:cubicBezTo>
                  <a:cubicBezTo>
                    <a:pt x="117903" y="193431"/>
                    <a:pt x="115325" y="190177"/>
                    <a:pt x="115659" y="186516"/>
                  </a:cubicBezTo>
                  <a:lnTo>
                    <a:pt x="116147" y="181205"/>
                  </a:lnTo>
                  <a:cubicBezTo>
                    <a:pt x="118100" y="165846"/>
                    <a:pt x="124952" y="151794"/>
                    <a:pt x="135978" y="140317"/>
                  </a:cubicBezTo>
                  <a:cubicBezTo>
                    <a:pt x="149491" y="126265"/>
                    <a:pt x="156928" y="107618"/>
                    <a:pt x="156928" y="87815"/>
                  </a:cubicBezTo>
                  <a:cubicBezTo>
                    <a:pt x="156928" y="66754"/>
                    <a:pt x="148244" y="46579"/>
                    <a:pt x="133102" y="32460"/>
                  </a:cubicBezTo>
                  <a:cubicBezTo>
                    <a:pt x="117585" y="17990"/>
                    <a:pt x="97454" y="11359"/>
                    <a:pt x="76510" y="13787"/>
                  </a:cubicBezTo>
                  <a:cubicBezTo>
                    <a:pt x="43928" y="17559"/>
                    <a:pt x="17363" y="44696"/>
                    <a:pt x="13356" y="78307"/>
                  </a:cubicBezTo>
                  <a:cubicBezTo>
                    <a:pt x="10527" y="102010"/>
                    <a:pt x="18366" y="125024"/>
                    <a:pt x="34856" y="141457"/>
                  </a:cubicBezTo>
                  <a:cubicBezTo>
                    <a:pt x="46152" y="152714"/>
                    <a:pt x="52941" y="168223"/>
                    <a:pt x="53957" y="185135"/>
                  </a:cubicBezTo>
                  <a:lnTo>
                    <a:pt x="54064" y="186669"/>
                  </a:lnTo>
                  <a:cubicBezTo>
                    <a:pt x="54322" y="190338"/>
                    <a:pt x="51680" y="193528"/>
                    <a:pt x="48159" y="193799"/>
                  </a:cubicBezTo>
                  <a:cubicBezTo>
                    <a:pt x="44574" y="194050"/>
                    <a:pt x="41571" y="191304"/>
                    <a:pt x="41313" y="187639"/>
                  </a:cubicBezTo>
                  <a:lnTo>
                    <a:pt x="41199" y="186037"/>
                  </a:lnTo>
                  <a:cubicBezTo>
                    <a:pt x="40377" y="172410"/>
                    <a:pt x="34986" y="160024"/>
                    <a:pt x="26014" y="151085"/>
                  </a:cubicBezTo>
                  <a:cubicBezTo>
                    <a:pt x="6568" y="131713"/>
                    <a:pt x="-2665" y="104585"/>
                    <a:pt x="669" y="76662"/>
                  </a:cubicBezTo>
                  <a:cubicBezTo>
                    <a:pt x="5401" y="37005"/>
                    <a:pt x="36705" y="4995"/>
                    <a:pt x="75102" y="551"/>
                  </a:cubicBezTo>
                  <a:cubicBezTo>
                    <a:pt x="99367" y="-2255"/>
                    <a:pt x="123631" y="5751"/>
                    <a:pt x="141636" y="22535"/>
                  </a:cubicBezTo>
                  <a:cubicBezTo>
                    <a:pt x="159487" y="39175"/>
                    <a:pt x="169723" y="62968"/>
                    <a:pt x="169723" y="87815"/>
                  </a:cubicBezTo>
                  <a:cubicBezTo>
                    <a:pt x="169723" y="111180"/>
                    <a:pt x="160951" y="133177"/>
                    <a:pt x="145027" y="149744"/>
                  </a:cubicBezTo>
                  <a:cubicBezTo>
                    <a:pt x="135998" y="159134"/>
                    <a:pt x="130410" y="170534"/>
                    <a:pt x="128855" y="182720"/>
                  </a:cubicBezTo>
                  <a:lnTo>
                    <a:pt x="128393" y="187786"/>
                  </a:lnTo>
                  <a:cubicBezTo>
                    <a:pt x="128072" y="191231"/>
                    <a:pt x="125290" y="193812"/>
                    <a:pt x="122030" y="193812"/>
                  </a:cubicBezTo>
                  <a:close/>
                </a:path>
              </a:pathLst>
            </a:custGeom>
            <a:grpFill/>
            <a:ln w="33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545" name="Freeform: Shape 727">
              <a:extLst>
                <a:ext uri="{FF2B5EF4-FFF2-40B4-BE49-F238E27FC236}">
                  <a16:creationId xmlns:a16="http://schemas.microsoft.com/office/drawing/2014/main" id="{8937ACA0-8A71-625A-AB5A-78507088ACC6}"/>
                </a:ext>
              </a:extLst>
            </p:cNvPr>
            <p:cNvSpPr/>
            <p:nvPr/>
          </p:nvSpPr>
          <p:spPr>
            <a:xfrm>
              <a:off x="2733712" y="1869180"/>
              <a:ext cx="90705" cy="13322"/>
            </a:xfrm>
            <a:custGeom>
              <a:avLst/>
              <a:gdLst>
                <a:gd name="connsiteX0" fmla="*/ 84311 w 90705"/>
                <a:gd name="connsiteY0" fmla="*/ 13323 h 13322"/>
                <a:gd name="connsiteX1" fmla="*/ 6394 w 90705"/>
                <a:gd name="connsiteY1" fmla="*/ 13323 h 13322"/>
                <a:gd name="connsiteX2" fmla="*/ 0 w 90705"/>
                <a:gd name="connsiteY2" fmla="*/ 6661 h 13322"/>
                <a:gd name="connsiteX3" fmla="*/ 6394 w 90705"/>
                <a:gd name="connsiteY3" fmla="*/ 0 h 13322"/>
                <a:gd name="connsiteX4" fmla="*/ 84311 w 90705"/>
                <a:gd name="connsiteY4" fmla="*/ 0 h 13322"/>
                <a:gd name="connsiteX5" fmla="*/ 90705 w 90705"/>
                <a:gd name="connsiteY5" fmla="*/ 6661 h 13322"/>
                <a:gd name="connsiteX6" fmla="*/ 84311 w 90705"/>
                <a:gd name="connsiteY6" fmla="*/ 13323 h 133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90705" h="13322">
                  <a:moveTo>
                    <a:pt x="84311" y="13323"/>
                  </a:moveTo>
                  <a:lnTo>
                    <a:pt x="6394" y="13323"/>
                  </a:lnTo>
                  <a:cubicBezTo>
                    <a:pt x="2859" y="13323"/>
                    <a:pt x="0" y="10340"/>
                    <a:pt x="0" y="6661"/>
                  </a:cubicBezTo>
                  <a:cubicBezTo>
                    <a:pt x="0" y="2983"/>
                    <a:pt x="2859" y="0"/>
                    <a:pt x="6394" y="0"/>
                  </a:cubicBezTo>
                  <a:lnTo>
                    <a:pt x="84311" y="0"/>
                  </a:lnTo>
                  <a:cubicBezTo>
                    <a:pt x="87846" y="0"/>
                    <a:pt x="90705" y="2983"/>
                    <a:pt x="90705" y="6661"/>
                  </a:cubicBezTo>
                  <a:cubicBezTo>
                    <a:pt x="90705" y="10340"/>
                    <a:pt x="87846" y="13323"/>
                    <a:pt x="84311" y="13323"/>
                  </a:cubicBezTo>
                  <a:close/>
                </a:path>
              </a:pathLst>
            </a:custGeom>
            <a:grpFill/>
            <a:ln w="33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546" name="Freeform: Shape 728">
              <a:extLst>
                <a:ext uri="{FF2B5EF4-FFF2-40B4-BE49-F238E27FC236}">
                  <a16:creationId xmlns:a16="http://schemas.microsoft.com/office/drawing/2014/main" id="{6CD8E6F5-ECD7-93B5-0649-1AA458E0E768}"/>
                </a:ext>
              </a:extLst>
            </p:cNvPr>
            <p:cNvSpPr/>
            <p:nvPr/>
          </p:nvSpPr>
          <p:spPr>
            <a:xfrm>
              <a:off x="2748322" y="1894368"/>
              <a:ext cx="61481" cy="13322"/>
            </a:xfrm>
            <a:custGeom>
              <a:avLst/>
              <a:gdLst>
                <a:gd name="connsiteX0" fmla="*/ 55087 w 61481"/>
                <a:gd name="connsiteY0" fmla="*/ 13323 h 13322"/>
                <a:gd name="connsiteX1" fmla="*/ 6394 w 61481"/>
                <a:gd name="connsiteY1" fmla="*/ 13323 h 13322"/>
                <a:gd name="connsiteX2" fmla="*/ 0 w 61481"/>
                <a:gd name="connsiteY2" fmla="*/ 6661 h 13322"/>
                <a:gd name="connsiteX3" fmla="*/ 6394 w 61481"/>
                <a:gd name="connsiteY3" fmla="*/ 0 h 13322"/>
                <a:gd name="connsiteX4" fmla="*/ 55087 w 61481"/>
                <a:gd name="connsiteY4" fmla="*/ 0 h 13322"/>
                <a:gd name="connsiteX5" fmla="*/ 61481 w 61481"/>
                <a:gd name="connsiteY5" fmla="*/ 6661 h 13322"/>
                <a:gd name="connsiteX6" fmla="*/ 55087 w 61481"/>
                <a:gd name="connsiteY6" fmla="*/ 13323 h 133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1481" h="13322">
                  <a:moveTo>
                    <a:pt x="55087" y="13323"/>
                  </a:moveTo>
                  <a:lnTo>
                    <a:pt x="6394" y="13323"/>
                  </a:lnTo>
                  <a:cubicBezTo>
                    <a:pt x="2859" y="13323"/>
                    <a:pt x="0" y="10340"/>
                    <a:pt x="0" y="6661"/>
                  </a:cubicBezTo>
                  <a:cubicBezTo>
                    <a:pt x="0" y="2983"/>
                    <a:pt x="2859" y="0"/>
                    <a:pt x="6394" y="0"/>
                  </a:cubicBezTo>
                  <a:lnTo>
                    <a:pt x="55087" y="0"/>
                  </a:lnTo>
                  <a:cubicBezTo>
                    <a:pt x="58622" y="0"/>
                    <a:pt x="61481" y="2983"/>
                    <a:pt x="61481" y="6661"/>
                  </a:cubicBezTo>
                  <a:cubicBezTo>
                    <a:pt x="61484" y="10340"/>
                    <a:pt x="58622" y="13323"/>
                    <a:pt x="55087" y="13323"/>
                  </a:cubicBezTo>
                  <a:close/>
                </a:path>
              </a:pathLst>
            </a:custGeom>
            <a:grpFill/>
            <a:ln w="33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</p:grpSp>
      <p:grpSp>
        <p:nvGrpSpPr>
          <p:cNvPr id="518" name="Gruppieren 854">
            <a:extLst>
              <a:ext uri="{FF2B5EF4-FFF2-40B4-BE49-F238E27FC236}">
                <a16:creationId xmlns:a16="http://schemas.microsoft.com/office/drawing/2014/main" id="{918EE8EF-5085-5FA4-2665-714587ACC82D}"/>
              </a:ext>
            </a:extLst>
          </p:cNvPr>
          <p:cNvGrpSpPr/>
          <p:nvPr/>
        </p:nvGrpSpPr>
        <p:grpSpPr>
          <a:xfrm>
            <a:off x="1296815" y="2420994"/>
            <a:ext cx="392784" cy="369541"/>
            <a:chOff x="6961654" y="1647997"/>
            <a:chExt cx="473468" cy="445451"/>
          </a:xfrm>
          <a:solidFill>
            <a:schemeClr val="bg2">
              <a:lumMod val="50000"/>
            </a:schemeClr>
          </a:solidFill>
        </p:grpSpPr>
        <p:grpSp>
          <p:nvGrpSpPr>
            <p:cNvPr id="519" name="Graphic 24">
              <a:extLst>
                <a:ext uri="{FF2B5EF4-FFF2-40B4-BE49-F238E27FC236}">
                  <a16:creationId xmlns:a16="http://schemas.microsoft.com/office/drawing/2014/main" id="{3FF88666-110D-D62A-0F0A-DABA1A3A77D5}"/>
                </a:ext>
              </a:extLst>
            </p:cNvPr>
            <p:cNvGrpSpPr/>
            <p:nvPr/>
          </p:nvGrpSpPr>
          <p:grpSpPr>
            <a:xfrm>
              <a:off x="6961654" y="1909551"/>
              <a:ext cx="473468" cy="183897"/>
              <a:chOff x="2542883" y="1909551"/>
              <a:chExt cx="473468" cy="183897"/>
            </a:xfrm>
            <a:grpFill/>
          </p:grpSpPr>
          <p:grpSp>
            <p:nvGrpSpPr>
              <p:cNvPr id="528" name="Graphic 24">
                <a:extLst>
                  <a:ext uri="{FF2B5EF4-FFF2-40B4-BE49-F238E27FC236}">
                    <a16:creationId xmlns:a16="http://schemas.microsoft.com/office/drawing/2014/main" id="{491CA207-4E53-669E-8759-FC0A7022EB83}"/>
                  </a:ext>
                </a:extLst>
              </p:cNvPr>
              <p:cNvGrpSpPr/>
              <p:nvPr/>
            </p:nvGrpSpPr>
            <p:grpSpPr>
              <a:xfrm>
                <a:off x="2795534" y="1909560"/>
                <a:ext cx="220818" cy="183888"/>
                <a:chOff x="2795534" y="1909560"/>
                <a:chExt cx="220818" cy="183888"/>
              </a:xfrm>
              <a:grpFill/>
            </p:grpSpPr>
            <p:sp>
              <p:nvSpPr>
                <p:cNvPr id="537" name="Freeform: Shape 738">
                  <a:extLst>
                    <a:ext uri="{FF2B5EF4-FFF2-40B4-BE49-F238E27FC236}">
                      <a16:creationId xmlns:a16="http://schemas.microsoft.com/office/drawing/2014/main" id="{F84FCF1D-B104-4C88-76BF-249AAFC85FF6}"/>
                    </a:ext>
                  </a:extLst>
                </p:cNvPr>
                <p:cNvSpPr/>
                <p:nvPr/>
              </p:nvSpPr>
              <p:spPr>
                <a:xfrm>
                  <a:off x="2795534" y="1917978"/>
                  <a:ext cx="100189" cy="108899"/>
                </a:xfrm>
                <a:custGeom>
                  <a:avLst/>
                  <a:gdLst>
                    <a:gd name="connsiteX0" fmla="*/ 10604 w 100189"/>
                    <a:gd name="connsiteY0" fmla="*/ 108900 h 108899"/>
                    <a:gd name="connsiteX1" fmla="*/ 4405 w 100189"/>
                    <a:gd name="connsiteY1" fmla="*/ 103850 h 108899"/>
                    <a:gd name="connsiteX2" fmla="*/ 15443 w 100189"/>
                    <a:gd name="connsiteY2" fmla="*/ 23488 h 108899"/>
                    <a:gd name="connsiteX3" fmla="*/ 94765 w 100189"/>
                    <a:gd name="connsiteY3" fmla="*/ 1116 h 108899"/>
                    <a:gd name="connsiteX4" fmla="*/ 100116 w 100189"/>
                    <a:gd name="connsiteY4" fmla="*/ 8704 h 108899"/>
                    <a:gd name="connsiteX5" fmla="*/ 92836 w 100189"/>
                    <a:gd name="connsiteY5" fmla="*/ 14285 h 108899"/>
                    <a:gd name="connsiteX6" fmla="*/ 24860 w 100189"/>
                    <a:gd name="connsiteY6" fmla="*/ 32500 h 108899"/>
                    <a:gd name="connsiteX7" fmla="*/ 16818 w 100189"/>
                    <a:gd name="connsiteY7" fmla="*/ 100630 h 108899"/>
                    <a:gd name="connsiteX8" fmla="*/ 12160 w 100189"/>
                    <a:gd name="connsiteY8" fmla="*/ 108702 h 108899"/>
                    <a:gd name="connsiteX9" fmla="*/ 10604 w 100189"/>
                    <a:gd name="connsiteY9" fmla="*/ 108900 h 10889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100189" h="108899">
                      <a:moveTo>
                        <a:pt x="10604" y="108900"/>
                      </a:moveTo>
                      <a:cubicBezTo>
                        <a:pt x="7739" y="108903"/>
                        <a:pt x="5134" y="106880"/>
                        <a:pt x="4405" y="103850"/>
                      </a:cubicBezTo>
                      <a:cubicBezTo>
                        <a:pt x="-4043" y="68540"/>
                        <a:pt x="-327" y="41506"/>
                        <a:pt x="15443" y="23488"/>
                      </a:cubicBezTo>
                      <a:cubicBezTo>
                        <a:pt x="42069" y="-6930"/>
                        <a:pt x="92635" y="772"/>
                        <a:pt x="94765" y="1116"/>
                      </a:cubicBezTo>
                      <a:cubicBezTo>
                        <a:pt x="98257" y="1671"/>
                        <a:pt x="100648" y="5069"/>
                        <a:pt x="100116" y="8704"/>
                      </a:cubicBezTo>
                      <a:cubicBezTo>
                        <a:pt x="99577" y="12332"/>
                        <a:pt x="96337" y="14807"/>
                        <a:pt x="92836" y="14285"/>
                      </a:cubicBezTo>
                      <a:cubicBezTo>
                        <a:pt x="92381" y="14222"/>
                        <a:pt x="46834" y="7363"/>
                        <a:pt x="24860" y="32500"/>
                      </a:cubicBezTo>
                      <a:cubicBezTo>
                        <a:pt x="12180" y="47017"/>
                        <a:pt x="9468" y="69941"/>
                        <a:pt x="16818" y="100630"/>
                      </a:cubicBezTo>
                      <a:cubicBezTo>
                        <a:pt x="17667" y="104198"/>
                        <a:pt x="15581" y="107813"/>
                        <a:pt x="12160" y="108702"/>
                      </a:cubicBezTo>
                      <a:cubicBezTo>
                        <a:pt x="11641" y="108836"/>
                        <a:pt x="11119" y="108900"/>
                        <a:pt x="10604" y="108900"/>
                      </a:cubicBezTo>
                      <a:close/>
                    </a:path>
                  </a:pathLst>
                </a:custGeom>
                <a:grpFill/>
                <a:ln w="334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GB" dirty="0"/>
                </a:p>
              </p:txBody>
            </p:sp>
            <p:sp>
              <p:nvSpPr>
                <p:cNvPr id="538" name="Freeform: Shape 739">
                  <a:extLst>
                    <a:ext uri="{FF2B5EF4-FFF2-40B4-BE49-F238E27FC236}">
                      <a16:creationId xmlns:a16="http://schemas.microsoft.com/office/drawing/2014/main" id="{62FAD25E-92AD-1F40-0049-F4C14137A3FB}"/>
                    </a:ext>
                  </a:extLst>
                </p:cNvPr>
                <p:cNvSpPr/>
                <p:nvPr/>
              </p:nvSpPr>
              <p:spPr>
                <a:xfrm>
                  <a:off x="2953233" y="1982183"/>
                  <a:ext cx="24133" cy="23569"/>
                </a:xfrm>
                <a:custGeom>
                  <a:avLst/>
                  <a:gdLst>
                    <a:gd name="connsiteX0" fmla="*/ 17732 w 24133"/>
                    <a:gd name="connsiteY0" fmla="*/ 23569 h 23569"/>
                    <a:gd name="connsiteX1" fmla="*/ 13943 w 24133"/>
                    <a:gd name="connsiteY1" fmla="*/ 22269 h 23569"/>
                    <a:gd name="connsiteX2" fmla="*/ 1610 w 24133"/>
                    <a:gd name="connsiteY2" fmla="*/ 11079 h 23569"/>
                    <a:gd name="connsiteX3" fmla="*/ 2152 w 24133"/>
                    <a:gd name="connsiteY3" fmla="*/ 1676 h 23569"/>
                    <a:gd name="connsiteX4" fmla="*/ 11168 w 24133"/>
                    <a:gd name="connsiteY4" fmla="*/ 2227 h 23569"/>
                    <a:gd name="connsiteX5" fmla="*/ 21534 w 24133"/>
                    <a:gd name="connsiteY5" fmla="*/ 11547 h 23569"/>
                    <a:gd name="connsiteX6" fmla="*/ 22882 w 24133"/>
                    <a:gd name="connsiteY6" fmla="*/ 20861 h 23569"/>
                    <a:gd name="connsiteX7" fmla="*/ 17732 w 24133"/>
                    <a:gd name="connsiteY7" fmla="*/ 23569 h 2356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24133" h="23569">
                      <a:moveTo>
                        <a:pt x="17732" y="23569"/>
                      </a:moveTo>
                      <a:cubicBezTo>
                        <a:pt x="16415" y="23569"/>
                        <a:pt x="15084" y="23148"/>
                        <a:pt x="13943" y="22269"/>
                      </a:cubicBezTo>
                      <a:cubicBezTo>
                        <a:pt x="5914" y="16095"/>
                        <a:pt x="1781" y="11280"/>
                        <a:pt x="1610" y="11079"/>
                      </a:cubicBezTo>
                      <a:cubicBezTo>
                        <a:pt x="-731" y="8327"/>
                        <a:pt x="-493" y="4117"/>
                        <a:pt x="2152" y="1676"/>
                      </a:cubicBezTo>
                      <a:cubicBezTo>
                        <a:pt x="4780" y="-759"/>
                        <a:pt x="8807" y="-511"/>
                        <a:pt x="11168" y="2227"/>
                      </a:cubicBezTo>
                      <a:cubicBezTo>
                        <a:pt x="11275" y="2348"/>
                        <a:pt x="14759" y="6341"/>
                        <a:pt x="21534" y="11547"/>
                      </a:cubicBezTo>
                      <a:cubicBezTo>
                        <a:pt x="24377" y="13734"/>
                        <a:pt x="24982" y="17901"/>
                        <a:pt x="22882" y="20861"/>
                      </a:cubicBezTo>
                      <a:cubicBezTo>
                        <a:pt x="21628" y="22633"/>
                        <a:pt x="19692" y="23569"/>
                        <a:pt x="17732" y="23569"/>
                      </a:cubicBezTo>
                      <a:close/>
                    </a:path>
                  </a:pathLst>
                </a:custGeom>
                <a:grpFill/>
                <a:ln w="334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GB" dirty="0"/>
                </a:p>
              </p:txBody>
            </p:sp>
            <p:sp>
              <p:nvSpPr>
                <p:cNvPr id="539" name="Freeform: Shape 740">
                  <a:extLst>
                    <a:ext uri="{FF2B5EF4-FFF2-40B4-BE49-F238E27FC236}">
                      <a16:creationId xmlns:a16="http://schemas.microsoft.com/office/drawing/2014/main" id="{7A0D200B-224C-2076-7444-8C3955665446}"/>
                    </a:ext>
                  </a:extLst>
                </p:cNvPr>
                <p:cNvSpPr/>
                <p:nvPr/>
              </p:nvSpPr>
              <p:spPr>
                <a:xfrm>
                  <a:off x="2795803" y="2011005"/>
                  <a:ext cx="67067" cy="82442"/>
                </a:xfrm>
                <a:custGeom>
                  <a:avLst/>
                  <a:gdLst>
                    <a:gd name="connsiteX0" fmla="*/ 45224 w 67067"/>
                    <a:gd name="connsiteY0" fmla="*/ 82443 h 82442"/>
                    <a:gd name="connsiteX1" fmla="*/ 28908 w 67067"/>
                    <a:gd name="connsiteY1" fmla="*/ 73524 h 82442"/>
                    <a:gd name="connsiteX2" fmla="*/ 4326 w 67067"/>
                    <a:gd name="connsiteY2" fmla="*/ 36177 h 82442"/>
                    <a:gd name="connsiteX3" fmla="*/ 5 w 67067"/>
                    <a:gd name="connsiteY3" fmla="*/ 20249 h 82442"/>
                    <a:gd name="connsiteX4" fmla="*/ 7241 w 67067"/>
                    <a:gd name="connsiteY4" fmla="*/ 4328 h 82442"/>
                    <a:gd name="connsiteX5" fmla="*/ 9352 w 67067"/>
                    <a:gd name="connsiteY5" fmla="*/ 2817 h 82442"/>
                    <a:gd name="connsiteX6" fmla="*/ 38786 w 67067"/>
                    <a:gd name="connsiteY6" fmla="*/ 11234 h 82442"/>
                    <a:gd name="connsiteX7" fmla="*/ 63596 w 67067"/>
                    <a:gd name="connsiteY7" fmla="*/ 48684 h 82442"/>
                    <a:gd name="connsiteX8" fmla="*/ 66730 w 67067"/>
                    <a:gd name="connsiteY8" fmla="*/ 64104 h 82442"/>
                    <a:gd name="connsiteX9" fmla="*/ 58507 w 67067"/>
                    <a:gd name="connsiteY9" fmla="*/ 77320 h 82442"/>
                    <a:gd name="connsiteX10" fmla="*/ 56403 w 67067"/>
                    <a:gd name="connsiteY10" fmla="*/ 78828 h 82442"/>
                    <a:gd name="connsiteX11" fmla="*/ 45224 w 67067"/>
                    <a:gd name="connsiteY11" fmla="*/ 82443 h 82442"/>
                    <a:gd name="connsiteX12" fmla="*/ 16592 w 67067"/>
                    <a:gd name="connsiteY12" fmla="*/ 13789 h 82442"/>
                    <a:gd name="connsiteX13" fmla="*/ 14482 w 67067"/>
                    <a:gd name="connsiteY13" fmla="*/ 15300 h 82442"/>
                    <a:gd name="connsiteX14" fmla="*/ 12789 w 67067"/>
                    <a:gd name="connsiteY14" fmla="*/ 20497 h 82442"/>
                    <a:gd name="connsiteX15" fmla="*/ 14869 w 67067"/>
                    <a:gd name="connsiteY15" fmla="*/ 28636 h 82442"/>
                    <a:gd name="connsiteX16" fmla="*/ 39452 w 67067"/>
                    <a:gd name="connsiteY16" fmla="*/ 65983 h 82442"/>
                    <a:gd name="connsiteX17" fmla="*/ 49150 w 67067"/>
                    <a:gd name="connsiteY17" fmla="*/ 67849 h 82442"/>
                    <a:gd name="connsiteX18" fmla="*/ 51253 w 67067"/>
                    <a:gd name="connsiteY18" fmla="*/ 66341 h 82442"/>
                    <a:gd name="connsiteX19" fmla="*/ 54149 w 67067"/>
                    <a:gd name="connsiteY19" fmla="*/ 61669 h 82442"/>
                    <a:gd name="connsiteX20" fmla="*/ 53056 w 67067"/>
                    <a:gd name="connsiteY20" fmla="*/ 56235 h 82442"/>
                    <a:gd name="connsiteX21" fmla="*/ 28246 w 67067"/>
                    <a:gd name="connsiteY21" fmla="*/ 18785 h 82442"/>
                    <a:gd name="connsiteX22" fmla="*/ 16592 w 67067"/>
                    <a:gd name="connsiteY22" fmla="*/ 13789 h 82442"/>
                    <a:gd name="connsiteX23" fmla="*/ 16592 w 67067"/>
                    <a:gd name="connsiteY23" fmla="*/ 13789 h 8244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</a:cxnLst>
                  <a:rect l="l" t="t" r="r" b="b"/>
                  <a:pathLst>
                    <a:path w="67067" h="82442">
                      <a:moveTo>
                        <a:pt x="45224" y="82443"/>
                      </a:moveTo>
                      <a:cubicBezTo>
                        <a:pt x="38930" y="82443"/>
                        <a:pt x="32733" y="79323"/>
                        <a:pt x="28908" y="73524"/>
                      </a:cubicBezTo>
                      <a:lnTo>
                        <a:pt x="4326" y="36177"/>
                      </a:lnTo>
                      <a:cubicBezTo>
                        <a:pt x="1523" y="31920"/>
                        <a:pt x="-102" y="25961"/>
                        <a:pt x="5" y="20249"/>
                      </a:cubicBezTo>
                      <a:cubicBezTo>
                        <a:pt x="129" y="13230"/>
                        <a:pt x="2704" y="7575"/>
                        <a:pt x="7241" y="4328"/>
                      </a:cubicBezTo>
                      <a:lnTo>
                        <a:pt x="9352" y="2817"/>
                      </a:lnTo>
                      <a:cubicBezTo>
                        <a:pt x="18481" y="-3724"/>
                        <a:pt x="32673" y="1974"/>
                        <a:pt x="38786" y="11234"/>
                      </a:cubicBezTo>
                      <a:lnTo>
                        <a:pt x="63596" y="48684"/>
                      </a:lnTo>
                      <a:cubicBezTo>
                        <a:pt x="66582" y="53215"/>
                        <a:pt x="67693" y="58683"/>
                        <a:pt x="66730" y="64104"/>
                      </a:cubicBezTo>
                      <a:cubicBezTo>
                        <a:pt x="65767" y="69521"/>
                        <a:pt x="62847" y="74216"/>
                        <a:pt x="58507" y="77320"/>
                      </a:cubicBezTo>
                      <a:lnTo>
                        <a:pt x="56403" y="78828"/>
                      </a:lnTo>
                      <a:cubicBezTo>
                        <a:pt x="52985" y="81272"/>
                        <a:pt x="49083" y="82443"/>
                        <a:pt x="45224" y="82443"/>
                      </a:cubicBezTo>
                      <a:close/>
                      <a:moveTo>
                        <a:pt x="16592" y="13789"/>
                      </a:moveTo>
                      <a:lnTo>
                        <a:pt x="14482" y="15300"/>
                      </a:lnTo>
                      <a:cubicBezTo>
                        <a:pt x="13495" y="16009"/>
                        <a:pt x="12833" y="18046"/>
                        <a:pt x="12789" y="20497"/>
                      </a:cubicBezTo>
                      <a:cubicBezTo>
                        <a:pt x="12733" y="23443"/>
                        <a:pt x="13552" y="26640"/>
                        <a:pt x="14869" y="28636"/>
                      </a:cubicBezTo>
                      <a:lnTo>
                        <a:pt x="39452" y="65983"/>
                      </a:lnTo>
                      <a:cubicBezTo>
                        <a:pt x="41619" y="69284"/>
                        <a:pt x="45983" y="70110"/>
                        <a:pt x="49150" y="67849"/>
                      </a:cubicBezTo>
                      <a:lnTo>
                        <a:pt x="51253" y="66341"/>
                      </a:lnTo>
                      <a:cubicBezTo>
                        <a:pt x="52781" y="65244"/>
                        <a:pt x="53815" y="63586"/>
                        <a:pt x="54149" y="61669"/>
                      </a:cubicBezTo>
                      <a:cubicBezTo>
                        <a:pt x="54494" y="59753"/>
                        <a:pt x="54106" y="57824"/>
                        <a:pt x="53056" y="56235"/>
                      </a:cubicBezTo>
                      <a:lnTo>
                        <a:pt x="28246" y="18785"/>
                      </a:lnTo>
                      <a:cubicBezTo>
                        <a:pt x="25684" y="14896"/>
                        <a:pt x="19060" y="12053"/>
                        <a:pt x="16592" y="13789"/>
                      </a:cubicBezTo>
                      <a:lnTo>
                        <a:pt x="16592" y="13789"/>
                      </a:lnTo>
                      <a:close/>
                    </a:path>
                  </a:pathLst>
                </a:custGeom>
                <a:grpFill/>
                <a:ln w="334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GB" dirty="0"/>
                </a:p>
              </p:txBody>
            </p:sp>
            <p:sp>
              <p:nvSpPr>
                <p:cNvPr id="540" name="Freeform: Shape 741">
                  <a:extLst>
                    <a:ext uri="{FF2B5EF4-FFF2-40B4-BE49-F238E27FC236}">
                      <a16:creationId xmlns:a16="http://schemas.microsoft.com/office/drawing/2014/main" id="{5055FF91-6229-76F6-5EF6-E180B852D6FF}"/>
                    </a:ext>
                  </a:extLst>
                </p:cNvPr>
                <p:cNvSpPr/>
                <p:nvPr/>
              </p:nvSpPr>
              <p:spPr>
                <a:xfrm>
                  <a:off x="2916896" y="1969431"/>
                  <a:ext cx="49853" cy="105725"/>
                </a:xfrm>
                <a:custGeom>
                  <a:avLst/>
                  <a:gdLst>
                    <a:gd name="connsiteX0" fmla="*/ 25481 w 49853"/>
                    <a:gd name="connsiteY0" fmla="*/ 105725 h 105725"/>
                    <a:gd name="connsiteX1" fmla="*/ 24661 w 49853"/>
                    <a:gd name="connsiteY1" fmla="*/ 105712 h 105725"/>
                    <a:gd name="connsiteX2" fmla="*/ 21588 w 49853"/>
                    <a:gd name="connsiteY2" fmla="*/ 105595 h 105725"/>
                    <a:gd name="connsiteX3" fmla="*/ 15 w 49853"/>
                    <a:gd name="connsiteY3" fmla="*/ 81417 h 105725"/>
                    <a:gd name="connsiteX4" fmla="*/ 1758 w 49853"/>
                    <a:gd name="connsiteY4" fmla="*/ 26390 h 105725"/>
                    <a:gd name="connsiteX5" fmla="*/ 8489 w 49853"/>
                    <a:gd name="connsiteY5" fmla="*/ 8823 h 105725"/>
                    <a:gd name="connsiteX6" fmla="*/ 25280 w 49853"/>
                    <a:gd name="connsiteY6" fmla="*/ 8 h 105725"/>
                    <a:gd name="connsiteX7" fmla="*/ 28346 w 49853"/>
                    <a:gd name="connsiteY7" fmla="*/ 122 h 105725"/>
                    <a:gd name="connsiteX8" fmla="*/ 49839 w 49853"/>
                    <a:gd name="connsiteY8" fmla="*/ 27102 h 105725"/>
                    <a:gd name="connsiteX9" fmla="*/ 47873 w 49853"/>
                    <a:gd name="connsiteY9" fmla="*/ 83229 h 105725"/>
                    <a:gd name="connsiteX10" fmla="*/ 25481 w 49853"/>
                    <a:gd name="connsiteY10" fmla="*/ 105725 h 105725"/>
                    <a:gd name="connsiteX11" fmla="*/ 24675 w 49853"/>
                    <a:gd name="connsiteY11" fmla="*/ 13321 h 105725"/>
                    <a:gd name="connsiteX12" fmla="*/ 18344 w 49853"/>
                    <a:gd name="connsiteY12" fmla="*/ 17321 h 105725"/>
                    <a:gd name="connsiteX13" fmla="*/ 14535 w 49853"/>
                    <a:gd name="connsiteY13" fmla="*/ 26848 h 105725"/>
                    <a:gd name="connsiteX14" fmla="*/ 12793 w 49853"/>
                    <a:gd name="connsiteY14" fmla="*/ 81875 h 105725"/>
                    <a:gd name="connsiteX15" fmla="*/ 22060 w 49853"/>
                    <a:gd name="connsiteY15" fmla="*/ 92279 h 105725"/>
                    <a:gd name="connsiteX16" fmla="*/ 25133 w 49853"/>
                    <a:gd name="connsiteY16" fmla="*/ 92396 h 105725"/>
                    <a:gd name="connsiteX17" fmla="*/ 32022 w 49853"/>
                    <a:gd name="connsiteY17" fmla="*/ 89704 h 105725"/>
                    <a:gd name="connsiteX18" fmla="*/ 35102 w 49853"/>
                    <a:gd name="connsiteY18" fmla="*/ 82745 h 105725"/>
                    <a:gd name="connsiteX19" fmla="*/ 37068 w 49853"/>
                    <a:gd name="connsiteY19" fmla="*/ 26617 h 105725"/>
                    <a:gd name="connsiteX20" fmla="*/ 27895 w 49853"/>
                    <a:gd name="connsiteY20" fmla="*/ 13435 h 105725"/>
                    <a:gd name="connsiteX21" fmla="*/ 24828 w 49853"/>
                    <a:gd name="connsiteY21" fmla="*/ 13321 h 105725"/>
                    <a:gd name="connsiteX22" fmla="*/ 24675 w 49853"/>
                    <a:gd name="connsiteY22" fmla="*/ 13321 h 10572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</a:cxnLst>
                  <a:rect l="l" t="t" r="r" b="b"/>
                  <a:pathLst>
                    <a:path w="49853" h="105725">
                      <a:moveTo>
                        <a:pt x="25481" y="105725"/>
                      </a:moveTo>
                      <a:cubicBezTo>
                        <a:pt x="25213" y="105725"/>
                        <a:pt x="24939" y="105722"/>
                        <a:pt x="24661" y="105712"/>
                      </a:cubicBezTo>
                      <a:lnTo>
                        <a:pt x="21588" y="105595"/>
                      </a:lnTo>
                      <a:cubicBezTo>
                        <a:pt x="9242" y="105123"/>
                        <a:pt x="-436" y="94278"/>
                        <a:pt x="15" y="81417"/>
                      </a:cubicBezTo>
                      <a:lnTo>
                        <a:pt x="1758" y="26390"/>
                      </a:lnTo>
                      <a:cubicBezTo>
                        <a:pt x="1965" y="20427"/>
                        <a:pt x="4480" y="13870"/>
                        <a:pt x="8489" y="8823"/>
                      </a:cubicBezTo>
                      <a:cubicBezTo>
                        <a:pt x="13134" y="2991"/>
                        <a:pt x="19478" y="-186"/>
                        <a:pt x="25280" y="8"/>
                      </a:cubicBezTo>
                      <a:lnTo>
                        <a:pt x="28346" y="122"/>
                      </a:lnTo>
                      <a:cubicBezTo>
                        <a:pt x="41171" y="610"/>
                        <a:pt x="50270" y="14769"/>
                        <a:pt x="49839" y="27102"/>
                      </a:cubicBezTo>
                      <a:lnTo>
                        <a:pt x="47873" y="83229"/>
                      </a:lnTo>
                      <a:cubicBezTo>
                        <a:pt x="47434" y="95803"/>
                        <a:pt x="37469" y="105725"/>
                        <a:pt x="25481" y="105725"/>
                      </a:cubicBezTo>
                      <a:close/>
                      <a:moveTo>
                        <a:pt x="24675" y="13321"/>
                      </a:moveTo>
                      <a:cubicBezTo>
                        <a:pt x="22695" y="13321"/>
                        <a:pt x="20341" y="14803"/>
                        <a:pt x="18344" y="17321"/>
                      </a:cubicBezTo>
                      <a:cubicBezTo>
                        <a:pt x="16104" y="20140"/>
                        <a:pt x="14642" y="23792"/>
                        <a:pt x="14535" y="26848"/>
                      </a:cubicBezTo>
                      <a:lnTo>
                        <a:pt x="12793" y="81875"/>
                      </a:lnTo>
                      <a:cubicBezTo>
                        <a:pt x="12606" y="87420"/>
                        <a:pt x="16759" y="92078"/>
                        <a:pt x="22060" y="92279"/>
                      </a:cubicBezTo>
                      <a:lnTo>
                        <a:pt x="25133" y="92396"/>
                      </a:lnTo>
                      <a:cubicBezTo>
                        <a:pt x="27601" y="92533"/>
                        <a:pt x="30129" y="91540"/>
                        <a:pt x="32022" y="89704"/>
                      </a:cubicBezTo>
                      <a:cubicBezTo>
                        <a:pt x="33914" y="87871"/>
                        <a:pt x="35008" y="85400"/>
                        <a:pt x="35102" y="82745"/>
                      </a:cubicBezTo>
                      <a:lnTo>
                        <a:pt x="37068" y="26617"/>
                      </a:lnTo>
                      <a:cubicBezTo>
                        <a:pt x="37282" y="20514"/>
                        <a:pt x="32480" y="13616"/>
                        <a:pt x="27895" y="13435"/>
                      </a:cubicBezTo>
                      <a:lnTo>
                        <a:pt x="24828" y="13321"/>
                      </a:lnTo>
                      <a:cubicBezTo>
                        <a:pt x="24775" y="13321"/>
                        <a:pt x="24725" y="13321"/>
                        <a:pt x="24675" y="13321"/>
                      </a:cubicBezTo>
                      <a:close/>
                    </a:path>
                  </a:pathLst>
                </a:custGeom>
                <a:grpFill/>
                <a:ln w="334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GB" dirty="0"/>
                </a:p>
              </p:txBody>
            </p:sp>
            <p:sp>
              <p:nvSpPr>
                <p:cNvPr id="541" name="Freeform: Shape 742">
                  <a:extLst>
                    <a:ext uri="{FF2B5EF4-FFF2-40B4-BE49-F238E27FC236}">
                      <a16:creationId xmlns:a16="http://schemas.microsoft.com/office/drawing/2014/main" id="{C1340E29-8CCB-9928-765B-0BB1D0C6A175}"/>
                    </a:ext>
                  </a:extLst>
                </p:cNvPr>
                <p:cNvSpPr/>
                <p:nvPr/>
              </p:nvSpPr>
              <p:spPr>
                <a:xfrm>
                  <a:off x="2875403" y="1985001"/>
                  <a:ext cx="53418" cy="96799"/>
                </a:xfrm>
                <a:custGeom>
                  <a:avLst/>
                  <a:gdLst>
                    <a:gd name="connsiteX0" fmla="*/ 29684 w 53418"/>
                    <a:gd name="connsiteY0" fmla="*/ 96800 h 96799"/>
                    <a:gd name="connsiteX1" fmla="*/ 17946 w 53418"/>
                    <a:gd name="connsiteY1" fmla="*/ 93014 h 96799"/>
                    <a:gd name="connsiteX2" fmla="*/ 9118 w 53418"/>
                    <a:gd name="connsiteY2" fmla="*/ 79069 h 96799"/>
                    <a:gd name="connsiteX3" fmla="*/ 413 w 53418"/>
                    <a:gd name="connsiteY3" fmla="*/ 29436 h 96799"/>
                    <a:gd name="connsiteX4" fmla="*/ 16060 w 53418"/>
                    <a:gd name="connsiteY4" fmla="*/ 844 h 96799"/>
                    <a:gd name="connsiteX5" fmla="*/ 18802 w 53418"/>
                    <a:gd name="connsiteY5" fmla="*/ 296 h 96799"/>
                    <a:gd name="connsiteX6" fmla="*/ 35643 w 53418"/>
                    <a:gd name="connsiteY6" fmla="*/ 6044 h 96799"/>
                    <a:gd name="connsiteX7" fmla="*/ 44267 w 53418"/>
                    <a:gd name="connsiteY7" fmla="*/ 21260 h 96799"/>
                    <a:gd name="connsiteX8" fmla="*/ 53046 w 53418"/>
                    <a:gd name="connsiteY8" fmla="*/ 70335 h 96799"/>
                    <a:gd name="connsiteX9" fmla="*/ 36399 w 53418"/>
                    <a:gd name="connsiteY9" fmla="*/ 95857 h 96799"/>
                    <a:gd name="connsiteX10" fmla="*/ 33647 w 53418"/>
                    <a:gd name="connsiteY10" fmla="*/ 96405 h 96799"/>
                    <a:gd name="connsiteX11" fmla="*/ 29684 w 53418"/>
                    <a:gd name="connsiteY11" fmla="*/ 96800 h 96799"/>
                    <a:gd name="connsiteX12" fmla="*/ 21210 w 53418"/>
                    <a:gd name="connsiteY12" fmla="*/ 13371 h 96799"/>
                    <a:gd name="connsiteX13" fmla="*/ 18475 w 53418"/>
                    <a:gd name="connsiteY13" fmla="*/ 13920 h 96799"/>
                    <a:gd name="connsiteX14" fmla="*/ 12980 w 53418"/>
                    <a:gd name="connsiteY14" fmla="*/ 26985 h 96799"/>
                    <a:gd name="connsiteX15" fmla="*/ 21685 w 53418"/>
                    <a:gd name="connsiteY15" fmla="*/ 76618 h 96799"/>
                    <a:gd name="connsiteX16" fmla="*/ 25126 w 53418"/>
                    <a:gd name="connsiteY16" fmla="*/ 81992 h 96799"/>
                    <a:gd name="connsiteX17" fmla="*/ 31239 w 53418"/>
                    <a:gd name="connsiteY17" fmla="*/ 83323 h 96799"/>
                    <a:gd name="connsiteX18" fmla="*/ 33991 w 53418"/>
                    <a:gd name="connsiteY18" fmla="*/ 82775 h 96799"/>
                    <a:gd name="connsiteX19" fmla="*/ 40472 w 53418"/>
                    <a:gd name="connsiteY19" fmla="*/ 72806 h 96799"/>
                    <a:gd name="connsiteX20" fmla="*/ 31694 w 53418"/>
                    <a:gd name="connsiteY20" fmla="*/ 23731 h 96799"/>
                    <a:gd name="connsiteX21" fmla="*/ 27122 w 53418"/>
                    <a:gd name="connsiteY21" fmla="*/ 15980 h 96799"/>
                    <a:gd name="connsiteX22" fmla="*/ 21210 w 53418"/>
                    <a:gd name="connsiteY22" fmla="*/ 13371 h 96799"/>
                    <a:gd name="connsiteX23" fmla="*/ 21210 w 53418"/>
                    <a:gd name="connsiteY23" fmla="*/ 13371 h 9679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</a:cxnLst>
                  <a:rect l="l" t="t" r="r" b="b"/>
                  <a:pathLst>
                    <a:path w="53418" h="96799">
                      <a:moveTo>
                        <a:pt x="29684" y="96800"/>
                      </a:moveTo>
                      <a:cubicBezTo>
                        <a:pt x="25531" y="96800"/>
                        <a:pt x="21474" y="95506"/>
                        <a:pt x="17946" y="93014"/>
                      </a:cubicBezTo>
                      <a:cubicBezTo>
                        <a:pt x="13301" y="89737"/>
                        <a:pt x="10164" y="84781"/>
                        <a:pt x="9118" y="79069"/>
                      </a:cubicBezTo>
                      <a:lnTo>
                        <a:pt x="413" y="29436"/>
                      </a:lnTo>
                      <a:cubicBezTo>
                        <a:pt x="-1717" y="17869"/>
                        <a:pt x="4523" y="3145"/>
                        <a:pt x="16060" y="844"/>
                      </a:cubicBezTo>
                      <a:lnTo>
                        <a:pt x="18802" y="296"/>
                      </a:lnTo>
                      <a:cubicBezTo>
                        <a:pt x="24417" y="-828"/>
                        <a:pt x="30523" y="1282"/>
                        <a:pt x="35643" y="6044"/>
                      </a:cubicBezTo>
                      <a:cubicBezTo>
                        <a:pt x="40044" y="10138"/>
                        <a:pt x="43268" y="15826"/>
                        <a:pt x="44267" y="21260"/>
                      </a:cubicBezTo>
                      <a:lnTo>
                        <a:pt x="53046" y="70335"/>
                      </a:lnTo>
                      <a:cubicBezTo>
                        <a:pt x="55206" y="82123"/>
                        <a:pt x="47745" y="93586"/>
                        <a:pt x="36399" y="95857"/>
                      </a:cubicBezTo>
                      <a:lnTo>
                        <a:pt x="33647" y="96405"/>
                      </a:lnTo>
                      <a:cubicBezTo>
                        <a:pt x="32326" y="96669"/>
                        <a:pt x="30995" y="96800"/>
                        <a:pt x="29684" y="96800"/>
                      </a:cubicBezTo>
                      <a:close/>
                      <a:moveTo>
                        <a:pt x="21210" y="13371"/>
                      </a:moveTo>
                      <a:lnTo>
                        <a:pt x="18475" y="13920"/>
                      </a:lnTo>
                      <a:cubicBezTo>
                        <a:pt x="14910" y="14632"/>
                        <a:pt x="11987" y="21588"/>
                        <a:pt x="12980" y="26985"/>
                      </a:cubicBezTo>
                      <a:lnTo>
                        <a:pt x="21685" y="76618"/>
                      </a:lnTo>
                      <a:cubicBezTo>
                        <a:pt x="22086" y="78782"/>
                        <a:pt x="23307" y="80705"/>
                        <a:pt x="25126" y="81992"/>
                      </a:cubicBezTo>
                      <a:cubicBezTo>
                        <a:pt x="26942" y="83273"/>
                        <a:pt x="29135" y="83738"/>
                        <a:pt x="31239" y="83323"/>
                      </a:cubicBezTo>
                      <a:lnTo>
                        <a:pt x="33991" y="82775"/>
                      </a:lnTo>
                      <a:cubicBezTo>
                        <a:pt x="38412" y="81892"/>
                        <a:pt x="41321" y="77417"/>
                        <a:pt x="40472" y="72806"/>
                      </a:cubicBezTo>
                      <a:lnTo>
                        <a:pt x="31694" y="23731"/>
                      </a:lnTo>
                      <a:cubicBezTo>
                        <a:pt x="31226" y="21183"/>
                        <a:pt x="29426" y="18123"/>
                        <a:pt x="27122" y="15980"/>
                      </a:cubicBezTo>
                      <a:cubicBezTo>
                        <a:pt x="25026" y="14023"/>
                        <a:pt x="22795" y="13070"/>
                        <a:pt x="21210" y="13371"/>
                      </a:cubicBezTo>
                      <a:lnTo>
                        <a:pt x="21210" y="13371"/>
                      </a:lnTo>
                      <a:close/>
                    </a:path>
                  </a:pathLst>
                </a:custGeom>
                <a:grpFill/>
                <a:ln w="334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GB" dirty="0"/>
                </a:p>
              </p:txBody>
            </p:sp>
            <p:sp>
              <p:nvSpPr>
                <p:cNvPr id="542" name="Freeform: Shape 743">
                  <a:extLst>
                    <a:ext uri="{FF2B5EF4-FFF2-40B4-BE49-F238E27FC236}">
                      <a16:creationId xmlns:a16="http://schemas.microsoft.com/office/drawing/2014/main" id="{550903CE-017B-DBCA-EF9A-1090CD2F71CC}"/>
                    </a:ext>
                  </a:extLst>
                </p:cNvPr>
                <p:cNvSpPr/>
                <p:nvPr/>
              </p:nvSpPr>
              <p:spPr>
                <a:xfrm>
                  <a:off x="2834683" y="1997698"/>
                  <a:ext cx="62330" cy="94543"/>
                </a:xfrm>
                <a:custGeom>
                  <a:avLst/>
                  <a:gdLst>
                    <a:gd name="connsiteX0" fmla="*/ 38782 w 62330"/>
                    <a:gd name="connsiteY0" fmla="*/ 94543 h 94543"/>
                    <a:gd name="connsiteX1" fmla="*/ 30184 w 62330"/>
                    <a:gd name="connsiteY1" fmla="*/ 92610 h 94543"/>
                    <a:gd name="connsiteX2" fmla="*/ 19169 w 62330"/>
                    <a:gd name="connsiteY2" fmla="*/ 80471 h 94543"/>
                    <a:gd name="connsiteX3" fmla="*/ 1442 w 62330"/>
                    <a:gd name="connsiteY3" fmla="*/ 31691 h 94543"/>
                    <a:gd name="connsiteX4" fmla="*/ 1465 w 62330"/>
                    <a:gd name="connsiteY4" fmla="*/ 14740 h 94543"/>
                    <a:gd name="connsiteX5" fmla="*/ 12992 w 62330"/>
                    <a:gd name="connsiteY5" fmla="*/ 2166 h 94543"/>
                    <a:gd name="connsiteX6" fmla="*/ 15604 w 62330"/>
                    <a:gd name="connsiteY6" fmla="*/ 1133 h 94543"/>
                    <a:gd name="connsiteX7" fmla="*/ 43771 w 62330"/>
                    <a:gd name="connsiteY7" fmla="*/ 17117 h 94543"/>
                    <a:gd name="connsiteX8" fmla="*/ 60956 w 62330"/>
                    <a:gd name="connsiteY8" fmla="*/ 63891 h 94543"/>
                    <a:gd name="connsiteX9" fmla="*/ 48824 w 62330"/>
                    <a:gd name="connsiteY9" fmla="*/ 92078 h 94543"/>
                    <a:gd name="connsiteX10" fmla="*/ 46212 w 62330"/>
                    <a:gd name="connsiteY10" fmla="*/ 93112 h 94543"/>
                    <a:gd name="connsiteX11" fmla="*/ 38782 w 62330"/>
                    <a:gd name="connsiteY11" fmla="*/ 94543 h 94543"/>
                    <a:gd name="connsiteX12" fmla="*/ 21553 w 62330"/>
                    <a:gd name="connsiteY12" fmla="*/ 13335 h 94543"/>
                    <a:gd name="connsiteX13" fmla="*/ 20149 w 62330"/>
                    <a:gd name="connsiteY13" fmla="*/ 13586 h 94543"/>
                    <a:gd name="connsiteX14" fmla="*/ 17537 w 62330"/>
                    <a:gd name="connsiteY14" fmla="*/ 14619 h 94543"/>
                    <a:gd name="connsiteX15" fmla="*/ 13460 w 62330"/>
                    <a:gd name="connsiteY15" fmla="*/ 19365 h 94543"/>
                    <a:gd name="connsiteX16" fmla="*/ 13397 w 62330"/>
                    <a:gd name="connsiteY16" fmla="*/ 26966 h 94543"/>
                    <a:gd name="connsiteX17" fmla="*/ 31124 w 62330"/>
                    <a:gd name="connsiteY17" fmla="*/ 75749 h 94543"/>
                    <a:gd name="connsiteX18" fmla="*/ 35421 w 62330"/>
                    <a:gd name="connsiteY18" fmla="*/ 80461 h 94543"/>
                    <a:gd name="connsiteX19" fmla="*/ 41664 w 62330"/>
                    <a:gd name="connsiteY19" fmla="*/ 80665 h 94543"/>
                    <a:gd name="connsiteX20" fmla="*/ 44276 w 62330"/>
                    <a:gd name="connsiteY20" fmla="*/ 79632 h 94543"/>
                    <a:gd name="connsiteX21" fmla="*/ 49008 w 62330"/>
                    <a:gd name="connsiteY21" fmla="*/ 68643 h 94543"/>
                    <a:gd name="connsiteX22" fmla="*/ 31823 w 62330"/>
                    <a:gd name="connsiteY22" fmla="*/ 21873 h 94543"/>
                    <a:gd name="connsiteX23" fmla="*/ 21553 w 62330"/>
                    <a:gd name="connsiteY23" fmla="*/ 13335 h 94543"/>
                    <a:gd name="connsiteX24" fmla="*/ 17878 w 62330"/>
                    <a:gd name="connsiteY24" fmla="*/ 7359 h 94543"/>
                    <a:gd name="connsiteX25" fmla="*/ 17941 w 62330"/>
                    <a:gd name="connsiteY25" fmla="*/ 7359 h 94543"/>
                    <a:gd name="connsiteX26" fmla="*/ 17878 w 62330"/>
                    <a:gd name="connsiteY26" fmla="*/ 7359 h 9454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</a:cxnLst>
                  <a:rect l="l" t="t" r="r" b="b"/>
                  <a:pathLst>
                    <a:path w="62330" h="94543">
                      <a:moveTo>
                        <a:pt x="38782" y="94543"/>
                      </a:moveTo>
                      <a:cubicBezTo>
                        <a:pt x="35859" y="94543"/>
                        <a:pt x="32936" y="93898"/>
                        <a:pt x="30184" y="92610"/>
                      </a:cubicBezTo>
                      <a:cubicBezTo>
                        <a:pt x="25064" y="90216"/>
                        <a:pt x="21155" y="85905"/>
                        <a:pt x="19169" y="80471"/>
                      </a:cubicBezTo>
                      <a:lnTo>
                        <a:pt x="1442" y="31691"/>
                      </a:lnTo>
                      <a:cubicBezTo>
                        <a:pt x="-488" y="26411"/>
                        <a:pt x="-481" y="20227"/>
                        <a:pt x="1465" y="14740"/>
                      </a:cubicBezTo>
                      <a:cubicBezTo>
                        <a:pt x="3569" y="8817"/>
                        <a:pt x="7772" y="4236"/>
                        <a:pt x="12992" y="2166"/>
                      </a:cubicBezTo>
                      <a:lnTo>
                        <a:pt x="15604" y="1133"/>
                      </a:lnTo>
                      <a:cubicBezTo>
                        <a:pt x="26736" y="-3292"/>
                        <a:pt x="39675" y="5918"/>
                        <a:pt x="43771" y="17117"/>
                      </a:cubicBezTo>
                      <a:lnTo>
                        <a:pt x="60956" y="63891"/>
                      </a:lnTo>
                      <a:cubicBezTo>
                        <a:pt x="65073" y="75157"/>
                        <a:pt x="59626" y="87795"/>
                        <a:pt x="48824" y="92078"/>
                      </a:cubicBezTo>
                      <a:lnTo>
                        <a:pt x="46212" y="93112"/>
                      </a:lnTo>
                      <a:cubicBezTo>
                        <a:pt x="43801" y="94068"/>
                        <a:pt x="41293" y="94543"/>
                        <a:pt x="38782" y="94543"/>
                      </a:cubicBezTo>
                      <a:close/>
                      <a:moveTo>
                        <a:pt x="21553" y="13335"/>
                      </a:moveTo>
                      <a:cubicBezTo>
                        <a:pt x="21048" y="13335"/>
                        <a:pt x="20580" y="13415"/>
                        <a:pt x="20149" y="13586"/>
                      </a:cubicBezTo>
                      <a:lnTo>
                        <a:pt x="17537" y="14619"/>
                      </a:lnTo>
                      <a:cubicBezTo>
                        <a:pt x="15112" y="15579"/>
                        <a:pt x="13939" y="18003"/>
                        <a:pt x="13460" y="19365"/>
                      </a:cubicBezTo>
                      <a:cubicBezTo>
                        <a:pt x="12587" y="21832"/>
                        <a:pt x="12561" y="24675"/>
                        <a:pt x="13397" y="26966"/>
                      </a:cubicBezTo>
                      <a:lnTo>
                        <a:pt x="31124" y="75749"/>
                      </a:lnTo>
                      <a:cubicBezTo>
                        <a:pt x="31886" y="77846"/>
                        <a:pt x="33415" y="79525"/>
                        <a:pt x="35421" y="80461"/>
                      </a:cubicBezTo>
                      <a:cubicBezTo>
                        <a:pt x="37424" y="81394"/>
                        <a:pt x="39641" y="81471"/>
                        <a:pt x="41664" y="80665"/>
                      </a:cubicBezTo>
                      <a:lnTo>
                        <a:pt x="44276" y="79632"/>
                      </a:lnTo>
                      <a:cubicBezTo>
                        <a:pt x="48483" y="77960"/>
                        <a:pt x="50607" y="73031"/>
                        <a:pt x="49008" y="68643"/>
                      </a:cubicBezTo>
                      <a:lnTo>
                        <a:pt x="31823" y="21873"/>
                      </a:lnTo>
                      <a:cubicBezTo>
                        <a:pt x="30164" y="17341"/>
                        <a:pt x="25108" y="13335"/>
                        <a:pt x="21553" y="13335"/>
                      </a:cubicBezTo>
                      <a:close/>
                      <a:moveTo>
                        <a:pt x="17878" y="7359"/>
                      </a:moveTo>
                      <a:lnTo>
                        <a:pt x="17941" y="7359"/>
                      </a:lnTo>
                      <a:lnTo>
                        <a:pt x="17878" y="7359"/>
                      </a:lnTo>
                      <a:close/>
                    </a:path>
                  </a:pathLst>
                </a:custGeom>
                <a:grpFill/>
                <a:ln w="334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GB" dirty="0"/>
                </a:p>
              </p:txBody>
            </p:sp>
            <p:sp>
              <p:nvSpPr>
                <p:cNvPr id="543" name="Freeform: Shape 744">
                  <a:extLst>
                    <a:ext uri="{FF2B5EF4-FFF2-40B4-BE49-F238E27FC236}">
                      <a16:creationId xmlns:a16="http://schemas.microsoft.com/office/drawing/2014/main" id="{EB2E2804-8BE6-A1B7-BCAC-FF876A148D02}"/>
                    </a:ext>
                  </a:extLst>
                </p:cNvPr>
                <p:cNvSpPr/>
                <p:nvPr/>
              </p:nvSpPr>
              <p:spPr>
                <a:xfrm>
                  <a:off x="2868313" y="1909560"/>
                  <a:ext cx="148038" cy="118842"/>
                </a:xfrm>
                <a:custGeom>
                  <a:avLst/>
                  <a:gdLst>
                    <a:gd name="connsiteX0" fmla="*/ 121513 w 148038"/>
                    <a:gd name="connsiteY0" fmla="*/ 118842 h 118842"/>
                    <a:gd name="connsiteX1" fmla="*/ 114383 w 148038"/>
                    <a:gd name="connsiteY1" fmla="*/ 117006 h 118842"/>
                    <a:gd name="connsiteX2" fmla="*/ 103030 w 148038"/>
                    <a:gd name="connsiteY2" fmla="*/ 106844 h 118842"/>
                    <a:gd name="connsiteX3" fmla="*/ 107507 w 148038"/>
                    <a:gd name="connsiteY3" fmla="*/ 65357 h 118842"/>
                    <a:gd name="connsiteX4" fmla="*/ 116537 w 148038"/>
                    <a:gd name="connsiteY4" fmla="*/ 64875 h 118842"/>
                    <a:gd name="connsiteX5" fmla="*/ 117011 w 148038"/>
                    <a:gd name="connsiteY5" fmla="*/ 74269 h 118842"/>
                    <a:gd name="connsiteX6" fmla="*/ 112985 w 148038"/>
                    <a:gd name="connsiteY6" fmla="*/ 98497 h 118842"/>
                    <a:gd name="connsiteX7" fmla="*/ 120396 w 148038"/>
                    <a:gd name="connsiteY7" fmla="*/ 105255 h 118842"/>
                    <a:gd name="connsiteX8" fmla="*/ 128569 w 148038"/>
                    <a:gd name="connsiteY8" fmla="*/ 101333 h 118842"/>
                    <a:gd name="connsiteX9" fmla="*/ 132558 w 148038"/>
                    <a:gd name="connsiteY9" fmla="*/ 73787 h 118842"/>
                    <a:gd name="connsiteX10" fmla="*/ 131796 w 148038"/>
                    <a:gd name="connsiteY10" fmla="*/ 72353 h 118842"/>
                    <a:gd name="connsiteX11" fmla="*/ 120576 w 148038"/>
                    <a:gd name="connsiteY11" fmla="*/ 57906 h 118842"/>
                    <a:gd name="connsiteX12" fmla="*/ 103866 w 148038"/>
                    <a:gd name="connsiteY12" fmla="*/ 38153 h 118842"/>
                    <a:gd name="connsiteX13" fmla="*/ 41455 w 148038"/>
                    <a:gd name="connsiteY13" fmla="*/ 15189 h 118842"/>
                    <a:gd name="connsiteX14" fmla="*/ 10479 w 148038"/>
                    <a:gd name="connsiteY14" fmla="*/ 30792 h 118842"/>
                    <a:gd name="connsiteX15" fmla="*/ 1473 w 148038"/>
                    <a:gd name="connsiteY15" fmla="*/ 29919 h 118842"/>
                    <a:gd name="connsiteX16" fmla="*/ 2309 w 148038"/>
                    <a:gd name="connsiteY16" fmla="*/ 20539 h 118842"/>
                    <a:gd name="connsiteX17" fmla="*/ 113507 w 148038"/>
                    <a:gd name="connsiteY17" fmla="*/ 29394 h 118842"/>
                    <a:gd name="connsiteX18" fmla="*/ 130110 w 148038"/>
                    <a:gd name="connsiteY18" fmla="*/ 49028 h 118842"/>
                    <a:gd name="connsiteX19" fmla="*/ 143005 w 148038"/>
                    <a:gd name="connsiteY19" fmla="*/ 65945 h 118842"/>
                    <a:gd name="connsiteX20" fmla="*/ 143687 w 148038"/>
                    <a:gd name="connsiteY20" fmla="*/ 67223 h 118842"/>
                    <a:gd name="connsiteX21" fmla="*/ 137725 w 148038"/>
                    <a:gd name="connsiteY21" fmla="*/ 110626 h 118842"/>
                    <a:gd name="connsiteX22" fmla="*/ 121513 w 148038"/>
                    <a:gd name="connsiteY22" fmla="*/ 118842 h 11884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</a:cxnLst>
                  <a:rect l="l" t="t" r="r" b="b"/>
                  <a:pathLst>
                    <a:path w="148038" h="118842">
                      <a:moveTo>
                        <a:pt x="121513" y="118842"/>
                      </a:moveTo>
                      <a:cubicBezTo>
                        <a:pt x="119021" y="118842"/>
                        <a:pt x="116610" y="118240"/>
                        <a:pt x="114383" y="117006"/>
                      </a:cubicBezTo>
                      <a:cubicBezTo>
                        <a:pt x="108996" y="114017"/>
                        <a:pt x="103625" y="107573"/>
                        <a:pt x="103030" y="106844"/>
                      </a:cubicBezTo>
                      <a:cubicBezTo>
                        <a:pt x="91610" y="91167"/>
                        <a:pt x="100987" y="72874"/>
                        <a:pt x="107507" y="65357"/>
                      </a:cubicBezTo>
                      <a:cubicBezTo>
                        <a:pt x="109875" y="62615"/>
                        <a:pt x="113922" y="62411"/>
                        <a:pt x="116537" y="64875"/>
                      </a:cubicBezTo>
                      <a:cubicBezTo>
                        <a:pt x="119152" y="67333"/>
                        <a:pt x="119366" y="71537"/>
                        <a:pt x="117011" y="74269"/>
                      </a:cubicBezTo>
                      <a:cubicBezTo>
                        <a:pt x="116506" y="74861"/>
                        <a:pt x="105421" y="88097"/>
                        <a:pt x="112985" y="98497"/>
                      </a:cubicBezTo>
                      <a:cubicBezTo>
                        <a:pt x="114403" y="100196"/>
                        <a:pt x="117944" y="103887"/>
                        <a:pt x="120396" y="105255"/>
                      </a:cubicBezTo>
                      <a:cubicBezTo>
                        <a:pt x="121850" y="106038"/>
                        <a:pt x="125191" y="104944"/>
                        <a:pt x="128569" y="101333"/>
                      </a:cubicBezTo>
                      <a:cubicBezTo>
                        <a:pt x="134344" y="95156"/>
                        <a:pt x="138059" y="83903"/>
                        <a:pt x="132558" y="73787"/>
                      </a:cubicBezTo>
                      <a:lnTo>
                        <a:pt x="131796" y="72353"/>
                      </a:lnTo>
                      <a:cubicBezTo>
                        <a:pt x="130398" y="69694"/>
                        <a:pt x="129923" y="68801"/>
                        <a:pt x="120576" y="57906"/>
                      </a:cubicBezTo>
                      <a:cubicBezTo>
                        <a:pt x="116506" y="53164"/>
                        <a:pt x="111129" y="46824"/>
                        <a:pt x="103866" y="38153"/>
                      </a:cubicBezTo>
                      <a:cubicBezTo>
                        <a:pt x="86102" y="16938"/>
                        <a:pt x="65088" y="9220"/>
                        <a:pt x="41455" y="15189"/>
                      </a:cubicBezTo>
                      <a:cubicBezTo>
                        <a:pt x="23390" y="19747"/>
                        <a:pt x="10609" y="30682"/>
                        <a:pt x="10479" y="30792"/>
                      </a:cubicBezTo>
                      <a:cubicBezTo>
                        <a:pt x="7757" y="33136"/>
                        <a:pt x="3727" y="32745"/>
                        <a:pt x="1473" y="29919"/>
                      </a:cubicBezTo>
                      <a:cubicBezTo>
                        <a:pt x="-781" y="27090"/>
                        <a:pt x="-406" y="22890"/>
                        <a:pt x="2309" y="20539"/>
                      </a:cubicBezTo>
                      <a:cubicBezTo>
                        <a:pt x="2901" y="20021"/>
                        <a:pt x="63085" y="-30803"/>
                        <a:pt x="113507" y="29394"/>
                      </a:cubicBezTo>
                      <a:cubicBezTo>
                        <a:pt x="120720" y="38012"/>
                        <a:pt x="126071" y="44316"/>
                        <a:pt x="130110" y="49028"/>
                      </a:cubicBezTo>
                      <a:cubicBezTo>
                        <a:pt x="140026" y="60578"/>
                        <a:pt x="140969" y="62070"/>
                        <a:pt x="143005" y="65945"/>
                      </a:cubicBezTo>
                      <a:lnTo>
                        <a:pt x="143687" y="67223"/>
                      </a:lnTo>
                      <a:cubicBezTo>
                        <a:pt x="152435" y="83315"/>
                        <a:pt x="146727" y="101001"/>
                        <a:pt x="137725" y="110626"/>
                      </a:cubicBezTo>
                      <a:cubicBezTo>
                        <a:pt x="132699" y="116003"/>
                        <a:pt x="126923" y="118842"/>
                        <a:pt x="121513" y="118842"/>
                      </a:cubicBezTo>
                      <a:close/>
                    </a:path>
                  </a:pathLst>
                </a:custGeom>
                <a:grpFill/>
                <a:ln w="334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GB" dirty="0"/>
                </a:p>
              </p:txBody>
            </p:sp>
          </p:grpSp>
          <p:grpSp>
            <p:nvGrpSpPr>
              <p:cNvPr id="529" name="Graphic 24">
                <a:extLst>
                  <a:ext uri="{FF2B5EF4-FFF2-40B4-BE49-F238E27FC236}">
                    <a16:creationId xmlns:a16="http://schemas.microsoft.com/office/drawing/2014/main" id="{7777A45E-5BD0-3D8F-D298-B0FCA5C9D006}"/>
                  </a:ext>
                </a:extLst>
              </p:cNvPr>
              <p:cNvGrpSpPr/>
              <p:nvPr/>
            </p:nvGrpSpPr>
            <p:grpSpPr>
              <a:xfrm>
                <a:off x="2542883" y="1909551"/>
                <a:ext cx="220824" cy="183897"/>
                <a:chOff x="2542883" y="1909551"/>
                <a:chExt cx="220824" cy="183897"/>
              </a:xfrm>
              <a:grpFill/>
            </p:grpSpPr>
            <p:sp>
              <p:nvSpPr>
                <p:cNvPr id="530" name="Freeform: Shape 731">
                  <a:extLst>
                    <a:ext uri="{FF2B5EF4-FFF2-40B4-BE49-F238E27FC236}">
                      <a16:creationId xmlns:a16="http://schemas.microsoft.com/office/drawing/2014/main" id="{AD797938-976A-C424-52BD-0F7F010E25DE}"/>
                    </a:ext>
                  </a:extLst>
                </p:cNvPr>
                <p:cNvSpPr/>
                <p:nvPr/>
              </p:nvSpPr>
              <p:spPr>
                <a:xfrm>
                  <a:off x="2663516" y="1917975"/>
                  <a:ext cx="100192" cy="108901"/>
                </a:xfrm>
                <a:custGeom>
                  <a:avLst/>
                  <a:gdLst>
                    <a:gd name="connsiteX0" fmla="*/ 89585 w 100192"/>
                    <a:gd name="connsiteY0" fmla="*/ 108902 h 108901"/>
                    <a:gd name="connsiteX1" fmla="*/ 88030 w 100192"/>
                    <a:gd name="connsiteY1" fmla="*/ 108704 h 108901"/>
                    <a:gd name="connsiteX2" fmla="*/ 83372 w 100192"/>
                    <a:gd name="connsiteY2" fmla="*/ 100632 h 108901"/>
                    <a:gd name="connsiteX3" fmla="*/ 75329 w 100192"/>
                    <a:gd name="connsiteY3" fmla="*/ 32503 h 108901"/>
                    <a:gd name="connsiteX4" fmla="*/ 7354 w 100192"/>
                    <a:gd name="connsiteY4" fmla="*/ 14287 h 108901"/>
                    <a:gd name="connsiteX5" fmla="*/ 74 w 100192"/>
                    <a:gd name="connsiteY5" fmla="*/ 8706 h 108901"/>
                    <a:gd name="connsiteX6" fmla="*/ 5425 w 100192"/>
                    <a:gd name="connsiteY6" fmla="*/ 1118 h 108901"/>
                    <a:gd name="connsiteX7" fmla="*/ 84746 w 100192"/>
                    <a:gd name="connsiteY7" fmla="*/ 23490 h 108901"/>
                    <a:gd name="connsiteX8" fmla="*/ 95785 w 100192"/>
                    <a:gd name="connsiteY8" fmla="*/ 103852 h 108901"/>
                    <a:gd name="connsiteX9" fmla="*/ 89585 w 100192"/>
                    <a:gd name="connsiteY9" fmla="*/ 108902 h 10890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100192" h="108901">
                      <a:moveTo>
                        <a:pt x="89585" y="108902"/>
                      </a:moveTo>
                      <a:cubicBezTo>
                        <a:pt x="89074" y="108902"/>
                        <a:pt x="88549" y="108842"/>
                        <a:pt x="88030" y="108704"/>
                      </a:cubicBezTo>
                      <a:cubicBezTo>
                        <a:pt x="84609" y="107815"/>
                        <a:pt x="82523" y="104200"/>
                        <a:pt x="83372" y="100632"/>
                      </a:cubicBezTo>
                      <a:cubicBezTo>
                        <a:pt x="90722" y="69940"/>
                        <a:pt x="88010" y="47019"/>
                        <a:pt x="75329" y="32503"/>
                      </a:cubicBezTo>
                      <a:cubicBezTo>
                        <a:pt x="53369" y="7365"/>
                        <a:pt x="7816" y="14224"/>
                        <a:pt x="7354" y="14287"/>
                      </a:cubicBezTo>
                      <a:cubicBezTo>
                        <a:pt x="3849" y="14812"/>
                        <a:pt x="609" y="12334"/>
                        <a:pt x="74" y="8706"/>
                      </a:cubicBezTo>
                      <a:cubicBezTo>
                        <a:pt x="-458" y="5071"/>
                        <a:pt x="1933" y="1673"/>
                        <a:pt x="5425" y="1118"/>
                      </a:cubicBezTo>
                      <a:cubicBezTo>
                        <a:pt x="7548" y="767"/>
                        <a:pt x="58121" y="-6924"/>
                        <a:pt x="84746" y="23490"/>
                      </a:cubicBezTo>
                      <a:cubicBezTo>
                        <a:pt x="100521" y="41508"/>
                        <a:pt x="104236" y="68542"/>
                        <a:pt x="95785" y="103852"/>
                      </a:cubicBezTo>
                      <a:cubicBezTo>
                        <a:pt x="95063" y="106882"/>
                        <a:pt x="92451" y="108902"/>
                        <a:pt x="89585" y="108902"/>
                      </a:cubicBezTo>
                      <a:close/>
                    </a:path>
                  </a:pathLst>
                </a:custGeom>
                <a:grpFill/>
                <a:ln w="334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GB" dirty="0"/>
                </a:p>
              </p:txBody>
            </p:sp>
            <p:sp>
              <p:nvSpPr>
                <p:cNvPr id="531" name="Freeform: Shape 732">
                  <a:extLst>
                    <a:ext uri="{FF2B5EF4-FFF2-40B4-BE49-F238E27FC236}">
                      <a16:creationId xmlns:a16="http://schemas.microsoft.com/office/drawing/2014/main" id="{6950BF39-A867-3BD0-C0F5-B2DD9679151C}"/>
                    </a:ext>
                  </a:extLst>
                </p:cNvPr>
                <p:cNvSpPr/>
                <p:nvPr/>
              </p:nvSpPr>
              <p:spPr>
                <a:xfrm>
                  <a:off x="2581878" y="1982192"/>
                  <a:ext cx="24130" cy="23560"/>
                </a:xfrm>
                <a:custGeom>
                  <a:avLst/>
                  <a:gdLst>
                    <a:gd name="connsiteX0" fmla="*/ 6399 w 24130"/>
                    <a:gd name="connsiteY0" fmla="*/ 23561 h 23560"/>
                    <a:gd name="connsiteX1" fmla="*/ 1249 w 24130"/>
                    <a:gd name="connsiteY1" fmla="*/ 20859 h 23560"/>
                    <a:gd name="connsiteX2" fmla="*/ 2597 w 24130"/>
                    <a:gd name="connsiteY2" fmla="*/ 11545 h 23560"/>
                    <a:gd name="connsiteX3" fmla="*/ 12970 w 24130"/>
                    <a:gd name="connsiteY3" fmla="*/ 2215 h 23560"/>
                    <a:gd name="connsiteX4" fmla="*/ 21993 w 24130"/>
                    <a:gd name="connsiteY4" fmla="*/ 1690 h 23560"/>
                    <a:gd name="connsiteX5" fmla="*/ 22524 w 24130"/>
                    <a:gd name="connsiteY5" fmla="*/ 11074 h 23560"/>
                    <a:gd name="connsiteX6" fmla="*/ 10191 w 24130"/>
                    <a:gd name="connsiteY6" fmla="*/ 22257 h 23560"/>
                    <a:gd name="connsiteX7" fmla="*/ 6399 w 24130"/>
                    <a:gd name="connsiteY7" fmla="*/ 23561 h 2356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24130" h="23560">
                      <a:moveTo>
                        <a:pt x="6399" y="23561"/>
                      </a:moveTo>
                      <a:cubicBezTo>
                        <a:pt x="4439" y="23561"/>
                        <a:pt x="2503" y="22628"/>
                        <a:pt x="1249" y="20859"/>
                      </a:cubicBezTo>
                      <a:cubicBezTo>
                        <a:pt x="-848" y="17899"/>
                        <a:pt x="-242" y="13729"/>
                        <a:pt x="2597" y="11545"/>
                      </a:cubicBezTo>
                      <a:cubicBezTo>
                        <a:pt x="9442" y="6279"/>
                        <a:pt x="12937" y="2256"/>
                        <a:pt x="12970" y="2215"/>
                      </a:cubicBezTo>
                      <a:cubicBezTo>
                        <a:pt x="15331" y="-520"/>
                        <a:pt x="19364" y="-754"/>
                        <a:pt x="21993" y="1690"/>
                      </a:cubicBezTo>
                      <a:cubicBezTo>
                        <a:pt x="24621" y="4135"/>
                        <a:pt x="24858" y="8328"/>
                        <a:pt x="22524" y="11074"/>
                      </a:cubicBezTo>
                      <a:cubicBezTo>
                        <a:pt x="22350" y="11275"/>
                        <a:pt x="18217" y="16090"/>
                        <a:pt x="10191" y="22257"/>
                      </a:cubicBezTo>
                      <a:cubicBezTo>
                        <a:pt x="9048" y="23139"/>
                        <a:pt x="7717" y="23561"/>
                        <a:pt x="6399" y="23561"/>
                      </a:cubicBezTo>
                      <a:close/>
                    </a:path>
                  </a:pathLst>
                </a:custGeom>
                <a:grpFill/>
                <a:ln w="334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GB" dirty="0"/>
                </a:p>
              </p:txBody>
            </p:sp>
            <p:sp>
              <p:nvSpPr>
                <p:cNvPr id="532" name="Freeform: Shape 733">
                  <a:extLst>
                    <a:ext uri="{FF2B5EF4-FFF2-40B4-BE49-F238E27FC236}">
                      <a16:creationId xmlns:a16="http://schemas.microsoft.com/office/drawing/2014/main" id="{BA6BE78A-56E3-6A0F-AF69-9C72D3985558}"/>
                    </a:ext>
                  </a:extLst>
                </p:cNvPr>
                <p:cNvSpPr/>
                <p:nvPr/>
              </p:nvSpPr>
              <p:spPr>
                <a:xfrm>
                  <a:off x="2696366" y="2010985"/>
                  <a:ext cx="67081" cy="82462"/>
                </a:xfrm>
                <a:custGeom>
                  <a:avLst/>
                  <a:gdLst>
                    <a:gd name="connsiteX0" fmla="*/ 21806 w 67081"/>
                    <a:gd name="connsiteY0" fmla="*/ 82463 h 82462"/>
                    <a:gd name="connsiteX1" fmla="*/ 10680 w 67081"/>
                    <a:gd name="connsiteY1" fmla="*/ 78855 h 82462"/>
                    <a:gd name="connsiteX2" fmla="*/ 8563 w 67081"/>
                    <a:gd name="connsiteY2" fmla="*/ 77340 h 82462"/>
                    <a:gd name="connsiteX3" fmla="*/ 3467 w 67081"/>
                    <a:gd name="connsiteY3" fmla="*/ 48714 h 82462"/>
                    <a:gd name="connsiteX4" fmla="*/ 28287 w 67081"/>
                    <a:gd name="connsiteY4" fmla="*/ 11244 h 82462"/>
                    <a:gd name="connsiteX5" fmla="*/ 40967 w 67081"/>
                    <a:gd name="connsiteY5" fmla="*/ 1405 h 82462"/>
                    <a:gd name="connsiteX6" fmla="*/ 57708 w 67081"/>
                    <a:gd name="connsiteY6" fmla="*/ 2833 h 82462"/>
                    <a:gd name="connsiteX7" fmla="*/ 59825 w 67081"/>
                    <a:gd name="connsiteY7" fmla="*/ 4345 h 82462"/>
                    <a:gd name="connsiteX8" fmla="*/ 62741 w 67081"/>
                    <a:gd name="connsiteY8" fmla="*/ 36207 h 82462"/>
                    <a:gd name="connsiteX9" fmla="*/ 38162 w 67081"/>
                    <a:gd name="connsiteY9" fmla="*/ 73541 h 82462"/>
                    <a:gd name="connsiteX10" fmla="*/ 25468 w 67081"/>
                    <a:gd name="connsiteY10" fmla="*/ 82115 h 82462"/>
                    <a:gd name="connsiteX11" fmla="*/ 21806 w 67081"/>
                    <a:gd name="connsiteY11" fmla="*/ 82463 h 82462"/>
                    <a:gd name="connsiteX12" fmla="*/ 48478 w 67081"/>
                    <a:gd name="connsiteY12" fmla="*/ 13304 h 82462"/>
                    <a:gd name="connsiteX13" fmla="*/ 45251 w 67081"/>
                    <a:gd name="connsiteY13" fmla="*/ 13956 h 82462"/>
                    <a:gd name="connsiteX14" fmla="*/ 38821 w 67081"/>
                    <a:gd name="connsiteY14" fmla="*/ 18795 h 82462"/>
                    <a:gd name="connsiteX15" fmla="*/ 14001 w 67081"/>
                    <a:gd name="connsiteY15" fmla="*/ 56265 h 82462"/>
                    <a:gd name="connsiteX16" fmla="*/ 15807 w 67081"/>
                    <a:gd name="connsiteY16" fmla="*/ 66358 h 82462"/>
                    <a:gd name="connsiteX17" fmla="*/ 17923 w 67081"/>
                    <a:gd name="connsiteY17" fmla="*/ 67872 h 82462"/>
                    <a:gd name="connsiteX18" fmla="*/ 23137 w 67081"/>
                    <a:gd name="connsiteY18" fmla="*/ 69009 h 82462"/>
                    <a:gd name="connsiteX19" fmla="*/ 27621 w 67081"/>
                    <a:gd name="connsiteY19" fmla="*/ 65996 h 82462"/>
                    <a:gd name="connsiteX20" fmla="*/ 52200 w 67081"/>
                    <a:gd name="connsiteY20" fmla="*/ 28663 h 82462"/>
                    <a:gd name="connsiteX21" fmla="*/ 52595 w 67081"/>
                    <a:gd name="connsiteY21" fmla="*/ 15323 h 82462"/>
                    <a:gd name="connsiteX22" fmla="*/ 50478 w 67081"/>
                    <a:gd name="connsiteY22" fmla="*/ 13812 h 82462"/>
                    <a:gd name="connsiteX23" fmla="*/ 48478 w 67081"/>
                    <a:gd name="connsiteY23" fmla="*/ 13304 h 8246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</a:cxnLst>
                  <a:rect l="l" t="t" r="r" b="b"/>
                  <a:pathLst>
                    <a:path w="67081" h="82462">
                      <a:moveTo>
                        <a:pt x="21806" y="82463"/>
                      </a:moveTo>
                      <a:cubicBezTo>
                        <a:pt x="17847" y="82463"/>
                        <a:pt x="13994" y="81225"/>
                        <a:pt x="10680" y="78855"/>
                      </a:cubicBezTo>
                      <a:lnTo>
                        <a:pt x="8563" y="77340"/>
                      </a:lnTo>
                      <a:cubicBezTo>
                        <a:pt x="-416" y="70906"/>
                        <a:pt x="-2703" y="58068"/>
                        <a:pt x="3467" y="48714"/>
                      </a:cubicBezTo>
                      <a:lnTo>
                        <a:pt x="28287" y="11244"/>
                      </a:lnTo>
                      <a:cubicBezTo>
                        <a:pt x="31096" y="6987"/>
                        <a:pt x="35841" y="3305"/>
                        <a:pt x="40967" y="1405"/>
                      </a:cubicBezTo>
                      <a:cubicBezTo>
                        <a:pt x="47151" y="-882"/>
                        <a:pt x="53244" y="-357"/>
                        <a:pt x="57708" y="2833"/>
                      </a:cubicBezTo>
                      <a:lnTo>
                        <a:pt x="59825" y="4345"/>
                      </a:lnTo>
                      <a:cubicBezTo>
                        <a:pt x="68984" y="10906"/>
                        <a:pt x="68911" y="26857"/>
                        <a:pt x="62741" y="36207"/>
                      </a:cubicBezTo>
                      <a:lnTo>
                        <a:pt x="38162" y="73541"/>
                      </a:lnTo>
                      <a:cubicBezTo>
                        <a:pt x="35172" y="78069"/>
                        <a:pt x="30668" y="81108"/>
                        <a:pt x="25468" y="82115"/>
                      </a:cubicBezTo>
                      <a:cubicBezTo>
                        <a:pt x="24247" y="82346"/>
                        <a:pt x="23023" y="82463"/>
                        <a:pt x="21806" y="82463"/>
                      </a:cubicBezTo>
                      <a:close/>
                      <a:moveTo>
                        <a:pt x="48478" y="13304"/>
                      </a:moveTo>
                      <a:cubicBezTo>
                        <a:pt x="47542" y="13304"/>
                        <a:pt x="46425" y="13521"/>
                        <a:pt x="45251" y="13956"/>
                      </a:cubicBezTo>
                      <a:cubicBezTo>
                        <a:pt x="42646" y="14919"/>
                        <a:pt x="40125" y="16818"/>
                        <a:pt x="38821" y="18795"/>
                      </a:cubicBezTo>
                      <a:lnTo>
                        <a:pt x="14001" y="56265"/>
                      </a:lnTo>
                      <a:cubicBezTo>
                        <a:pt x="11827" y="59556"/>
                        <a:pt x="12640" y="64087"/>
                        <a:pt x="15807" y="66358"/>
                      </a:cubicBezTo>
                      <a:lnTo>
                        <a:pt x="17923" y="67872"/>
                      </a:lnTo>
                      <a:cubicBezTo>
                        <a:pt x="19452" y="68969"/>
                        <a:pt x="21334" y="69367"/>
                        <a:pt x="23137" y="69009"/>
                      </a:cubicBezTo>
                      <a:cubicBezTo>
                        <a:pt x="24986" y="68655"/>
                        <a:pt x="26571" y="67585"/>
                        <a:pt x="27621" y="65996"/>
                      </a:cubicBezTo>
                      <a:lnTo>
                        <a:pt x="52200" y="28663"/>
                      </a:lnTo>
                      <a:cubicBezTo>
                        <a:pt x="55036" y="24369"/>
                        <a:pt x="54849" y="16935"/>
                        <a:pt x="52595" y="15323"/>
                      </a:cubicBezTo>
                      <a:lnTo>
                        <a:pt x="50478" y="13812"/>
                      </a:lnTo>
                      <a:cubicBezTo>
                        <a:pt x="49997" y="13471"/>
                        <a:pt x="49304" y="13304"/>
                        <a:pt x="48478" y="13304"/>
                      </a:cubicBezTo>
                      <a:close/>
                    </a:path>
                  </a:pathLst>
                </a:custGeom>
                <a:grpFill/>
                <a:ln w="334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GB" dirty="0"/>
                </a:p>
              </p:txBody>
            </p:sp>
            <p:sp>
              <p:nvSpPr>
                <p:cNvPr id="533" name="Freeform: Shape 734">
                  <a:extLst>
                    <a:ext uri="{FF2B5EF4-FFF2-40B4-BE49-F238E27FC236}">
                      <a16:creationId xmlns:a16="http://schemas.microsoft.com/office/drawing/2014/main" id="{85C02AE4-7DC3-BB5E-999C-80D3366893AE}"/>
                    </a:ext>
                  </a:extLst>
                </p:cNvPr>
                <p:cNvSpPr/>
                <p:nvPr/>
              </p:nvSpPr>
              <p:spPr>
                <a:xfrm>
                  <a:off x="2592483" y="1969434"/>
                  <a:ext cx="49860" cy="105721"/>
                </a:xfrm>
                <a:custGeom>
                  <a:avLst/>
                  <a:gdLst>
                    <a:gd name="connsiteX0" fmla="*/ 24373 w 49860"/>
                    <a:gd name="connsiteY0" fmla="*/ 105722 h 105721"/>
                    <a:gd name="connsiteX1" fmla="*/ 1988 w 49860"/>
                    <a:gd name="connsiteY1" fmla="*/ 83223 h 105721"/>
                    <a:gd name="connsiteX2" fmla="*/ 15 w 49860"/>
                    <a:gd name="connsiteY2" fmla="*/ 27102 h 105721"/>
                    <a:gd name="connsiteX3" fmla="*/ 21507 w 49860"/>
                    <a:gd name="connsiteY3" fmla="*/ 119 h 105721"/>
                    <a:gd name="connsiteX4" fmla="*/ 24587 w 49860"/>
                    <a:gd name="connsiteY4" fmla="*/ 5 h 105721"/>
                    <a:gd name="connsiteX5" fmla="*/ 41364 w 49860"/>
                    <a:gd name="connsiteY5" fmla="*/ 8820 h 105721"/>
                    <a:gd name="connsiteX6" fmla="*/ 48096 w 49860"/>
                    <a:gd name="connsiteY6" fmla="*/ 26363 h 105721"/>
                    <a:gd name="connsiteX7" fmla="*/ 49845 w 49860"/>
                    <a:gd name="connsiteY7" fmla="*/ 81434 h 105721"/>
                    <a:gd name="connsiteX8" fmla="*/ 28266 w 49860"/>
                    <a:gd name="connsiteY8" fmla="*/ 105591 h 105721"/>
                    <a:gd name="connsiteX9" fmla="*/ 25192 w 49860"/>
                    <a:gd name="connsiteY9" fmla="*/ 105708 h 105721"/>
                    <a:gd name="connsiteX10" fmla="*/ 24373 w 49860"/>
                    <a:gd name="connsiteY10" fmla="*/ 105722 h 105721"/>
                    <a:gd name="connsiteX11" fmla="*/ 21965 w 49860"/>
                    <a:gd name="connsiteY11" fmla="*/ 13435 h 105721"/>
                    <a:gd name="connsiteX12" fmla="*/ 12792 w 49860"/>
                    <a:gd name="connsiteY12" fmla="*/ 26621 h 105721"/>
                    <a:gd name="connsiteX13" fmla="*/ 14765 w 49860"/>
                    <a:gd name="connsiteY13" fmla="*/ 82741 h 105721"/>
                    <a:gd name="connsiteX14" fmla="*/ 24731 w 49860"/>
                    <a:gd name="connsiteY14" fmla="*/ 92396 h 105721"/>
                    <a:gd name="connsiteX15" fmla="*/ 27804 w 49860"/>
                    <a:gd name="connsiteY15" fmla="*/ 92279 h 105721"/>
                    <a:gd name="connsiteX16" fmla="*/ 37071 w 49860"/>
                    <a:gd name="connsiteY16" fmla="*/ 81898 h 105721"/>
                    <a:gd name="connsiteX17" fmla="*/ 35322 w 49860"/>
                    <a:gd name="connsiteY17" fmla="*/ 26831 h 105721"/>
                    <a:gd name="connsiteX18" fmla="*/ 31513 w 49860"/>
                    <a:gd name="connsiteY18" fmla="*/ 17321 h 105721"/>
                    <a:gd name="connsiteX19" fmla="*/ 25045 w 49860"/>
                    <a:gd name="connsiteY19" fmla="*/ 13324 h 105721"/>
                    <a:gd name="connsiteX20" fmla="*/ 21965 w 49860"/>
                    <a:gd name="connsiteY20" fmla="*/ 13435 h 10572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</a:cxnLst>
                  <a:rect l="l" t="t" r="r" b="b"/>
                  <a:pathLst>
                    <a:path w="49860" h="105721">
                      <a:moveTo>
                        <a:pt x="24373" y="105722"/>
                      </a:moveTo>
                      <a:cubicBezTo>
                        <a:pt x="12385" y="105722"/>
                        <a:pt x="2426" y="95800"/>
                        <a:pt x="1988" y="83223"/>
                      </a:cubicBezTo>
                      <a:lnTo>
                        <a:pt x="15" y="27102"/>
                      </a:lnTo>
                      <a:cubicBezTo>
                        <a:pt x="-417" y="14766"/>
                        <a:pt x="8683" y="607"/>
                        <a:pt x="21507" y="119"/>
                      </a:cubicBezTo>
                      <a:lnTo>
                        <a:pt x="24587" y="5"/>
                      </a:lnTo>
                      <a:cubicBezTo>
                        <a:pt x="30446" y="-142"/>
                        <a:pt x="36733" y="2988"/>
                        <a:pt x="41364" y="8820"/>
                      </a:cubicBezTo>
                      <a:cubicBezTo>
                        <a:pt x="45374" y="13866"/>
                        <a:pt x="47889" y="20424"/>
                        <a:pt x="48096" y="26363"/>
                      </a:cubicBezTo>
                      <a:lnTo>
                        <a:pt x="49845" y="81434"/>
                      </a:lnTo>
                      <a:cubicBezTo>
                        <a:pt x="50293" y="94272"/>
                        <a:pt x="40615" y="105120"/>
                        <a:pt x="28266" y="105591"/>
                      </a:cubicBezTo>
                      <a:lnTo>
                        <a:pt x="25192" y="105708"/>
                      </a:lnTo>
                      <a:cubicBezTo>
                        <a:pt x="24918" y="105718"/>
                        <a:pt x="24651" y="105722"/>
                        <a:pt x="24373" y="105722"/>
                      </a:cubicBezTo>
                      <a:close/>
                      <a:moveTo>
                        <a:pt x="21965" y="13435"/>
                      </a:moveTo>
                      <a:cubicBezTo>
                        <a:pt x="17381" y="13612"/>
                        <a:pt x="12582" y="20511"/>
                        <a:pt x="12792" y="26621"/>
                      </a:cubicBezTo>
                      <a:lnTo>
                        <a:pt x="14765" y="82741"/>
                      </a:lnTo>
                      <a:cubicBezTo>
                        <a:pt x="14959" y="88262"/>
                        <a:pt x="19300" y="92793"/>
                        <a:pt x="24731" y="92396"/>
                      </a:cubicBezTo>
                      <a:lnTo>
                        <a:pt x="27804" y="92279"/>
                      </a:lnTo>
                      <a:cubicBezTo>
                        <a:pt x="33105" y="92078"/>
                        <a:pt x="37258" y="87420"/>
                        <a:pt x="37071" y="81898"/>
                      </a:cubicBezTo>
                      <a:lnTo>
                        <a:pt x="35322" y="26831"/>
                      </a:lnTo>
                      <a:cubicBezTo>
                        <a:pt x="35215" y="23795"/>
                        <a:pt x="33753" y="20143"/>
                        <a:pt x="31513" y="17321"/>
                      </a:cubicBezTo>
                      <a:cubicBezTo>
                        <a:pt x="29466" y="14739"/>
                        <a:pt x="27092" y="13171"/>
                        <a:pt x="25045" y="13324"/>
                      </a:cubicBezTo>
                      <a:lnTo>
                        <a:pt x="21965" y="13435"/>
                      </a:lnTo>
                      <a:close/>
                    </a:path>
                  </a:pathLst>
                </a:custGeom>
                <a:grpFill/>
                <a:ln w="334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GB" dirty="0"/>
                </a:p>
              </p:txBody>
            </p:sp>
            <p:sp>
              <p:nvSpPr>
                <p:cNvPr id="534" name="Freeform: Shape 735">
                  <a:extLst>
                    <a:ext uri="{FF2B5EF4-FFF2-40B4-BE49-F238E27FC236}">
                      <a16:creationId xmlns:a16="http://schemas.microsoft.com/office/drawing/2014/main" id="{612B0122-922F-7840-60D3-F79BB3840F2D}"/>
                    </a:ext>
                  </a:extLst>
                </p:cNvPr>
                <p:cNvSpPr/>
                <p:nvPr/>
              </p:nvSpPr>
              <p:spPr>
                <a:xfrm>
                  <a:off x="2630422" y="1984990"/>
                  <a:ext cx="53416" cy="96807"/>
                </a:xfrm>
                <a:custGeom>
                  <a:avLst/>
                  <a:gdLst>
                    <a:gd name="connsiteX0" fmla="*/ 23713 w 53416"/>
                    <a:gd name="connsiteY0" fmla="*/ 96807 h 96807"/>
                    <a:gd name="connsiteX1" fmla="*/ 19761 w 53416"/>
                    <a:gd name="connsiteY1" fmla="*/ 96413 h 96807"/>
                    <a:gd name="connsiteX2" fmla="*/ 17025 w 53416"/>
                    <a:gd name="connsiteY2" fmla="*/ 95871 h 96807"/>
                    <a:gd name="connsiteX3" fmla="*/ 378 w 53416"/>
                    <a:gd name="connsiteY3" fmla="*/ 70309 h 96807"/>
                    <a:gd name="connsiteX4" fmla="*/ 9140 w 53416"/>
                    <a:gd name="connsiteY4" fmla="*/ 21301 h 96807"/>
                    <a:gd name="connsiteX5" fmla="*/ 34612 w 53416"/>
                    <a:gd name="connsiteY5" fmla="*/ 300 h 96807"/>
                    <a:gd name="connsiteX6" fmla="*/ 37361 w 53416"/>
                    <a:gd name="connsiteY6" fmla="*/ 849 h 96807"/>
                    <a:gd name="connsiteX7" fmla="*/ 50710 w 53416"/>
                    <a:gd name="connsiteY7" fmla="*/ 12443 h 96807"/>
                    <a:gd name="connsiteX8" fmla="*/ 52994 w 53416"/>
                    <a:gd name="connsiteY8" fmla="*/ 29501 h 96807"/>
                    <a:gd name="connsiteX9" fmla="*/ 44310 w 53416"/>
                    <a:gd name="connsiteY9" fmla="*/ 79020 h 96807"/>
                    <a:gd name="connsiteX10" fmla="*/ 23713 w 53416"/>
                    <a:gd name="connsiteY10" fmla="*/ 96807 h 96807"/>
                    <a:gd name="connsiteX11" fmla="*/ 31555 w 53416"/>
                    <a:gd name="connsiteY11" fmla="*/ 13319 h 96807"/>
                    <a:gd name="connsiteX12" fmla="*/ 21707 w 53416"/>
                    <a:gd name="connsiteY12" fmla="*/ 23776 h 96807"/>
                    <a:gd name="connsiteX13" fmla="*/ 12945 w 53416"/>
                    <a:gd name="connsiteY13" fmla="*/ 72784 h 96807"/>
                    <a:gd name="connsiteX14" fmla="*/ 19426 w 53416"/>
                    <a:gd name="connsiteY14" fmla="*/ 82786 h 96807"/>
                    <a:gd name="connsiteX15" fmla="*/ 22162 w 53416"/>
                    <a:gd name="connsiteY15" fmla="*/ 83327 h 96807"/>
                    <a:gd name="connsiteX16" fmla="*/ 31736 w 53416"/>
                    <a:gd name="connsiteY16" fmla="*/ 76569 h 96807"/>
                    <a:gd name="connsiteX17" fmla="*/ 40421 w 53416"/>
                    <a:gd name="connsiteY17" fmla="*/ 27050 h 96807"/>
                    <a:gd name="connsiteX18" fmla="*/ 39183 w 53416"/>
                    <a:gd name="connsiteY18" fmla="*/ 18225 h 96807"/>
                    <a:gd name="connsiteX19" fmla="*/ 34943 w 53416"/>
                    <a:gd name="connsiteY19" fmla="*/ 13931 h 96807"/>
                    <a:gd name="connsiteX20" fmla="*/ 32194 w 53416"/>
                    <a:gd name="connsiteY20" fmla="*/ 13382 h 96807"/>
                    <a:gd name="connsiteX21" fmla="*/ 31555 w 53416"/>
                    <a:gd name="connsiteY21" fmla="*/ 13319 h 9680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</a:cxnLst>
                  <a:rect l="l" t="t" r="r" b="b"/>
                  <a:pathLst>
                    <a:path w="53416" h="96807">
                      <a:moveTo>
                        <a:pt x="23713" y="96807"/>
                      </a:moveTo>
                      <a:cubicBezTo>
                        <a:pt x="22409" y="96807"/>
                        <a:pt x="21092" y="96680"/>
                        <a:pt x="19761" y="96413"/>
                      </a:cubicBezTo>
                      <a:lnTo>
                        <a:pt x="17025" y="95871"/>
                      </a:lnTo>
                      <a:cubicBezTo>
                        <a:pt x="5665" y="93597"/>
                        <a:pt x="-1802" y="82130"/>
                        <a:pt x="378" y="70309"/>
                      </a:cubicBezTo>
                      <a:lnTo>
                        <a:pt x="9140" y="21301"/>
                      </a:lnTo>
                      <a:cubicBezTo>
                        <a:pt x="11287" y="9644"/>
                        <a:pt x="22921" y="-2034"/>
                        <a:pt x="34612" y="300"/>
                      </a:cubicBezTo>
                      <a:lnTo>
                        <a:pt x="37361" y="849"/>
                      </a:lnTo>
                      <a:cubicBezTo>
                        <a:pt x="43036" y="1979"/>
                        <a:pt x="47781" y="6102"/>
                        <a:pt x="50710" y="12443"/>
                      </a:cubicBezTo>
                      <a:cubicBezTo>
                        <a:pt x="53178" y="17777"/>
                        <a:pt x="54008" y="23993"/>
                        <a:pt x="52994" y="29501"/>
                      </a:cubicBezTo>
                      <a:lnTo>
                        <a:pt x="44310" y="79020"/>
                      </a:lnTo>
                      <a:cubicBezTo>
                        <a:pt x="42377" y="89514"/>
                        <a:pt x="33565" y="96807"/>
                        <a:pt x="23713" y="96807"/>
                      </a:cubicBezTo>
                      <a:close/>
                      <a:moveTo>
                        <a:pt x="31555" y="13319"/>
                      </a:moveTo>
                      <a:cubicBezTo>
                        <a:pt x="27910" y="13319"/>
                        <a:pt x="22627" y="18786"/>
                        <a:pt x="21707" y="23776"/>
                      </a:cubicBezTo>
                      <a:lnTo>
                        <a:pt x="12945" y="72784"/>
                      </a:lnTo>
                      <a:cubicBezTo>
                        <a:pt x="12089" y="77432"/>
                        <a:pt x="14999" y="81900"/>
                        <a:pt x="19426" y="82786"/>
                      </a:cubicBezTo>
                      <a:lnTo>
                        <a:pt x="22162" y="83327"/>
                      </a:lnTo>
                      <a:cubicBezTo>
                        <a:pt x="26559" y="84200"/>
                        <a:pt x="30886" y="81184"/>
                        <a:pt x="31736" y="76569"/>
                      </a:cubicBezTo>
                      <a:lnTo>
                        <a:pt x="40421" y="27050"/>
                      </a:lnTo>
                      <a:cubicBezTo>
                        <a:pt x="40919" y="24311"/>
                        <a:pt x="40444" y="20953"/>
                        <a:pt x="39183" y="18225"/>
                      </a:cubicBezTo>
                      <a:cubicBezTo>
                        <a:pt x="38658" y="17084"/>
                        <a:pt x="37183" y="14379"/>
                        <a:pt x="34943" y="13931"/>
                      </a:cubicBezTo>
                      <a:lnTo>
                        <a:pt x="32194" y="13382"/>
                      </a:lnTo>
                      <a:cubicBezTo>
                        <a:pt x="31993" y="13342"/>
                        <a:pt x="31779" y="13319"/>
                        <a:pt x="31555" y="13319"/>
                      </a:cubicBezTo>
                      <a:close/>
                    </a:path>
                  </a:pathLst>
                </a:custGeom>
                <a:grpFill/>
                <a:ln w="334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GB" dirty="0"/>
                </a:p>
              </p:txBody>
            </p:sp>
            <p:sp>
              <p:nvSpPr>
                <p:cNvPr id="535" name="Freeform: Shape 736">
                  <a:extLst>
                    <a:ext uri="{FF2B5EF4-FFF2-40B4-BE49-F238E27FC236}">
                      <a16:creationId xmlns:a16="http://schemas.microsoft.com/office/drawing/2014/main" id="{7EA6E9AB-FC5E-8A13-2088-58039233F578}"/>
                    </a:ext>
                  </a:extLst>
                </p:cNvPr>
                <p:cNvSpPr/>
                <p:nvPr/>
              </p:nvSpPr>
              <p:spPr>
                <a:xfrm>
                  <a:off x="2662218" y="1997739"/>
                  <a:ext cx="62341" cy="94501"/>
                </a:xfrm>
                <a:custGeom>
                  <a:avLst/>
                  <a:gdLst>
                    <a:gd name="connsiteX0" fmla="*/ 23556 w 62341"/>
                    <a:gd name="connsiteY0" fmla="*/ 94501 h 94501"/>
                    <a:gd name="connsiteX1" fmla="*/ 16126 w 62341"/>
                    <a:gd name="connsiteY1" fmla="*/ 93070 h 94501"/>
                    <a:gd name="connsiteX2" fmla="*/ 13514 w 62341"/>
                    <a:gd name="connsiteY2" fmla="*/ 92040 h 94501"/>
                    <a:gd name="connsiteX3" fmla="*/ 1856 w 62341"/>
                    <a:gd name="connsiteY3" fmla="*/ 80560 h 94501"/>
                    <a:gd name="connsiteX4" fmla="*/ 1375 w 62341"/>
                    <a:gd name="connsiteY4" fmla="*/ 63859 h 94501"/>
                    <a:gd name="connsiteX5" fmla="*/ 18570 w 62341"/>
                    <a:gd name="connsiteY5" fmla="*/ 17069 h 94501"/>
                    <a:gd name="connsiteX6" fmla="*/ 29342 w 62341"/>
                    <a:gd name="connsiteY6" fmla="*/ 3716 h 94501"/>
                    <a:gd name="connsiteX7" fmla="*/ 46731 w 62341"/>
                    <a:gd name="connsiteY7" fmla="*/ 1094 h 94501"/>
                    <a:gd name="connsiteX8" fmla="*/ 49343 w 62341"/>
                    <a:gd name="connsiteY8" fmla="*/ 2127 h 94501"/>
                    <a:gd name="connsiteX9" fmla="*/ 60890 w 62341"/>
                    <a:gd name="connsiteY9" fmla="*/ 31659 h 94501"/>
                    <a:gd name="connsiteX10" fmla="*/ 43176 w 62341"/>
                    <a:gd name="connsiteY10" fmla="*/ 80419 h 94501"/>
                    <a:gd name="connsiteX11" fmla="*/ 32154 w 62341"/>
                    <a:gd name="connsiteY11" fmla="*/ 92568 h 94501"/>
                    <a:gd name="connsiteX12" fmla="*/ 23556 w 62341"/>
                    <a:gd name="connsiteY12" fmla="*/ 94501 h 94501"/>
                    <a:gd name="connsiteX13" fmla="*/ 40829 w 62341"/>
                    <a:gd name="connsiteY13" fmla="*/ 13307 h 94501"/>
                    <a:gd name="connsiteX14" fmla="*/ 36177 w 62341"/>
                    <a:gd name="connsiteY14" fmla="*/ 14975 h 94501"/>
                    <a:gd name="connsiteX15" fmla="*/ 30519 w 62341"/>
                    <a:gd name="connsiteY15" fmla="*/ 21817 h 94501"/>
                    <a:gd name="connsiteX16" fmla="*/ 13323 w 62341"/>
                    <a:gd name="connsiteY16" fmla="*/ 68611 h 94501"/>
                    <a:gd name="connsiteX17" fmla="*/ 13524 w 62341"/>
                    <a:gd name="connsiteY17" fmla="*/ 75109 h 94501"/>
                    <a:gd name="connsiteX18" fmla="*/ 18059 w 62341"/>
                    <a:gd name="connsiteY18" fmla="*/ 79587 h 94501"/>
                    <a:gd name="connsiteX19" fmla="*/ 20667 w 62341"/>
                    <a:gd name="connsiteY19" fmla="*/ 80617 h 94501"/>
                    <a:gd name="connsiteX20" fmla="*/ 26917 w 62341"/>
                    <a:gd name="connsiteY20" fmla="*/ 80416 h 94501"/>
                    <a:gd name="connsiteX21" fmla="*/ 31221 w 62341"/>
                    <a:gd name="connsiteY21" fmla="*/ 75694 h 94501"/>
                    <a:gd name="connsiteX22" fmla="*/ 48935 w 62341"/>
                    <a:gd name="connsiteY22" fmla="*/ 26934 h 94501"/>
                    <a:gd name="connsiteX23" fmla="*/ 44801 w 62341"/>
                    <a:gd name="connsiteY23" fmla="*/ 14574 h 94501"/>
                    <a:gd name="connsiteX24" fmla="*/ 42190 w 62341"/>
                    <a:gd name="connsiteY24" fmla="*/ 13541 h 94501"/>
                    <a:gd name="connsiteX25" fmla="*/ 40829 w 62341"/>
                    <a:gd name="connsiteY25" fmla="*/ 13307 h 9450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</a:cxnLst>
                  <a:rect l="l" t="t" r="r" b="b"/>
                  <a:pathLst>
                    <a:path w="62341" h="94501">
                      <a:moveTo>
                        <a:pt x="23556" y="94501"/>
                      </a:moveTo>
                      <a:cubicBezTo>
                        <a:pt x="21045" y="94501"/>
                        <a:pt x="18537" y="94027"/>
                        <a:pt x="16126" y="93070"/>
                      </a:cubicBezTo>
                      <a:lnTo>
                        <a:pt x="13514" y="92040"/>
                      </a:lnTo>
                      <a:cubicBezTo>
                        <a:pt x="8287" y="89970"/>
                        <a:pt x="4147" y="85890"/>
                        <a:pt x="1856" y="80560"/>
                      </a:cubicBezTo>
                      <a:cubicBezTo>
                        <a:pt x="-441" y="75226"/>
                        <a:pt x="-611" y="69294"/>
                        <a:pt x="1375" y="63859"/>
                      </a:cubicBezTo>
                      <a:lnTo>
                        <a:pt x="18570" y="17069"/>
                      </a:lnTo>
                      <a:cubicBezTo>
                        <a:pt x="20476" y="11839"/>
                        <a:pt x="24402" y="6963"/>
                        <a:pt x="29342" y="3716"/>
                      </a:cubicBezTo>
                      <a:cubicBezTo>
                        <a:pt x="35073" y="-63"/>
                        <a:pt x="41430" y="-1003"/>
                        <a:pt x="46731" y="1094"/>
                      </a:cubicBezTo>
                      <a:lnTo>
                        <a:pt x="49343" y="2127"/>
                      </a:lnTo>
                      <a:cubicBezTo>
                        <a:pt x="59733" y="6247"/>
                        <a:pt x="65127" y="20048"/>
                        <a:pt x="60890" y="31659"/>
                      </a:cubicBezTo>
                      <a:lnTo>
                        <a:pt x="43176" y="80419"/>
                      </a:lnTo>
                      <a:cubicBezTo>
                        <a:pt x="41183" y="85864"/>
                        <a:pt x="37274" y="90177"/>
                        <a:pt x="32154" y="92568"/>
                      </a:cubicBezTo>
                      <a:cubicBezTo>
                        <a:pt x="29402" y="93859"/>
                        <a:pt x="26479" y="94501"/>
                        <a:pt x="23556" y="94501"/>
                      </a:cubicBezTo>
                      <a:close/>
                      <a:moveTo>
                        <a:pt x="40829" y="13307"/>
                      </a:moveTo>
                      <a:cubicBezTo>
                        <a:pt x="39481" y="13307"/>
                        <a:pt x="37832" y="13885"/>
                        <a:pt x="36177" y="14975"/>
                      </a:cubicBezTo>
                      <a:cubicBezTo>
                        <a:pt x="33612" y="16668"/>
                        <a:pt x="31445" y="19289"/>
                        <a:pt x="30519" y="21817"/>
                      </a:cubicBezTo>
                      <a:lnTo>
                        <a:pt x="13323" y="68611"/>
                      </a:lnTo>
                      <a:cubicBezTo>
                        <a:pt x="12554" y="70711"/>
                        <a:pt x="12625" y="73022"/>
                        <a:pt x="13524" y="75109"/>
                      </a:cubicBezTo>
                      <a:cubicBezTo>
                        <a:pt x="14424" y="77192"/>
                        <a:pt x="16035" y="78784"/>
                        <a:pt x="18059" y="79587"/>
                      </a:cubicBezTo>
                      <a:lnTo>
                        <a:pt x="20667" y="80617"/>
                      </a:lnTo>
                      <a:cubicBezTo>
                        <a:pt x="22710" y="81423"/>
                        <a:pt x="24921" y="81356"/>
                        <a:pt x="26917" y="80416"/>
                      </a:cubicBezTo>
                      <a:cubicBezTo>
                        <a:pt x="28920" y="79480"/>
                        <a:pt x="30452" y="77801"/>
                        <a:pt x="31221" y="75694"/>
                      </a:cubicBezTo>
                      <a:lnTo>
                        <a:pt x="48935" y="26934"/>
                      </a:lnTo>
                      <a:cubicBezTo>
                        <a:pt x="50664" y="22205"/>
                        <a:pt x="48610" y="16089"/>
                        <a:pt x="44801" y="14574"/>
                      </a:cubicBezTo>
                      <a:lnTo>
                        <a:pt x="42190" y="13541"/>
                      </a:lnTo>
                      <a:cubicBezTo>
                        <a:pt x="41785" y="13384"/>
                        <a:pt x="41327" y="13307"/>
                        <a:pt x="40829" y="13307"/>
                      </a:cubicBezTo>
                      <a:close/>
                    </a:path>
                  </a:pathLst>
                </a:custGeom>
                <a:grpFill/>
                <a:ln w="334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GB" dirty="0"/>
                </a:p>
              </p:txBody>
            </p:sp>
            <p:sp>
              <p:nvSpPr>
                <p:cNvPr id="536" name="Freeform: Shape 737">
                  <a:extLst>
                    <a:ext uri="{FF2B5EF4-FFF2-40B4-BE49-F238E27FC236}">
                      <a16:creationId xmlns:a16="http://schemas.microsoft.com/office/drawing/2014/main" id="{2206A024-CBFC-F526-7913-20AD63EAE176}"/>
                    </a:ext>
                  </a:extLst>
                </p:cNvPr>
                <p:cNvSpPr/>
                <p:nvPr/>
              </p:nvSpPr>
              <p:spPr>
                <a:xfrm>
                  <a:off x="2542883" y="1909551"/>
                  <a:ext cx="148033" cy="118851"/>
                </a:xfrm>
                <a:custGeom>
                  <a:avLst/>
                  <a:gdLst>
                    <a:gd name="connsiteX0" fmla="*/ 26530 w 148033"/>
                    <a:gd name="connsiteY0" fmla="*/ 118851 h 118851"/>
                    <a:gd name="connsiteX1" fmla="*/ 10315 w 148033"/>
                    <a:gd name="connsiteY1" fmla="*/ 110635 h 118851"/>
                    <a:gd name="connsiteX2" fmla="*/ 4352 w 148033"/>
                    <a:gd name="connsiteY2" fmla="*/ 67228 h 118851"/>
                    <a:gd name="connsiteX3" fmla="*/ 5038 w 148033"/>
                    <a:gd name="connsiteY3" fmla="*/ 65941 h 118851"/>
                    <a:gd name="connsiteX4" fmla="*/ 17926 w 148033"/>
                    <a:gd name="connsiteY4" fmla="*/ 49033 h 118851"/>
                    <a:gd name="connsiteX5" fmla="*/ 34543 w 148033"/>
                    <a:gd name="connsiteY5" fmla="*/ 29400 h 118851"/>
                    <a:gd name="connsiteX6" fmla="*/ 145727 w 148033"/>
                    <a:gd name="connsiteY6" fmla="*/ 20551 h 118851"/>
                    <a:gd name="connsiteX7" fmla="*/ 146563 w 148033"/>
                    <a:gd name="connsiteY7" fmla="*/ 29915 h 118851"/>
                    <a:gd name="connsiteX8" fmla="*/ 137564 w 148033"/>
                    <a:gd name="connsiteY8" fmla="*/ 30804 h 118851"/>
                    <a:gd name="connsiteX9" fmla="*/ 44174 w 148033"/>
                    <a:gd name="connsiteY9" fmla="*/ 38158 h 118851"/>
                    <a:gd name="connsiteX10" fmla="*/ 27457 w 148033"/>
                    <a:gd name="connsiteY10" fmla="*/ 57915 h 118851"/>
                    <a:gd name="connsiteX11" fmla="*/ 16240 w 148033"/>
                    <a:gd name="connsiteY11" fmla="*/ 72362 h 118851"/>
                    <a:gd name="connsiteX12" fmla="*/ 15471 w 148033"/>
                    <a:gd name="connsiteY12" fmla="*/ 73796 h 118851"/>
                    <a:gd name="connsiteX13" fmla="*/ 19467 w 148033"/>
                    <a:gd name="connsiteY13" fmla="*/ 101338 h 118851"/>
                    <a:gd name="connsiteX14" fmla="*/ 27640 w 148033"/>
                    <a:gd name="connsiteY14" fmla="*/ 105257 h 118851"/>
                    <a:gd name="connsiteX15" fmla="*/ 35288 w 148033"/>
                    <a:gd name="connsiteY15" fmla="*/ 98198 h 118851"/>
                    <a:gd name="connsiteX16" fmla="*/ 31031 w 148033"/>
                    <a:gd name="connsiteY16" fmla="*/ 74291 h 118851"/>
                    <a:gd name="connsiteX17" fmla="*/ 31493 w 148033"/>
                    <a:gd name="connsiteY17" fmla="*/ 64884 h 118851"/>
                    <a:gd name="connsiteX18" fmla="*/ 40522 w 148033"/>
                    <a:gd name="connsiteY18" fmla="*/ 65362 h 118851"/>
                    <a:gd name="connsiteX19" fmla="*/ 45244 w 148033"/>
                    <a:gd name="connsiteY19" fmla="*/ 106552 h 118851"/>
                    <a:gd name="connsiteX20" fmla="*/ 33653 w 148033"/>
                    <a:gd name="connsiteY20" fmla="*/ 117019 h 118851"/>
                    <a:gd name="connsiteX21" fmla="*/ 26530 w 148033"/>
                    <a:gd name="connsiteY21" fmla="*/ 118851 h 11885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</a:cxnLst>
                  <a:rect l="l" t="t" r="r" b="b"/>
                  <a:pathLst>
                    <a:path w="148033" h="118851">
                      <a:moveTo>
                        <a:pt x="26530" y="118851"/>
                      </a:moveTo>
                      <a:cubicBezTo>
                        <a:pt x="21123" y="118851"/>
                        <a:pt x="15341" y="116012"/>
                        <a:pt x="10315" y="110635"/>
                      </a:cubicBezTo>
                      <a:cubicBezTo>
                        <a:pt x="1309" y="101010"/>
                        <a:pt x="-4396" y="83323"/>
                        <a:pt x="4352" y="67228"/>
                      </a:cubicBezTo>
                      <a:lnTo>
                        <a:pt x="5038" y="65941"/>
                      </a:lnTo>
                      <a:cubicBezTo>
                        <a:pt x="7081" y="62072"/>
                        <a:pt x="8024" y="60580"/>
                        <a:pt x="17926" y="49033"/>
                      </a:cubicBezTo>
                      <a:cubicBezTo>
                        <a:pt x="21979" y="44321"/>
                        <a:pt x="27316" y="38018"/>
                        <a:pt x="34543" y="29400"/>
                      </a:cubicBezTo>
                      <a:cubicBezTo>
                        <a:pt x="84965" y="-30810"/>
                        <a:pt x="145135" y="20026"/>
                        <a:pt x="145727" y="20551"/>
                      </a:cubicBezTo>
                      <a:cubicBezTo>
                        <a:pt x="148442" y="22896"/>
                        <a:pt x="148810" y="27086"/>
                        <a:pt x="146563" y="29915"/>
                      </a:cubicBezTo>
                      <a:cubicBezTo>
                        <a:pt x="144316" y="32747"/>
                        <a:pt x="140283" y="33142"/>
                        <a:pt x="137564" y="30804"/>
                      </a:cubicBezTo>
                      <a:cubicBezTo>
                        <a:pt x="135491" y="29025"/>
                        <a:pt x="86336" y="-12194"/>
                        <a:pt x="44174" y="38158"/>
                      </a:cubicBezTo>
                      <a:cubicBezTo>
                        <a:pt x="36907" y="46833"/>
                        <a:pt x="31530" y="53173"/>
                        <a:pt x="27457" y="57915"/>
                      </a:cubicBezTo>
                      <a:cubicBezTo>
                        <a:pt x="18116" y="68803"/>
                        <a:pt x="17642" y="69696"/>
                        <a:pt x="16240" y="72362"/>
                      </a:cubicBezTo>
                      <a:lnTo>
                        <a:pt x="15471" y="73796"/>
                      </a:lnTo>
                      <a:cubicBezTo>
                        <a:pt x="9977" y="83912"/>
                        <a:pt x="13692" y="95165"/>
                        <a:pt x="19467" y="101338"/>
                      </a:cubicBezTo>
                      <a:cubicBezTo>
                        <a:pt x="22838" y="104946"/>
                        <a:pt x="26192" y="106063"/>
                        <a:pt x="27640" y="105257"/>
                      </a:cubicBezTo>
                      <a:cubicBezTo>
                        <a:pt x="30205" y="103829"/>
                        <a:pt x="33904" y="99880"/>
                        <a:pt x="35288" y="98198"/>
                      </a:cubicBezTo>
                      <a:cubicBezTo>
                        <a:pt x="42705" y="87975"/>
                        <a:pt x="31148" y="74428"/>
                        <a:pt x="31031" y="74291"/>
                      </a:cubicBezTo>
                      <a:cubicBezTo>
                        <a:pt x="28664" y="71559"/>
                        <a:pt x="28871" y="67349"/>
                        <a:pt x="31493" y="64884"/>
                      </a:cubicBezTo>
                      <a:cubicBezTo>
                        <a:pt x="34098" y="62420"/>
                        <a:pt x="38151" y="62630"/>
                        <a:pt x="40522" y="65362"/>
                      </a:cubicBezTo>
                      <a:cubicBezTo>
                        <a:pt x="47040" y="72883"/>
                        <a:pt x="56426" y="91172"/>
                        <a:pt x="45244" y="106552"/>
                      </a:cubicBezTo>
                      <a:cubicBezTo>
                        <a:pt x="44414" y="107582"/>
                        <a:pt x="39037" y="114029"/>
                        <a:pt x="33653" y="117019"/>
                      </a:cubicBezTo>
                      <a:cubicBezTo>
                        <a:pt x="31439" y="118249"/>
                        <a:pt x="29021" y="118851"/>
                        <a:pt x="26530" y="118851"/>
                      </a:cubicBezTo>
                      <a:close/>
                    </a:path>
                  </a:pathLst>
                </a:custGeom>
                <a:grpFill/>
                <a:ln w="334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GB" dirty="0"/>
                </a:p>
              </p:txBody>
            </p:sp>
          </p:grpSp>
        </p:grpSp>
        <p:grpSp>
          <p:nvGrpSpPr>
            <p:cNvPr id="520" name="Graphic 24">
              <a:extLst>
                <a:ext uri="{FF2B5EF4-FFF2-40B4-BE49-F238E27FC236}">
                  <a16:creationId xmlns:a16="http://schemas.microsoft.com/office/drawing/2014/main" id="{CA51B837-0BCD-50D2-0946-6AA0D5E43757}"/>
                </a:ext>
              </a:extLst>
            </p:cNvPr>
            <p:cNvGrpSpPr/>
            <p:nvPr/>
          </p:nvGrpSpPr>
          <p:grpSpPr>
            <a:xfrm>
              <a:off x="7298143" y="1648000"/>
              <a:ext cx="110658" cy="219651"/>
              <a:chOff x="2879372" y="1648000"/>
              <a:chExt cx="110658" cy="219651"/>
            </a:xfrm>
            <a:grpFill/>
          </p:grpSpPr>
          <p:sp>
            <p:nvSpPr>
              <p:cNvPr id="525" name="Freeform: Shape 723">
                <a:extLst>
                  <a:ext uri="{FF2B5EF4-FFF2-40B4-BE49-F238E27FC236}">
                    <a16:creationId xmlns:a16="http://schemas.microsoft.com/office/drawing/2014/main" id="{76F75360-C9C9-0F95-B977-1FDF68EA111E}"/>
                  </a:ext>
                </a:extLst>
              </p:cNvPr>
              <p:cNvSpPr/>
              <p:nvPr/>
            </p:nvSpPr>
            <p:spPr>
              <a:xfrm>
                <a:off x="2879372" y="1809343"/>
                <a:ext cx="72822" cy="58308"/>
              </a:xfrm>
              <a:custGeom>
                <a:avLst/>
                <a:gdLst>
                  <a:gd name="connsiteX0" fmla="*/ 29099 w 72822"/>
                  <a:gd name="connsiteY0" fmla="*/ 58309 h 58308"/>
                  <a:gd name="connsiteX1" fmla="*/ 3236 w 72822"/>
                  <a:gd name="connsiteY1" fmla="*/ 50182 h 58308"/>
                  <a:gd name="connsiteX2" fmla="*/ 19 w 72822"/>
                  <a:gd name="connsiteY2" fmla="*/ 43869 h 58308"/>
                  <a:gd name="connsiteX3" fmla="*/ 18595 w 72822"/>
                  <a:gd name="connsiteY3" fmla="*/ 6408 h 58308"/>
                  <a:gd name="connsiteX4" fmla="*/ 68757 w 72822"/>
                  <a:gd name="connsiteY4" fmla="*/ 5031 h 58308"/>
                  <a:gd name="connsiteX5" fmla="*/ 72666 w 72822"/>
                  <a:gd name="connsiteY5" fmla="*/ 12702 h 58308"/>
                  <a:gd name="connsiteX6" fmla="*/ 43432 w 72822"/>
                  <a:gd name="connsiteY6" fmla="*/ 55179 h 58308"/>
                  <a:gd name="connsiteX7" fmla="*/ 29099 w 72822"/>
                  <a:gd name="connsiteY7" fmla="*/ 58309 h 58308"/>
                  <a:gd name="connsiteX8" fmla="*/ 13225 w 72822"/>
                  <a:gd name="connsiteY8" fmla="*/ 40615 h 58308"/>
                  <a:gd name="connsiteX9" fmla="*/ 38232 w 72822"/>
                  <a:gd name="connsiteY9" fmla="*/ 43006 h 58308"/>
                  <a:gd name="connsiteX10" fmla="*/ 58470 w 72822"/>
                  <a:gd name="connsiteY10" fmla="*/ 15621 h 58308"/>
                  <a:gd name="connsiteX11" fmla="*/ 25351 w 72822"/>
                  <a:gd name="connsiteY11" fmla="*/ 17715 h 58308"/>
                  <a:gd name="connsiteX12" fmla="*/ 13225 w 72822"/>
                  <a:gd name="connsiteY12" fmla="*/ 40615 h 583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72822" h="58308">
                    <a:moveTo>
                      <a:pt x="29099" y="58309"/>
                    </a:moveTo>
                    <a:cubicBezTo>
                      <a:pt x="21027" y="58309"/>
                      <a:pt x="12379" y="55597"/>
                      <a:pt x="3236" y="50182"/>
                    </a:cubicBezTo>
                    <a:cubicBezTo>
                      <a:pt x="1082" y="48908"/>
                      <a:pt x="-172" y="46447"/>
                      <a:pt x="19" y="43869"/>
                    </a:cubicBezTo>
                    <a:cubicBezTo>
                      <a:pt x="1357" y="26182"/>
                      <a:pt x="7607" y="13581"/>
                      <a:pt x="18595" y="6408"/>
                    </a:cubicBezTo>
                    <a:cubicBezTo>
                      <a:pt x="38951" y="-6881"/>
                      <a:pt x="67543" y="4542"/>
                      <a:pt x="68757" y="5031"/>
                    </a:cubicBezTo>
                    <a:cubicBezTo>
                      <a:pt x="71703" y="6231"/>
                      <a:pt x="73358" y="9488"/>
                      <a:pt x="72666" y="12702"/>
                    </a:cubicBezTo>
                    <a:cubicBezTo>
                      <a:pt x="72378" y="14019"/>
                      <a:pt x="65403" y="45076"/>
                      <a:pt x="43432" y="55179"/>
                    </a:cubicBezTo>
                    <a:cubicBezTo>
                      <a:pt x="38891" y="57265"/>
                      <a:pt x="34109" y="58309"/>
                      <a:pt x="29099" y="58309"/>
                    </a:cubicBezTo>
                    <a:close/>
                    <a:moveTo>
                      <a:pt x="13225" y="40615"/>
                    </a:moveTo>
                    <a:cubicBezTo>
                      <a:pt x="22772" y="45430"/>
                      <a:pt x="31159" y="46236"/>
                      <a:pt x="38232" y="43006"/>
                    </a:cubicBezTo>
                    <a:cubicBezTo>
                      <a:pt x="49501" y="37849"/>
                      <a:pt x="55735" y="23707"/>
                      <a:pt x="58470" y="15621"/>
                    </a:cubicBezTo>
                    <a:cubicBezTo>
                      <a:pt x="50515" y="13444"/>
                      <a:pt x="35774" y="10889"/>
                      <a:pt x="25351" y="17715"/>
                    </a:cubicBezTo>
                    <a:cubicBezTo>
                      <a:pt x="18826" y="21992"/>
                      <a:pt x="14756" y="29687"/>
                      <a:pt x="13225" y="40615"/>
                    </a:cubicBezTo>
                    <a:close/>
                  </a:path>
                </a:pathLst>
              </a:custGeom>
              <a:grpFill/>
              <a:ln w="33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526" name="Freeform: Shape 724">
                <a:extLst>
                  <a:ext uri="{FF2B5EF4-FFF2-40B4-BE49-F238E27FC236}">
                    <a16:creationId xmlns:a16="http://schemas.microsoft.com/office/drawing/2014/main" id="{5230073E-D178-C0B3-1A9D-B04A7123DC7F}"/>
                  </a:ext>
                </a:extLst>
              </p:cNvPr>
              <p:cNvSpPr/>
              <p:nvPr/>
            </p:nvSpPr>
            <p:spPr>
              <a:xfrm>
                <a:off x="2927856" y="1727531"/>
                <a:ext cx="62174" cy="65380"/>
              </a:xfrm>
              <a:custGeom>
                <a:avLst/>
                <a:gdLst>
                  <a:gd name="connsiteX0" fmla="*/ 20423 w 62174"/>
                  <a:gd name="connsiteY0" fmla="*/ 65380 h 65380"/>
                  <a:gd name="connsiteX1" fmla="*/ 6712 w 62174"/>
                  <a:gd name="connsiteY1" fmla="*/ 63768 h 65380"/>
                  <a:gd name="connsiteX2" fmla="*/ 1816 w 62174"/>
                  <a:gd name="connsiteY2" fmla="*/ 58762 h 65380"/>
                  <a:gd name="connsiteX3" fmla="*/ 8648 w 62174"/>
                  <a:gd name="connsiteY3" fmla="*/ 17202 h 65380"/>
                  <a:gd name="connsiteX4" fmla="*/ 56061 w 62174"/>
                  <a:gd name="connsiteY4" fmla="*/ 87 h 65380"/>
                  <a:gd name="connsiteX5" fmla="*/ 62013 w 62174"/>
                  <a:gd name="connsiteY5" fmla="*/ 6173 h 65380"/>
                  <a:gd name="connsiteX6" fmla="*/ 46477 w 62174"/>
                  <a:gd name="connsiteY6" fmla="*/ 55870 h 65380"/>
                  <a:gd name="connsiteX7" fmla="*/ 20423 w 62174"/>
                  <a:gd name="connsiteY7" fmla="*/ 65380 h 65380"/>
                  <a:gd name="connsiteX8" fmla="*/ 13460 w 62174"/>
                  <a:gd name="connsiteY8" fmla="*/ 51502 h 65380"/>
                  <a:gd name="connsiteX9" fmla="*/ 37989 w 62174"/>
                  <a:gd name="connsiteY9" fmla="*/ 45904 h 65380"/>
                  <a:gd name="connsiteX10" fmla="*/ 49336 w 62174"/>
                  <a:gd name="connsiteY10" fmla="*/ 13426 h 65380"/>
                  <a:gd name="connsiteX11" fmla="*/ 18376 w 62174"/>
                  <a:gd name="connsiteY11" fmla="*/ 25856 h 65380"/>
                  <a:gd name="connsiteX12" fmla="*/ 13460 w 62174"/>
                  <a:gd name="connsiteY12" fmla="*/ 51502 h 653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62174" h="65380">
                    <a:moveTo>
                      <a:pt x="20423" y="65380"/>
                    </a:moveTo>
                    <a:cubicBezTo>
                      <a:pt x="16139" y="65380"/>
                      <a:pt x="11561" y="64845"/>
                      <a:pt x="6712" y="63768"/>
                    </a:cubicBezTo>
                    <a:cubicBezTo>
                      <a:pt x="4284" y="63233"/>
                      <a:pt x="2378" y="61280"/>
                      <a:pt x="1816" y="58762"/>
                    </a:cubicBezTo>
                    <a:cubicBezTo>
                      <a:pt x="-2043" y="41483"/>
                      <a:pt x="254" y="27502"/>
                      <a:pt x="8648" y="17202"/>
                    </a:cubicBezTo>
                    <a:cubicBezTo>
                      <a:pt x="24201" y="-1873"/>
                      <a:pt x="54763" y="3"/>
                      <a:pt x="56061" y="87"/>
                    </a:cubicBezTo>
                    <a:cubicBezTo>
                      <a:pt x="59221" y="304"/>
                      <a:pt x="61749" y="2889"/>
                      <a:pt x="62013" y="6173"/>
                    </a:cubicBezTo>
                    <a:cubicBezTo>
                      <a:pt x="62127" y="7521"/>
                      <a:pt x="64491" y="39323"/>
                      <a:pt x="46477" y="55870"/>
                    </a:cubicBezTo>
                    <a:cubicBezTo>
                      <a:pt x="39578" y="62200"/>
                      <a:pt x="30849" y="65380"/>
                      <a:pt x="20423" y="65380"/>
                    </a:cubicBezTo>
                    <a:close/>
                    <a:moveTo>
                      <a:pt x="13460" y="51502"/>
                    </a:moveTo>
                    <a:cubicBezTo>
                      <a:pt x="23914" y="53074"/>
                      <a:pt x="32187" y="51208"/>
                      <a:pt x="37989" y="45904"/>
                    </a:cubicBezTo>
                    <a:cubicBezTo>
                      <a:pt x="47236" y="37437"/>
                      <a:pt x="49071" y="21994"/>
                      <a:pt x="49336" y="13426"/>
                    </a:cubicBezTo>
                    <a:cubicBezTo>
                      <a:pt x="41119" y="13861"/>
                      <a:pt x="26325" y="16065"/>
                      <a:pt x="18376" y="25856"/>
                    </a:cubicBezTo>
                    <a:cubicBezTo>
                      <a:pt x="13390" y="31986"/>
                      <a:pt x="11741" y="40600"/>
                      <a:pt x="13460" y="51502"/>
                    </a:cubicBezTo>
                    <a:close/>
                  </a:path>
                </a:pathLst>
              </a:custGeom>
              <a:grpFill/>
              <a:ln w="33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527" name="Freeform: Shape 725">
                <a:extLst>
                  <a:ext uri="{FF2B5EF4-FFF2-40B4-BE49-F238E27FC236}">
                    <a16:creationId xmlns:a16="http://schemas.microsoft.com/office/drawing/2014/main" id="{AC1DF0E6-9D99-99E1-3AA9-7DAD975F98E0}"/>
                  </a:ext>
                </a:extLst>
              </p:cNvPr>
              <p:cNvSpPr/>
              <p:nvPr/>
            </p:nvSpPr>
            <p:spPr>
              <a:xfrm>
                <a:off x="2913981" y="1648000"/>
                <a:ext cx="59274" cy="69184"/>
              </a:xfrm>
              <a:custGeom>
                <a:avLst/>
                <a:gdLst>
                  <a:gd name="connsiteX0" fmla="*/ 16594 w 59274"/>
                  <a:gd name="connsiteY0" fmla="*/ 69184 h 69184"/>
                  <a:gd name="connsiteX1" fmla="*/ 9013 w 59274"/>
                  <a:gd name="connsiteY1" fmla="*/ 68760 h 69184"/>
                  <a:gd name="connsiteX2" fmla="*/ 3636 w 59274"/>
                  <a:gd name="connsiteY2" fmla="*/ 64325 h 69184"/>
                  <a:gd name="connsiteX3" fmla="*/ 6207 w 59274"/>
                  <a:gd name="connsiteY3" fmla="*/ 22247 h 69184"/>
                  <a:gd name="connsiteX4" fmla="*/ 51617 w 59274"/>
                  <a:gd name="connsiteY4" fmla="*/ 5 h 69184"/>
                  <a:gd name="connsiteX5" fmla="*/ 58148 w 59274"/>
                  <a:gd name="connsiteY5" fmla="*/ 5396 h 69184"/>
                  <a:gd name="connsiteX6" fmla="*/ 47751 w 59274"/>
                  <a:gd name="connsiteY6" fmla="*/ 56527 h 69184"/>
                  <a:gd name="connsiteX7" fmla="*/ 16594 w 59274"/>
                  <a:gd name="connsiteY7" fmla="*/ 69184 h 69184"/>
                  <a:gd name="connsiteX8" fmla="*/ 14477 w 59274"/>
                  <a:gd name="connsiteY8" fmla="*/ 55818 h 69184"/>
                  <a:gd name="connsiteX9" fmla="*/ 38324 w 59274"/>
                  <a:gd name="connsiteY9" fmla="*/ 47521 h 69184"/>
                  <a:gd name="connsiteX10" fmla="*/ 46323 w 59274"/>
                  <a:gd name="connsiteY10" fmla="*/ 13997 h 69184"/>
                  <a:gd name="connsiteX11" fmla="*/ 16758 w 59274"/>
                  <a:gd name="connsiteY11" fmla="*/ 29774 h 69184"/>
                  <a:gd name="connsiteX12" fmla="*/ 14477 w 59274"/>
                  <a:gd name="connsiteY12" fmla="*/ 55818 h 691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59274" h="69184">
                    <a:moveTo>
                      <a:pt x="16594" y="69184"/>
                    </a:moveTo>
                    <a:cubicBezTo>
                      <a:pt x="14159" y="69184"/>
                      <a:pt x="11635" y="69044"/>
                      <a:pt x="9013" y="68760"/>
                    </a:cubicBezTo>
                    <a:cubicBezTo>
                      <a:pt x="6545" y="68492"/>
                      <a:pt x="4448" y="66763"/>
                      <a:pt x="3636" y="64325"/>
                    </a:cubicBezTo>
                    <a:cubicBezTo>
                      <a:pt x="-1959" y="47568"/>
                      <a:pt x="-1093" y="33409"/>
                      <a:pt x="6207" y="22247"/>
                    </a:cubicBezTo>
                    <a:cubicBezTo>
                      <a:pt x="19731" y="1570"/>
                      <a:pt x="50316" y="59"/>
                      <a:pt x="51617" y="5"/>
                    </a:cubicBezTo>
                    <a:cubicBezTo>
                      <a:pt x="54977" y="-122"/>
                      <a:pt x="57556" y="2172"/>
                      <a:pt x="58148" y="5396"/>
                    </a:cubicBezTo>
                    <a:cubicBezTo>
                      <a:pt x="58398" y="6723"/>
                      <a:pt x="63980" y="38084"/>
                      <a:pt x="47751" y="56527"/>
                    </a:cubicBezTo>
                    <a:cubicBezTo>
                      <a:pt x="40340" y="64941"/>
                      <a:pt x="29883" y="69184"/>
                      <a:pt x="16594" y="69184"/>
                    </a:cubicBezTo>
                    <a:close/>
                    <a:moveTo>
                      <a:pt x="14477" y="55818"/>
                    </a:moveTo>
                    <a:cubicBezTo>
                      <a:pt x="25135" y="56249"/>
                      <a:pt x="33110" y="53450"/>
                      <a:pt x="38324" y="47521"/>
                    </a:cubicBezTo>
                    <a:cubicBezTo>
                      <a:pt x="46166" y="38609"/>
                      <a:pt x="46985" y="23481"/>
                      <a:pt x="46323" y="13997"/>
                    </a:cubicBezTo>
                    <a:cubicBezTo>
                      <a:pt x="38200" y="15331"/>
                      <a:pt x="23680" y="19143"/>
                      <a:pt x="16758" y="29774"/>
                    </a:cubicBezTo>
                    <a:cubicBezTo>
                      <a:pt x="12431" y="36419"/>
                      <a:pt x="11668" y="45167"/>
                      <a:pt x="14477" y="55818"/>
                    </a:cubicBezTo>
                    <a:close/>
                  </a:path>
                </a:pathLst>
              </a:custGeom>
              <a:grpFill/>
              <a:ln w="33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</p:grpSp>
        <p:grpSp>
          <p:nvGrpSpPr>
            <p:cNvPr id="521" name="Graphic 24">
              <a:extLst>
                <a:ext uri="{FF2B5EF4-FFF2-40B4-BE49-F238E27FC236}">
                  <a16:creationId xmlns:a16="http://schemas.microsoft.com/office/drawing/2014/main" id="{073459E6-47D7-0FBA-CCC9-9934703A6EA4}"/>
                </a:ext>
              </a:extLst>
            </p:cNvPr>
            <p:cNvGrpSpPr/>
            <p:nvPr/>
          </p:nvGrpSpPr>
          <p:grpSpPr>
            <a:xfrm>
              <a:off x="6987988" y="1647997"/>
              <a:ext cx="110654" cy="219654"/>
              <a:chOff x="2569217" y="1647997"/>
              <a:chExt cx="110654" cy="219654"/>
            </a:xfrm>
            <a:grpFill/>
          </p:grpSpPr>
          <p:sp>
            <p:nvSpPr>
              <p:cNvPr id="522" name="Freeform: Shape 720">
                <a:extLst>
                  <a:ext uri="{FF2B5EF4-FFF2-40B4-BE49-F238E27FC236}">
                    <a16:creationId xmlns:a16="http://schemas.microsoft.com/office/drawing/2014/main" id="{F83EA9B6-E3A4-401E-FE84-48A86DE39BD8}"/>
                  </a:ext>
                </a:extLst>
              </p:cNvPr>
              <p:cNvSpPr/>
              <p:nvPr/>
            </p:nvSpPr>
            <p:spPr>
              <a:xfrm>
                <a:off x="2607039" y="1809341"/>
                <a:ext cx="72832" cy="58310"/>
              </a:xfrm>
              <a:custGeom>
                <a:avLst/>
                <a:gdLst>
                  <a:gd name="connsiteX0" fmla="*/ 43729 w 72832"/>
                  <a:gd name="connsiteY0" fmla="*/ 58310 h 58310"/>
                  <a:gd name="connsiteX1" fmla="*/ 29400 w 72832"/>
                  <a:gd name="connsiteY1" fmla="*/ 55177 h 58310"/>
                  <a:gd name="connsiteX2" fmla="*/ 159 w 72832"/>
                  <a:gd name="connsiteY2" fmla="*/ 12700 h 58310"/>
                  <a:gd name="connsiteX3" fmla="*/ 4068 w 72832"/>
                  <a:gd name="connsiteY3" fmla="*/ 5029 h 58310"/>
                  <a:gd name="connsiteX4" fmla="*/ 54229 w 72832"/>
                  <a:gd name="connsiteY4" fmla="*/ 6407 h 58310"/>
                  <a:gd name="connsiteX5" fmla="*/ 72813 w 72832"/>
                  <a:gd name="connsiteY5" fmla="*/ 43867 h 58310"/>
                  <a:gd name="connsiteX6" fmla="*/ 69596 w 72832"/>
                  <a:gd name="connsiteY6" fmla="*/ 50181 h 58310"/>
                  <a:gd name="connsiteX7" fmla="*/ 43729 w 72832"/>
                  <a:gd name="connsiteY7" fmla="*/ 58310 h 58310"/>
                  <a:gd name="connsiteX8" fmla="*/ 14338 w 72832"/>
                  <a:gd name="connsiteY8" fmla="*/ 15586 h 58310"/>
                  <a:gd name="connsiteX9" fmla="*/ 34593 w 72832"/>
                  <a:gd name="connsiteY9" fmla="*/ 43008 h 58310"/>
                  <a:gd name="connsiteX10" fmla="*/ 59600 w 72832"/>
                  <a:gd name="connsiteY10" fmla="*/ 40617 h 58310"/>
                  <a:gd name="connsiteX11" fmla="*/ 47438 w 72832"/>
                  <a:gd name="connsiteY11" fmla="*/ 17696 h 58310"/>
                  <a:gd name="connsiteX12" fmla="*/ 14338 w 72832"/>
                  <a:gd name="connsiteY12" fmla="*/ 15586 h 583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72832" h="58310">
                    <a:moveTo>
                      <a:pt x="43729" y="58310"/>
                    </a:moveTo>
                    <a:cubicBezTo>
                      <a:pt x="38720" y="58310"/>
                      <a:pt x="33938" y="57267"/>
                      <a:pt x="29400" y="55177"/>
                    </a:cubicBezTo>
                    <a:cubicBezTo>
                      <a:pt x="7419" y="45075"/>
                      <a:pt x="447" y="14018"/>
                      <a:pt x="159" y="12700"/>
                    </a:cubicBezTo>
                    <a:cubicBezTo>
                      <a:pt x="-540" y="9490"/>
                      <a:pt x="1122" y="6230"/>
                      <a:pt x="4068" y="5029"/>
                    </a:cubicBezTo>
                    <a:cubicBezTo>
                      <a:pt x="5279" y="4541"/>
                      <a:pt x="33871" y="-6879"/>
                      <a:pt x="54229" y="6407"/>
                    </a:cubicBezTo>
                    <a:cubicBezTo>
                      <a:pt x="65225" y="13577"/>
                      <a:pt x="71475" y="26184"/>
                      <a:pt x="72813" y="43867"/>
                    </a:cubicBezTo>
                    <a:cubicBezTo>
                      <a:pt x="73007" y="46442"/>
                      <a:pt x="71753" y="48904"/>
                      <a:pt x="69596" y="50181"/>
                    </a:cubicBezTo>
                    <a:cubicBezTo>
                      <a:pt x="60460" y="55598"/>
                      <a:pt x="51805" y="58310"/>
                      <a:pt x="43729" y="58310"/>
                    </a:cubicBezTo>
                    <a:close/>
                    <a:moveTo>
                      <a:pt x="14338" y="15586"/>
                    </a:moveTo>
                    <a:cubicBezTo>
                      <a:pt x="17067" y="23666"/>
                      <a:pt x="23303" y="37845"/>
                      <a:pt x="34593" y="43008"/>
                    </a:cubicBezTo>
                    <a:cubicBezTo>
                      <a:pt x="41649" y="46242"/>
                      <a:pt x="50043" y="45436"/>
                      <a:pt x="59600" y="40617"/>
                    </a:cubicBezTo>
                    <a:cubicBezTo>
                      <a:pt x="58065" y="29672"/>
                      <a:pt x="53979" y="21970"/>
                      <a:pt x="47438" y="17696"/>
                    </a:cubicBezTo>
                    <a:cubicBezTo>
                      <a:pt x="37606" y="11282"/>
                      <a:pt x="23173" y="13185"/>
                      <a:pt x="14338" y="15586"/>
                    </a:cubicBezTo>
                    <a:close/>
                  </a:path>
                </a:pathLst>
              </a:custGeom>
              <a:grpFill/>
              <a:ln w="33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523" name="Freeform: Shape 721">
                <a:extLst>
                  <a:ext uri="{FF2B5EF4-FFF2-40B4-BE49-F238E27FC236}">
                    <a16:creationId xmlns:a16="http://schemas.microsoft.com/office/drawing/2014/main" id="{FE58C46D-1439-2D1C-A365-900C16001BBB}"/>
                  </a:ext>
                </a:extLst>
              </p:cNvPr>
              <p:cNvSpPr/>
              <p:nvPr/>
            </p:nvSpPr>
            <p:spPr>
              <a:xfrm>
                <a:off x="2569217" y="1727532"/>
                <a:ext cx="62166" cy="65378"/>
              </a:xfrm>
              <a:custGeom>
                <a:avLst/>
                <a:gdLst>
                  <a:gd name="connsiteX0" fmla="*/ 41740 w 62166"/>
                  <a:gd name="connsiteY0" fmla="*/ 65379 h 65378"/>
                  <a:gd name="connsiteX1" fmla="*/ 15690 w 62166"/>
                  <a:gd name="connsiteY1" fmla="*/ 55865 h 65378"/>
                  <a:gd name="connsiteX2" fmla="*/ 160 w 62166"/>
                  <a:gd name="connsiteY2" fmla="*/ 6168 h 65378"/>
                  <a:gd name="connsiteX3" fmla="*/ 6109 w 62166"/>
                  <a:gd name="connsiteY3" fmla="*/ 82 h 65378"/>
                  <a:gd name="connsiteX4" fmla="*/ 53515 w 62166"/>
                  <a:gd name="connsiteY4" fmla="*/ 17197 h 65378"/>
                  <a:gd name="connsiteX5" fmla="*/ 60347 w 62166"/>
                  <a:gd name="connsiteY5" fmla="*/ 58757 h 65378"/>
                  <a:gd name="connsiteX6" fmla="*/ 55451 w 62166"/>
                  <a:gd name="connsiteY6" fmla="*/ 63763 h 65378"/>
                  <a:gd name="connsiteX7" fmla="*/ 41740 w 62166"/>
                  <a:gd name="connsiteY7" fmla="*/ 65379 h 65378"/>
                  <a:gd name="connsiteX8" fmla="*/ 54123 w 62166"/>
                  <a:gd name="connsiteY8" fmla="*/ 57249 h 65378"/>
                  <a:gd name="connsiteX9" fmla="*/ 54187 w 62166"/>
                  <a:gd name="connsiteY9" fmla="*/ 57249 h 65378"/>
                  <a:gd name="connsiteX10" fmla="*/ 54123 w 62166"/>
                  <a:gd name="connsiteY10" fmla="*/ 57249 h 65378"/>
                  <a:gd name="connsiteX11" fmla="*/ 12834 w 62166"/>
                  <a:gd name="connsiteY11" fmla="*/ 13381 h 65378"/>
                  <a:gd name="connsiteX12" fmla="*/ 24180 w 62166"/>
                  <a:gd name="connsiteY12" fmla="*/ 45903 h 65378"/>
                  <a:gd name="connsiteX13" fmla="*/ 48709 w 62166"/>
                  <a:gd name="connsiteY13" fmla="*/ 51501 h 65378"/>
                  <a:gd name="connsiteX14" fmla="*/ 43770 w 62166"/>
                  <a:gd name="connsiteY14" fmla="*/ 25821 h 65378"/>
                  <a:gd name="connsiteX15" fmla="*/ 12834 w 62166"/>
                  <a:gd name="connsiteY15" fmla="*/ 13381 h 653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62166" h="65378">
                    <a:moveTo>
                      <a:pt x="41740" y="65379"/>
                    </a:moveTo>
                    <a:cubicBezTo>
                      <a:pt x="31313" y="65379"/>
                      <a:pt x="22582" y="62202"/>
                      <a:pt x="15690" y="55865"/>
                    </a:cubicBezTo>
                    <a:cubicBezTo>
                      <a:pt x="-2318" y="39315"/>
                      <a:pt x="49" y="7516"/>
                      <a:pt x="160" y="6168"/>
                    </a:cubicBezTo>
                    <a:cubicBezTo>
                      <a:pt x="420" y="2888"/>
                      <a:pt x="2952" y="303"/>
                      <a:pt x="6109" y="82"/>
                    </a:cubicBezTo>
                    <a:cubicBezTo>
                      <a:pt x="7396" y="12"/>
                      <a:pt x="37968" y="-1878"/>
                      <a:pt x="53515" y="17197"/>
                    </a:cubicBezTo>
                    <a:cubicBezTo>
                      <a:pt x="61912" y="27497"/>
                      <a:pt x="64212" y="41478"/>
                      <a:pt x="60347" y="58757"/>
                    </a:cubicBezTo>
                    <a:cubicBezTo>
                      <a:pt x="59785" y="61275"/>
                      <a:pt x="57879" y="63225"/>
                      <a:pt x="55451" y="63763"/>
                    </a:cubicBezTo>
                    <a:cubicBezTo>
                      <a:pt x="50599" y="64840"/>
                      <a:pt x="46024" y="65379"/>
                      <a:pt x="41740" y="65379"/>
                    </a:cubicBezTo>
                    <a:close/>
                    <a:moveTo>
                      <a:pt x="54123" y="57249"/>
                    </a:moveTo>
                    <a:lnTo>
                      <a:pt x="54187" y="57249"/>
                    </a:lnTo>
                    <a:lnTo>
                      <a:pt x="54123" y="57249"/>
                    </a:lnTo>
                    <a:close/>
                    <a:moveTo>
                      <a:pt x="12834" y="13381"/>
                    </a:moveTo>
                    <a:cubicBezTo>
                      <a:pt x="13091" y="21946"/>
                      <a:pt x="14920" y="37422"/>
                      <a:pt x="24180" y="45903"/>
                    </a:cubicBezTo>
                    <a:cubicBezTo>
                      <a:pt x="29969" y="51203"/>
                      <a:pt x="38212" y="53072"/>
                      <a:pt x="48709" y="51501"/>
                    </a:cubicBezTo>
                    <a:cubicBezTo>
                      <a:pt x="50428" y="40579"/>
                      <a:pt x="48773" y="31954"/>
                      <a:pt x="43770" y="25821"/>
                    </a:cubicBezTo>
                    <a:cubicBezTo>
                      <a:pt x="36256" y="16605"/>
                      <a:pt x="21946" y="13880"/>
                      <a:pt x="12834" y="13381"/>
                    </a:cubicBezTo>
                    <a:close/>
                  </a:path>
                </a:pathLst>
              </a:custGeom>
              <a:grpFill/>
              <a:ln w="33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524" name="Freeform: Shape 722">
                <a:extLst>
                  <a:ext uri="{FF2B5EF4-FFF2-40B4-BE49-F238E27FC236}">
                    <a16:creationId xmlns:a16="http://schemas.microsoft.com/office/drawing/2014/main" id="{2005ADB0-0A27-A5DE-F158-B6DC96AE2647}"/>
                  </a:ext>
                </a:extLst>
              </p:cNvPr>
              <p:cNvSpPr/>
              <p:nvPr/>
            </p:nvSpPr>
            <p:spPr>
              <a:xfrm>
                <a:off x="2585974" y="1647997"/>
                <a:ext cx="59276" cy="69186"/>
              </a:xfrm>
              <a:custGeom>
                <a:avLst/>
                <a:gdLst>
                  <a:gd name="connsiteX0" fmla="*/ 42683 w 59276"/>
                  <a:gd name="connsiteY0" fmla="*/ 69187 h 69186"/>
                  <a:gd name="connsiteX1" fmla="*/ 11530 w 59276"/>
                  <a:gd name="connsiteY1" fmla="*/ 56526 h 69186"/>
                  <a:gd name="connsiteX2" fmla="*/ 1126 w 59276"/>
                  <a:gd name="connsiteY2" fmla="*/ 5395 h 69186"/>
                  <a:gd name="connsiteX3" fmla="*/ 7657 w 59276"/>
                  <a:gd name="connsiteY3" fmla="*/ 4 h 69186"/>
                  <a:gd name="connsiteX4" fmla="*/ 53067 w 59276"/>
                  <a:gd name="connsiteY4" fmla="*/ 22246 h 69186"/>
                  <a:gd name="connsiteX5" fmla="*/ 55638 w 59276"/>
                  <a:gd name="connsiteY5" fmla="*/ 64324 h 69186"/>
                  <a:gd name="connsiteX6" fmla="*/ 50261 w 59276"/>
                  <a:gd name="connsiteY6" fmla="*/ 68759 h 69186"/>
                  <a:gd name="connsiteX7" fmla="*/ 42683 w 59276"/>
                  <a:gd name="connsiteY7" fmla="*/ 69187 h 69186"/>
                  <a:gd name="connsiteX8" fmla="*/ 49602 w 59276"/>
                  <a:gd name="connsiteY8" fmla="*/ 62134 h 69186"/>
                  <a:gd name="connsiteX9" fmla="*/ 49666 w 59276"/>
                  <a:gd name="connsiteY9" fmla="*/ 62134 h 69186"/>
                  <a:gd name="connsiteX10" fmla="*/ 49602 w 59276"/>
                  <a:gd name="connsiteY10" fmla="*/ 62134 h 69186"/>
                  <a:gd name="connsiteX11" fmla="*/ 13001 w 59276"/>
                  <a:gd name="connsiteY11" fmla="*/ 13966 h 69186"/>
                  <a:gd name="connsiteX12" fmla="*/ 20980 w 59276"/>
                  <a:gd name="connsiteY12" fmla="*/ 47550 h 69186"/>
                  <a:gd name="connsiteX13" fmla="*/ 44803 w 59276"/>
                  <a:gd name="connsiteY13" fmla="*/ 55817 h 69186"/>
                  <a:gd name="connsiteX14" fmla="*/ 42506 w 59276"/>
                  <a:gd name="connsiteY14" fmla="*/ 29740 h 69186"/>
                  <a:gd name="connsiteX15" fmla="*/ 13001 w 59276"/>
                  <a:gd name="connsiteY15" fmla="*/ 13966 h 691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59276" h="69186">
                    <a:moveTo>
                      <a:pt x="42683" y="69187"/>
                    </a:moveTo>
                    <a:cubicBezTo>
                      <a:pt x="29397" y="69187"/>
                      <a:pt x="18937" y="64946"/>
                      <a:pt x="11530" y="56526"/>
                    </a:cubicBezTo>
                    <a:cubicBezTo>
                      <a:pt x="-4706" y="38087"/>
                      <a:pt x="875" y="6722"/>
                      <a:pt x="1126" y="5395"/>
                    </a:cubicBezTo>
                    <a:cubicBezTo>
                      <a:pt x="1718" y="2168"/>
                      <a:pt x="4310" y="-110"/>
                      <a:pt x="7657" y="4"/>
                    </a:cubicBezTo>
                    <a:cubicBezTo>
                      <a:pt x="8955" y="58"/>
                      <a:pt x="39546" y="1569"/>
                      <a:pt x="53067" y="22246"/>
                    </a:cubicBezTo>
                    <a:cubicBezTo>
                      <a:pt x="60373" y="33412"/>
                      <a:pt x="61233" y="47570"/>
                      <a:pt x="55638" y="64324"/>
                    </a:cubicBezTo>
                    <a:cubicBezTo>
                      <a:pt x="54826" y="66762"/>
                      <a:pt x="52729" y="68494"/>
                      <a:pt x="50261" y="68759"/>
                    </a:cubicBezTo>
                    <a:cubicBezTo>
                      <a:pt x="47649" y="69043"/>
                      <a:pt x="45121" y="69187"/>
                      <a:pt x="42683" y="69187"/>
                    </a:cubicBezTo>
                    <a:close/>
                    <a:moveTo>
                      <a:pt x="49602" y="62134"/>
                    </a:moveTo>
                    <a:lnTo>
                      <a:pt x="49666" y="62134"/>
                    </a:lnTo>
                    <a:lnTo>
                      <a:pt x="49602" y="62134"/>
                    </a:lnTo>
                    <a:close/>
                    <a:moveTo>
                      <a:pt x="13001" y="13966"/>
                    </a:moveTo>
                    <a:cubicBezTo>
                      <a:pt x="12389" y="22506"/>
                      <a:pt x="12633" y="38100"/>
                      <a:pt x="20980" y="47550"/>
                    </a:cubicBezTo>
                    <a:cubicBezTo>
                      <a:pt x="26207" y="53463"/>
                      <a:pt x="34193" y="56278"/>
                      <a:pt x="44803" y="55817"/>
                    </a:cubicBezTo>
                    <a:cubicBezTo>
                      <a:pt x="47619" y="45149"/>
                      <a:pt x="46850" y="36391"/>
                      <a:pt x="42506" y="29740"/>
                    </a:cubicBezTo>
                    <a:cubicBezTo>
                      <a:pt x="35965" y="19751"/>
                      <a:pt x="22017" y="15464"/>
                      <a:pt x="13001" y="13966"/>
                    </a:cubicBezTo>
                    <a:close/>
                  </a:path>
                </a:pathLst>
              </a:custGeom>
              <a:grpFill/>
              <a:ln w="33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</p:grpSp>
      </p:grpSp>
      <p:grpSp>
        <p:nvGrpSpPr>
          <p:cNvPr id="548" name="Gruppieren 431">
            <a:extLst>
              <a:ext uri="{FF2B5EF4-FFF2-40B4-BE49-F238E27FC236}">
                <a16:creationId xmlns:a16="http://schemas.microsoft.com/office/drawing/2014/main" id="{61A2F826-6AC5-2421-ADAD-5FD6F1633EB1}"/>
              </a:ext>
            </a:extLst>
          </p:cNvPr>
          <p:cNvGrpSpPr/>
          <p:nvPr/>
        </p:nvGrpSpPr>
        <p:grpSpPr>
          <a:xfrm>
            <a:off x="4394746" y="2421495"/>
            <a:ext cx="354510" cy="195327"/>
            <a:chOff x="3904458" y="3415176"/>
            <a:chExt cx="400598" cy="220721"/>
          </a:xfrm>
          <a:solidFill>
            <a:schemeClr val="bg2">
              <a:lumMod val="50000"/>
            </a:schemeClr>
          </a:solidFill>
        </p:grpSpPr>
        <p:sp>
          <p:nvSpPr>
            <p:cNvPr id="553" name="Freihandform: Form 44">
              <a:extLst>
                <a:ext uri="{FF2B5EF4-FFF2-40B4-BE49-F238E27FC236}">
                  <a16:creationId xmlns:a16="http://schemas.microsoft.com/office/drawing/2014/main" id="{F9FE12EA-89C2-4D46-5B1F-2F719256C2DC}"/>
                </a:ext>
              </a:extLst>
            </p:cNvPr>
            <p:cNvSpPr/>
            <p:nvPr/>
          </p:nvSpPr>
          <p:spPr>
            <a:xfrm>
              <a:off x="3904458" y="3429188"/>
              <a:ext cx="400598" cy="206709"/>
            </a:xfrm>
            <a:custGeom>
              <a:avLst/>
              <a:gdLst>
                <a:gd name="connsiteX0" fmla="*/ 264929 w 400598"/>
                <a:gd name="connsiteY0" fmla="*/ 206709 h 206709"/>
                <a:gd name="connsiteX1" fmla="*/ 259243 w 400598"/>
                <a:gd name="connsiteY1" fmla="*/ 202927 h 206709"/>
                <a:gd name="connsiteX2" fmla="*/ 245588 w 400598"/>
                <a:gd name="connsiteY2" fmla="*/ 182518 h 206709"/>
                <a:gd name="connsiteX3" fmla="*/ 225277 w 400598"/>
                <a:gd name="connsiteY3" fmla="*/ 168703 h 206709"/>
                <a:gd name="connsiteX4" fmla="*/ 200349 w 400598"/>
                <a:gd name="connsiteY4" fmla="*/ 163557 h 206709"/>
                <a:gd name="connsiteX5" fmla="*/ 200103 w 400598"/>
                <a:gd name="connsiteY5" fmla="*/ 163557 h 206709"/>
                <a:gd name="connsiteX6" fmla="*/ 175408 w 400598"/>
                <a:gd name="connsiteY6" fmla="*/ 168494 h 206709"/>
                <a:gd name="connsiteX7" fmla="*/ 154998 w 400598"/>
                <a:gd name="connsiteY7" fmla="*/ 182137 h 206709"/>
                <a:gd name="connsiteX8" fmla="*/ 141392 w 400598"/>
                <a:gd name="connsiteY8" fmla="*/ 201957 h 206709"/>
                <a:gd name="connsiteX9" fmla="*/ 137598 w 400598"/>
                <a:gd name="connsiteY9" fmla="*/ 205973 h 206709"/>
                <a:gd name="connsiteX10" fmla="*/ 129898 w 400598"/>
                <a:gd name="connsiteY10" fmla="*/ 202682 h 206709"/>
                <a:gd name="connsiteX11" fmla="*/ 116181 w 400598"/>
                <a:gd name="connsiteY11" fmla="*/ 182321 h 206709"/>
                <a:gd name="connsiteX12" fmla="*/ 95821 w 400598"/>
                <a:gd name="connsiteY12" fmla="*/ 168605 h 206709"/>
                <a:gd name="connsiteX13" fmla="*/ 45940 w 400598"/>
                <a:gd name="connsiteY13" fmla="*/ 168605 h 206709"/>
                <a:gd name="connsiteX14" fmla="*/ 25579 w 400598"/>
                <a:gd name="connsiteY14" fmla="*/ 182321 h 206709"/>
                <a:gd name="connsiteX15" fmla="*/ 11838 w 400598"/>
                <a:gd name="connsiteY15" fmla="*/ 202694 h 206709"/>
                <a:gd name="connsiteX16" fmla="*/ 4937 w 400598"/>
                <a:gd name="connsiteY16" fmla="*/ 206329 h 206709"/>
                <a:gd name="connsiteX17" fmla="*/ 0 w 400598"/>
                <a:gd name="connsiteY17" fmla="*/ 200287 h 206709"/>
                <a:gd name="connsiteX18" fmla="*/ 200299 w 400598"/>
                <a:gd name="connsiteY18" fmla="*/ 0 h 206709"/>
                <a:gd name="connsiteX19" fmla="*/ 400599 w 400598"/>
                <a:gd name="connsiteY19" fmla="*/ 200287 h 206709"/>
                <a:gd name="connsiteX20" fmla="*/ 395662 w 400598"/>
                <a:gd name="connsiteY20" fmla="*/ 206329 h 206709"/>
                <a:gd name="connsiteX21" fmla="*/ 388761 w 400598"/>
                <a:gd name="connsiteY21" fmla="*/ 202694 h 206709"/>
                <a:gd name="connsiteX22" fmla="*/ 375019 w 400598"/>
                <a:gd name="connsiteY22" fmla="*/ 182321 h 206709"/>
                <a:gd name="connsiteX23" fmla="*/ 354659 w 400598"/>
                <a:gd name="connsiteY23" fmla="*/ 168605 h 206709"/>
                <a:gd name="connsiteX24" fmla="*/ 304778 w 400598"/>
                <a:gd name="connsiteY24" fmla="*/ 168605 h 206709"/>
                <a:gd name="connsiteX25" fmla="*/ 284418 w 400598"/>
                <a:gd name="connsiteY25" fmla="*/ 182321 h 206709"/>
                <a:gd name="connsiteX26" fmla="*/ 270787 w 400598"/>
                <a:gd name="connsiteY26" fmla="*/ 202473 h 206709"/>
                <a:gd name="connsiteX27" fmla="*/ 270787 w 400598"/>
                <a:gd name="connsiteY27" fmla="*/ 202497 h 206709"/>
                <a:gd name="connsiteX28" fmla="*/ 265163 w 400598"/>
                <a:gd name="connsiteY28" fmla="*/ 206709 h 206709"/>
                <a:gd name="connsiteX29" fmla="*/ 264929 w 400598"/>
                <a:gd name="connsiteY29" fmla="*/ 206709 h 206709"/>
                <a:gd name="connsiteX30" fmla="*/ 200103 w 400598"/>
                <a:gd name="connsiteY30" fmla="*/ 151228 h 206709"/>
                <a:gd name="connsiteX31" fmla="*/ 200410 w 400598"/>
                <a:gd name="connsiteY31" fmla="*/ 151228 h 206709"/>
                <a:gd name="connsiteX32" fmla="*/ 230128 w 400598"/>
                <a:gd name="connsiteY32" fmla="*/ 157356 h 206709"/>
                <a:gd name="connsiteX33" fmla="*/ 254331 w 400598"/>
                <a:gd name="connsiteY33" fmla="*/ 173824 h 206709"/>
                <a:gd name="connsiteX34" fmla="*/ 264917 w 400598"/>
                <a:gd name="connsiteY34" fmla="*/ 187147 h 206709"/>
                <a:gd name="connsiteX35" fmla="*/ 275699 w 400598"/>
                <a:gd name="connsiteY35" fmla="*/ 173615 h 206709"/>
                <a:gd name="connsiteX36" fmla="*/ 299988 w 400598"/>
                <a:gd name="connsiteY36" fmla="*/ 157246 h 206709"/>
                <a:gd name="connsiteX37" fmla="*/ 359461 w 400598"/>
                <a:gd name="connsiteY37" fmla="*/ 157246 h 206709"/>
                <a:gd name="connsiteX38" fmla="*/ 383750 w 400598"/>
                <a:gd name="connsiteY38" fmla="*/ 173615 h 206709"/>
                <a:gd name="connsiteX39" fmla="*/ 386820 w 400598"/>
                <a:gd name="connsiteY39" fmla="*/ 176881 h 206709"/>
                <a:gd name="connsiteX40" fmla="*/ 200299 w 400598"/>
                <a:gd name="connsiteY40" fmla="*/ 12341 h 206709"/>
                <a:gd name="connsiteX41" fmla="*/ 13778 w 400598"/>
                <a:gd name="connsiteY41" fmla="*/ 176881 h 206709"/>
                <a:gd name="connsiteX42" fmla="*/ 16848 w 400598"/>
                <a:gd name="connsiteY42" fmla="*/ 173615 h 206709"/>
                <a:gd name="connsiteX43" fmla="*/ 41138 w 400598"/>
                <a:gd name="connsiteY43" fmla="*/ 157246 h 206709"/>
                <a:gd name="connsiteX44" fmla="*/ 100598 w 400598"/>
                <a:gd name="connsiteY44" fmla="*/ 157246 h 206709"/>
                <a:gd name="connsiteX45" fmla="*/ 124888 w 400598"/>
                <a:gd name="connsiteY45" fmla="*/ 173615 h 206709"/>
                <a:gd name="connsiteX46" fmla="*/ 135473 w 400598"/>
                <a:gd name="connsiteY46" fmla="*/ 186853 h 206709"/>
                <a:gd name="connsiteX47" fmla="*/ 146292 w 400598"/>
                <a:gd name="connsiteY47" fmla="*/ 173418 h 206709"/>
                <a:gd name="connsiteX48" fmla="*/ 170643 w 400598"/>
                <a:gd name="connsiteY48" fmla="*/ 157147 h 206709"/>
                <a:gd name="connsiteX49" fmla="*/ 200103 w 400598"/>
                <a:gd name="connsiteY49" fmla="*/ 151228 h 2067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</a:cxnLst>
              <a:rect l="l" t="t" r="r" b="b"/>
              <a:pathLst>
                <a:path w="400598" h="206709">
                  <a:moveTo>
                    <a:pt x="264929" y="206709"/>
                  </a:moveTo>
                  <a:cubicBezTo>
                    <a:pt x="262448" y="206709"/>
                    <a:pt x="260214" y="205223"/>
                    <a:pt x="259243" y="202927"/>
                  </a:cubicBezTo>
                  <a:cubicBezTo>
                    <a:pt x="256026" y="195264"/>
                    <a:pt x="251446" y="188388"/>
                    <a:pt x="245588" y="182518"/>
                  </a:cubicBezTo>
                  <a:cubicBezTo>
                    <a:pt x="239694" y="176587"/>
                    <a:pt x="232866" y="171945"/>
                    <a:pt x="225277" y="168703"/>
                  </a:cubicBezTo>
                  <a:cubicBezTo>
                    <a:pt x="217418" y="165326"/>
                    <a:pt x="209018" y="163607"/>
                    <a:pt x="200349" y="163557"/>
                  </a:cubicBezTo>
                  <a:cubicBezTo>
                    <a:pt x="200275" y="163557"/>
                    <a:pt x="200189" y="163557"/>
                    <a:pt x="200103" y="163557"/>
                  </a:cubicBezTo>
                  <a:cubicBezTo>
                    <a:pt x="191544" y="163557"/>
                    <a:pt x="183218" y="165215"/>
                    <a:pt x="175408" y="168494"/>
                  </a:cubicBezTo>
                  <a:cubicBezTo>
                    <a:pt x="167770" y="171687"/>
                    <a:pt x="160893" y="176280"/>
                    <a:pt x="154998" y="182137"/>
                  </a:cubicBezTo>
                  <a:cubicBezTo>
                    <a:pt x="149202" y="187896"/>
                    <a:pt x="144634" y="194552"/>
                    <a:pt x="141392" y="201957"/>
                  </a:cubicBezTo>
                  <a:cubicBezTo>
                    <a:pt x="140840" y="203774"/>
                    <a:pt x="139476" y="205309"/>
                    <a:pt x="137598" y="205973"/>
                  </a:cubicBezTo>
                  <a:cubicBezTo>
                    <a:pt x="134577" y="207053"/>
                    <a:pt x="131187" y="205690"/>
                    <a:pt x="129898" y="202682"/>
                  </a:cubicBezTo>
                  <a:cubicBezTo>
                    <a:pt x="126681" y="195068"/>
                    <a:pt x="122076" y="188216"/>
                    <a:pt x="116181" y="182321"/>
                  </a:cubicBezTo>
                  <a:cubicBezTo>
                    <a:pt x="110287" y="176427"/>
                    <a:pt x="103422" y="171822"/>
                    <a:pt x="95821" y="168605"/>
                  </a:cubicBezTo>
                  <a:cubicBezTo>
                    <a:pt x="79968" y="161912"/>
                    <a:pt x="61793" y="161912"/>
                    <a:pt x="45940" y="168605"/>
                  </a:cubicBezTo>
                  <a:cubicBezTo>
                    <a:pt x="38326" y="171822"/>
                    <a:pt x="31474" y="176427"/>
                    <a:pt x="25579" y="182321"/>
                  </a:cubicBezTo>
                  <a:cubicBezTo>
                    <a:pt x="19697" y="188216"/>
                    <a:pt x="15080" y="195068"/>
                    <a:pt x="11838" y="202694"/>
                  </a:cubicBezTo>
                  <a:cubicBezTo>
                    <a:pt x="10696" y="205395"/>
                    <a:pt x="7786" y="206906"/>
                    <a:pt x="4937" y="206329"/>
                  </a:cubicBezTo>
                  <a:cubicBezTo>
                    <a:pt x="2063" y="205739"/>
                    <a:pt x="0" y="203210"/>
                    <a:pt x="0" y="200287"/>
                  </a:cubicBezTo>
                  <a:cubicBezTo>
                    <a:pt x="0" y="89841"/>
                    <a:pt x="89865" y="0"/>
                    <a:pt x="200299" y="0"/>
                  </a:cubicBezTo>
                  <a:cubicBezTo>
                    <a:pt x="310733" y="0"/>
                    <a:pt x="400599" y="89853"/>
                    <a:pt x="400599" y="200287"/>
                  </a:cubicBezTo>
                  <a:cubicBezTo>
                    <a:pt x="400599" y="203210"/>
                    <a:pt x="398536" y="205739"/>
                    <a:pt x="395662" y="206329"/>
                  </a:cubicBezTo>
                  <a:cubicBezTo>
                    <a:pt x="392862" y="206943"/>
                    <a:pt x="389903" y="205395"/>
                    <a:pt x="388761" y="202694"/>
                  </a:cubicBezTo>
                  <a:cubicBezTo>
                    <a:pt x="385519" y="195056"/>
                    <a:pt x="380902" y="188203"/>
                    <a:pt x="375019" y="182321"/>
                  </a:cubicBezTo>
                  <a:cubicBezTo>
                    <a:pt x="369113" y="176427"/>
                    <a:pt x="362273" y="171822"/>
                    <a:pt x="354659" y="168605"/>
                  </a:cubicBezTo>
                  <a:cubicBezTo>
                    <a:pt x="338806" y="161912"/>
                    <a:pt x="320631" y="161912"/>
                    <a:pt x="304778" y="168605"/>
                  </a:cubicBezTo>
                  <a:cubicBezTo>
                    <a:pt x="297164" y="171822"/>
                    <a:pt x="290312" y="176427"/>
                    <a:pt x="284418" y="182321"/>
                  </a:cubicBezTo>
                  <a:cubicBezTo>
                    <a:pt x="278585" y="188167"/>
                    <a:pt x="274004" y="194945"/>
                    <a:pt x="270787" y="202473"/>
                  </a:cubicBezTo>
                  <a:lnTo>
                    <a:pt x="270787" y="202497"/>
                  </a:lnTo>
                  <a:cubicBezTo>
                    <a:pt x="269964" y="204929"/>
                    <a:pt x="267729" y="206611"/>
                    <a:pt x="265163" y="206709"/>
                  </a:cubicBezTo>
                  <a:cubicBezTo>
                    <a:pt x="265089" y="206709"/>
                    <a:pt x="265003" y="206709"/>
                    <a:pt x="264929" y="206709"/>
                  </a:cubicBezTo>
                  <a:close/>
                  <a:moveTo>
                    <a:pt x="200103" y="151228"/>
                  </a:moveTo>
                  <a:cubicBezTo>
                    <a:pt x="200213" y="151228"/>
                    <a:pt x="200312" y="151228"/>
                    <a:pt x="200410" y="151228"/>
                  </a:cubicBezTo>
                  <a:cubicBezTo>
                    <a:pt x="210737" y="151277"/>
                    <a:pt x="220733" y="153353"/>
                    <a:pt x="230128" y="157356"/>
                  </a:cubicBezTo>
                  <a:cubicBezTo>
                    <a:pt x="239166" y="161224"/>
                    <a:pt x="247320" y="166763"/>
                    <a:pt x="254331" y="173824"/>
                  </a:cubicBezTo>
                  <a:cubicBezTo>
                    <a:pt x="258384" y="177876"/>
                    <a:pt x="261908" y="182334"/>
                    <a:pt x="264917" y="187147"/>
                  </a:cubicBezTo>
                  <a:cubicBezTo>
                    <a:pt x="267962" y="182272"/>
                    <a:pt x="271560" y="177741"/>
                    <a:pt x="275699" y="173615"/>
                  </a:cubicBezTo>
                  <a:cubicBezTo>
                    <a:pt x="282735" y="166591"/>
                    <a:pt x="290901" y="161089"/>
                    <a:pt x="299988" y="157246"/>
                  </a:cubicBezTo>
                  <a:cubicBezTo>
                    <a:pt x="318875" y="149276"/>
                    <a:pt x="340574" y="149276"/>
                    <a:pt x="359461" y="157246"/>
                  </a:cubicBezTo>
                  <a:cubicBezTo>
                    <a:pt x="368548" y="161089"/>
                    <a:pt x="376714" y="166591"/>
                    <a:pt x="383750" y="173615"/>
                  </a:cubicBezTo>
                  <a:cubicBezTo>
                    <a:pt x="384807" y="174671"/>
                    <a:pt x="385838" y="175764"/>
                    <a:pt x="386820" y="176881"/>
                  </a:cubicBezTo>
                  <a:cubicBezTo>
                    <a:pt x="375265" y="84253"/>
                    <a:pt x="296022" y="12341"/>
                    <a:pt x="200299" y="12341"/>
                  </a:cubicBezTo>
                  <a:cubicBezTo>
                    <a:pt x="104577" y="12341"/>
                    <a:pt x="25346" y="84253"/>
                    <a:pt x="13778" y="176881"/>
                  </a:cubicBezTo>
                  <a:cubicBezTo>
                    <a:pt x="14761" y="175776"/>
                    <a:pt x="15792" y="174683"/>
                    <a:pt x="16848" y="173615"/>
                  </a:cubicBezTo>
                  <a:cubicBezTo>
                    <a:pt x="23885" y="166591"/>
                    <a:pt x="32051" y="161089"/>
                    <a:pt x="41138" y="157246"/>
                  </a:cubicBezTo>
                  <a:cubicBezTo>
                    <a:pt x="60025" y="149276"/>
                    <a:pt x="81724" y="149276"/>
                    <a:pt x="100598" y="157246"/>
                  </a:cubicBezTo>
                  <a:cubicBezTo>
                    <a:pt x="109685" y="161089"/>
                    <a:pt x="117851" y="166591"/>
                    <a:pt x="124888" y="173615"/>
                  </a:cubicBezTo>
                  <a:cubicBezTo>
                    <a:pt x="128940" y="177655"/>
                    <a:pt x="132477" y="182088"/>
                    <a:pt x="135473" y="186853"/>
                  </a:cubicBezTo>
                  <a:cubicBezTo>
                    <a:pt x="138543" y="182014"/>
                    <a:pt x="142153" y="177508"/>
                    <a:pt x="146292" y="173418"/>
                  </a:cubicBezTo>
                  <a:cubicBezTo>
                    <a:pt x="153341" y="166419"/>
                    <a:pt x="161519" y="160942"/>
                    <a:pt x="170643" y="157147"/>
                  </a:cubicBezTo>
                  <a:cubicBezTo>
                    <a:pt x="179976" y="153218"/>
                    <a:pt x="189898" y="151228"/>
                    <a:pt x="200103" y="151228"/>
                  </a:cubicBezTo>
                  <a:close/>
                </a:path>
              </a:pathLst>
            </a:custGeom>
            <a:grpFill/>
            <a:ln w="12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554" name="Freihandform: Form 45">
              <a:extLst>
                <a:ext uri="{FF2B5EF4-FFF2-40B4-BE49-F238E27FC236}">
                  <a16:creationId xmlns:a16="http://schemas.microsoft.com/office/drawing/2014/main" id="{06150822-9B64-2AA8-82C0-E41BBADC8072}"/>
                </a:ext>
              </a:extLst>
            </p:cNvPr>
            <p:cNvSpPr/>
            <p:nvPr/>
          </p:nvSpPr>
          <p:spPr>
            <a:xfrm>
              <a:off x="4114471" y="3431644"/>
              <a:ext cx="63698" cy="198960"/>
            </a:xfrm>
            <a:custGeom>
              <a:avLst/>
              <a:gdLst>
                <a:gd name="connsiteX0" fmla="*/ 61056 w 63698"/>
                <a:gd name="connsiteY0" fmla="*/ 198961 h 198960"/>
                <a:gd name="connsiteX1" fmla="*/ 48936 w 63698"/>
                <a:gd name="connsiteY1" fmla="*/ 196726 h 198960"/>
                <a:gd name="connsiteX2" fmla="*/ 0 w 63698"/>
                <a:gd name="connsiteY2" fmla="*/ 7442 h 198960"/>
                <a:gd name="connsiteX3" fmla="*/ 9824 w 63698"/>
                <a:gd name="connsiteY3" fmla="*/ 0 h 198960"/>
                <a:gd name="connsiteX4" fmla="*/ 61056 w 63698"/>
                <a:gd name="connsiteY4" fmla="*/ 198961 h 1989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698" h="198960">
                  <a:moveTo>
                    <a:pt x="61056" y="198961"/>
                  </a:moveTo>
                  <a:lnTo>
                    <a:pt x="48936" y="196726"/>
                  </a:lnTo>
                  <a:cubicBezTo>
                    <a:pt x="49120" y="195731"/>
                    <a:pt x="66582" y="95452"/>
                    <a:pt x="0" y="7442"/>
                  </a:cubicBezTo>
                  <a:lnTo>
                    <a:pt x="9824" y="0"/>
                  </a:lnTo>
                  <a:cubicBezTo>
                    <a:pt x="79808" y="92481"/>
                    <a:pt x="61867" y="194663"/>
                    <a:pt x="61056" y="198961"/>
                  </a:cubicBezTo>
                  <a:close/>
                </a:path>
              </a:pathLst>
            </a:custGeom>
            <a:grpFill/>
            <a:ln w="12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555" name="Freihandform: Form 46">
              <a:extLst>
                <a:ext uri="{FF2B5EF4-FFF2-40B4-BE49-F238E27FC236}">
                  <a16:creationId xmlns:a16="http://schemas.microsoft.com/office/drawing/2014/main" id="{C478173F-381F-2AE2-650C-A9814FC9F7E1}"/>
                </a:ext>
              </a:extLst>
            </p:cNvPr>
            <p:cNvSpPr/>
            <p:nvPr/>
          </p:nvSpPr>
          <p:spPr>
            <a:xfrm>
              <a:off x="4031271" y="3431386"/>
              <a:ext cx="63686" cy="198960"/>
            </a:xfrm>
            <a:custGeom>
              <a:avLst/>
              <a:gdLst>
                <a:gd name="connsiteX0" fmla="*/ 2643 w 63686"/>
                <a:gd name="connsiteY0" fmla="*/ 198961 h 198960"/>
                <a:gd name="connsiteX1" fmla="*/ 53863 w 63686"/>
                <a:gd name="connsiteY1" fmla="*/ 0 h 198960"/>
                <a:gd name="connsiteX2" fmla="*/ 63687 w 63686"/>
                <a:gd name="connsiteY2" fmla="*/ 7442 h 198960"/>
                <a:gd name="connsiteX3" fmla="*/ 14763 w 63686"/>
                <a:gd name="connsiteY3" fmla="*/ 196726 h 198960"/>
                <a:gd name="connsiteX4" fmla="*/ 2643 w 63686"/>
                <a:gd name="connsiteY4" fmla="*/ 198961 h 1989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686" h="198960">
                  <a:moveTo>
                    <a:pt x="2643" y="198961"/>
                  </a:moveTo>
                  <a:cubicBezTo>
                    <a:pt x="1832" y="194663"/>
                    <a:pt x="-16109" y="92481"/>
                    <a:pt x="53863" y="0"/>
                  </a:cubicBezTo>
                  <a:lnTo>
                    <a:pt x="63687" y="7442"/>
                  </a:lnTo>
                  <a:cubicBezTo>
                    <a:pt x="-3018" y="95624"/>
                    <a:pt x="14579" y="195731"/>
                    <a:pt x="14763" y="196726"/>
                  </a:cubicBezTo>
                  <a:lnTo>
                    <a:pt x="2643" y="198961"/>
                  </a:lnTo>
                  <a:close/>
                </a:path>
              </a:pathLst>
            </a:custGeom>
            <a:grpFill/>
            <a:ln w="12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556" name="Freihandform: Form 48">
              <a:extLst>
                <a:ext uri="{FF2B5EF4-FFF2-40B4-BE49-F238E27FC236}">
                  <a16:creationId xmlns:a16="http://schemas.microsoft.com/office/drawing/2014/main" id="{C6E4DE9C-E13E-2C29-630E-7D7CFF0D0BA3}"/>
                </a:ext>
              </a:extLst>
            </p:cNvPr>
            <p:cNvSpPr/>
            <p:nvPr/>
          </p:nvSpPr>
          <p:spPr>
            <a:xfrm>
              <a:off x="4098593" y="3415176"/>
              <a:ext cx="12329" cy="26340"/>
            </a:xfrm>
            <a:custGeom>
              <a:avLst/>
              <a:gdLst>
                <a:gd name="connsiteX0" fmla="*/ 6165 w 12329"/>
                <a:gd name="connsiteY0" fmla="*/ 26341 h 26340"/>
                <a:gd name="connsiteX1" fmla="*/ 0 w 12329"/>
                <a:gd name="connsiteY1" fmla="*/ 20176 h 26340"/>
                <a:gd name="connsiteX2" fmla="*/ 0 w 12329"/>
                <a:gd name="connsiteY2" fmla="*/ 6165 h 26340"/>
                <a:gd name="connsiteX3" fmla="*/ 6165 w 12329"/>
                <a:gd name="connsiteY3" fmla="*/ 0 h 26340"/>
                <a:gd name="connsiteX4" fmla="*/ 12329 w 12329"/>
                <a:gd name="connsiteY4" fmla="*/ 6165 h 26340"/>
                <a:gd name="connsiteX5" fmla="*/ 12329 w 12329"/>
                <a:gd name="connsiteY5" fmla="*/ 20176 h 26340"/>
                <a:gd name="connsiteX6" fmla="*/ 6165 w 12329"/>
                <a:gd name="connsiteY6" fmla="*/ 26341 h 263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2329" h="26340">
                  <a:moveTo>
                    <a:pt x="6165" y="26341"/>
                  </a:moveTo>
                  <a:cubicBezTo>
                    <a:pt x="2751" y="26341"/>
                    <a:pt x="0" y="23578"/>
                    <a:pt x="0" y="20176"/>
                  </a:cubicBezTo>
                  <a:lnTo>
                    <a:pt x="0" y="6165"/>
                  </a:lnTo>
                  <a:cubicBezTo>
                    <a:pt x="0" y="2751"/>
                    <a:pt x="2763" y="0"/>
                    <a:pt x="6165" y="0"/>
                  </a:cubicBezTo>
                  <a:cubicBezTo>
                    <a:pt x="9566" y="0"/>
                    <a:pt x="12329" y="2763"/>
                    <a:pt x="12329" y="6165"/>
                  </a:cubicBezTo>
                  <a:lnTo>
                    <a:pt x="12329" y="20176"/>
                  </a:lnTo>
                  <a:cubicBezTo>
                    <a:pt x="12329" y="23590"/>
                    <a:pt x="9566" y="26341"/>
                    <a:pt x="6165" y="26341"/>
                  </a:cubicBezTo>
                  <a:close/>
                </a:path>
              </a:pathLst>
            </a:custGeom>
            <a:grpFill/>
            <a:ln w="12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</p:grpSp>
      <p:grpSp>
        <p:nvGrpSpPr>
          <p:cNvPr id="549" name="Group 548">
            <a:extLst>
              <a:ext uri="{FF2B5EF4-FFF2-40B4-BE49-F238E27FC236}">
                <a16:creationId xmlns:a16="http://schemas.microsoft.com/office/drawing/2014/main" id="{9F6BAA90-0941-B4E4-6CEB-13FD8BE6D80E}"/>
              </a:ext>
            </a:extLst>
          </p:cNvPr>
          <p:cNvGrpSpPr/>
          <p:nvPr/>
        </p:nvGrpSpPr>
        <p:grpSpPr>
          <a:xfrm>
            <a:off x="4307935" y="2657368"/>
            <a:ext cx="528131" cy="132666"/>
            <a:chOff x="800932" y="1865918"/>
            <a:chExt cx="659497" cy="165665"/>
          </a:xfrm>
          <a:solidFill>
            <a:schemeClr val="bg2"/>
          </a:solidFill>
        </p:grpSpPr>
        <p:sp>
          <p:nvSpPr>
            <p:cNvPr id="550" name="Freihandform: Form 277">
              <a:extLst>
                <a:ext uri="{FF2B5EF4-FFF2-40B4-BE49-F238E27FC236}">
                  <a16:creationId xmlns:a16="http://schemas.microsoft.com/office/drawing/2014/main" id="{7A8EC1F8-3426-DF36-2F26-2FF3633FE9E7}"/>
                </a:ext>
              </a:extLst>
            </p:cNvPr>
            <p:cNvSpPr/>
            <p:nvPr/>
          </p:nvSpPr>
          <p:spPr>
            <a:xfrm>
              <a:off x="800932" y="1865918"/>
              <a:ext cx="165665" cy="165665"/>
            </a:xfrm>
            <a:custGeom>
              <a:avLst/>
              <a:gdLst>
                <a:gd name="connsiteX0" fmla="*/ 146739 w 165665"/>
                <a:gd name="connsiteY0" fmla="*/ 165665 h 165665"/>
                <a:gd name="connsiteX1" fmla="*/ 18926 w 165665"/>
                <a:gd name="connsiteY1" fmla="*/ 165665 h 165665"/>
                <a:gd name="connsiteX2" fmla="*/ 0 w 165665"/>
                <a:gd name="connsiteY2" fmla="*/ 146739 h 165665"/>
                <a:gd name="connsiteX3" fmla="*/ 0 w 165665"/>
                <a:gd name="connsiteY3" fmla="*/ 18926 h 165665"/>
                <a:gd name="connsiteX4" fmla="*/ 18926 w 165665"/>
                <a:gd name="connsiteY4" fmla="*/ 0 h 165665"/>
                <a:gd name="connsiteX5" fmla="*/ 146739 w 165665"/>
                <a:gd name="connsiteY5" fmla="*/ 0 h 165665"/>
                <a:gd name="connsiteX6" fmla="*/ 165665 w 165665"/>
                <a:gd name="connsiteY6" fmla="*/ 18926 h 165665"/>
                <a:gd name="connsiteX7" fmla="*/ 165665 w 165665"/>
                <a:gd name="connsiteY7" fmla="*/ 146739 h 165665"/>
                <a:gd name="connsiteX8" fmla="*/ 146739 w 165665"/>
                <a:gd name="connsiteY8" fmla="*/ 165665 h 165665"/>
                <a:gd name="connsiteX9" fmla="*/ 18926 w 165665"/>
                <a:gd name="connsiteY9" fmla="*/ 9739 h 165665"/>
                <a:gd name="connsiteX10" fmla="*/ 9739 w 165665"/>
                <a:gd name="connsiteY10" fmla="*/ 18926 h 165665"/>
                <a:gd name="connsiteX11" fmla="*/ 9739 w 165665"/>
                <a:gd name="connsiteY11" fmla="*/ 146739 h 165665"/>
                <a:gd name="connsiteX12" fmla="*/ 18926 w 165665"/>
                <a:gd name="connsiteY12" fmla="*/ 155926 h 165665"/>
                <a:gd name="connsiteX13" fmla="*/ 146739 w 165665"/>
                <a:gd name="connsiteY13" fmla="*/ 155926 h 165665"/>
                <a:gd name="connsiteX14" fmla="*/ 155926 w 165665"/>
                <a:gd name="connsiteY14" fmla="*/ 146739 h 165665"/>
                <a:gd name="connsiteX15" fmla="*/ 155926 w 165665"/>
                <a:gd name="connsiteY15" fmla="*/ 18926 h 165665"/>
                <a:gd name="connsiteX16" fmla="*/ 146739 w 165665"/>
                <a:gd name="connsiteY16" fmla="*/ 9739 h 165665"/>
                <a:gd name="connsiteX17" fmla="*/ 18926 w 165665"/>
                <a:gd name="connsiteY17" fmla="*/ 9739 h 1656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65665" h="165665">
                  <a:moveTo>
                    <a:pt x="146739" y="165665"/>
                  </a:moveTo>
                  <a:lnTo>
                    <a:pt x="18926" y="165665"/>
                  </a:lnTo>
                  <a:cubicBezTo>
                    <a:pt x="8484" y="165665"/>
                    <a:pt x="0" y="157181"/>
                    <a:pt x="0" y="146739"/>
                  </a:cubicBezTo>
                  <a:lnTo>
                    <a:pt x="0" y="18926"/>
                  </a:lnTo>
                  <a:cubicBezTo>
                    <a:pt x="0" y="8484"/>
                    <a:pt x="8484" y="0"/>
                    <a:pt x="18926" y="0"/>
                  </a:cubicBezTo>
                  <a:lnTo>
                    <a:pt x="146739" y="0"/>
                  </a:lnTo>
                  <a:cubicBezTo>
                    <a:pt x="157181" y="0"/>
                    <a:pt x="165665" y="8484"/>
                    <a:pt x="165665" y="18926"/>
                  </a:cubicBezTo>
                  <a:lnTo>
                    <a:pt x="165665" y="146739"/>
                  </a:lnTo>
                  <a:cubicBezTo>
                    <a:pt x="165690" y="157181"/>
                    <a:pt x="157181" y="165665"/>
                    <a:pt x="146739" y="165665"/>
                  </a:cubicBezTo>
                  <a:close/>
                  <a:moveTo>
                    <a:pt x="18926" y="9739"/>
                  </a:moveTo>
                  <a:cubicBezTo>
                    <a:pt x="13856" y="9739"/>
                    <a:pt x="9739" y="13856"/>
                    <a:pt x="9739" y="18926"/>
                  </a:cubicBezTo>
                  <a:lnTo>
                    <a:pt x="9739" y="146739"/>
                  </a:lnTo>
                  <a:cubicBezTo>
                    <a:pt x="9739" y="151809"/>
                    <a:pt x="13856" y="155926"/>
                    <a:pt x="18926" y="155926"/>
                  </a:cubicBezTo>
                  <a:lnTo>
                    <a:pt x="146739" y="155926"/>
                  </a:lnTo>
                  <a:cubicBezTo>
                    <a:pt x="151810" y="155926"/>
                    <a:pt x="155926" y="151809"/>
                    <a:pt x="155926" y="146739"/>
                  </a:cubicBezTo>
                  <a:lnTo>
                    <a:pt x="155926" y="18926"/>
                  </a:lnTo>
                  <a:cubicBezTo>
                    <a:pt x="155926" y="13856"/>
                    <a:pt x="151810" y="9739"/>
                    <a:pt x="146739" y="9739"/>
                  </a:cubicBezTo>
                  <a:lnTo>
                    <a:pt x="18926" y="9739"/>
                  </a:lnTo>
                  <a:close/>
                </a:path>
              </a:pathLst>
            </a:custGeom>
            <a:grpFill/>
            <a:ln w="2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551" name="Freihandform: Form 278">
              <a:extLst>
                <a:ext uri="{FF2B5EF4-FFF2-40B4-BE49-F238E27FC236}">
                  <a16:creationId xmlns:a16="http://schemas.microsoft.com/office/drawing/2014/main" id="{3DAA2A4A-92B3-123D-912A-854EB8291CCC}"/>
                </a:ext>
              </a:extLst>
            </p:cNvPr>
            <p:cNvSpPr/>
            <p:nvPr/>
          </p:nvSpPr>
          <p:spPr>
            <a:xfrm>
              <a:off x="1047848" y="1865918"/>
              <a:ext cx="165665" cy="165665"/>
            </a:xfrm>
            <a:custGeom>
              <a:avLst/>
              <a:gdLst>
                <a:gd name="connsiteX0" fmla="*/ 146739 w 165665"/>
                <a:gd name="connsiteY0" fmla="*/ 165665 h 165665"/>
                <a:gd name="connsiteX1" fmla="*/ 18926 w 165665"/>
                <a:gd name="connsiteY1" fmla="*/ 165665 h 165665"/>
                <a:gd name="connsiteX2" fmla="*/ 0 w 165665"/>
                <a:gd name="connsiteY2" fmla="*/ 146739 h 165665"/>
                <a:gd name="connsiteX3" fmla="*/ 0 w 165665"/>
                <a:gd name="connsiteY3" fmla="*/ 18926 h 165665"/>
                <a:gd name="connsiteX4" fmla="*/ 18926 w 165665"/>
                <a:gd name="connsiteY4" fmla="*/ 0 h 165665"/>
                <a:gd name="connsiteX5" fmla="*/ 146739 w 165665"/>
                <a:gd name="connsiteY5" fmla="*/ 0 h 165665"/>
                <a:gd name="connsiteX6" fmla="*/ 165665 w 165665"/>
                <a:gd name="connsiteY6" fmla="*/ 18926 h 165665"/>
                <a:gd name="connsiteX7" fmla="*/ 165665 w 165665"/>
                <a:gd name="connsiteY7" fmla="*/ 146739 h 165665"/>
                <a:gd name="connsiteX8" fmla="*/ 146739 w 165665"/>
                <a:gd name="connsiteY8" fmla="*/ 165665 h 165665"/>
                <a:gd name="connsiteX9" fmla="*/ 18926 w 165665"/>
                <a:gd name="connsiteY9" fmla="*/ 9739 h 165665"/>
                <a:gd name="connsiteX10" fmla="*/ 9739 w 165665"/>
                <a:gd name="connsiteY10" fmla="*/ 18926 h 165665"/>
                <a:gd name="connsiteX11" fmla="*/ 9739 w 165665"/>
                <a:gd name="connsiteY11" fmla="*/ 146739 h 165665"/>
                <a:gd name="connsiteX12" fmla="*/ 18926 w 165665"/>
                <a:gd name="connsiteY12" fmla="*/ 155926 h 165665"/>
                <a:gd name="connsiteX13" fmla="*/ 146739 w 165665"/>
                <a:gd name="connsiteY13" fmla="*/ 155926 h 165665"/>
                <a:gd name="connsiteX14" fmla="*/ 155926 w 165665"/>
                <a:gd name="connsiteY14" fmla="*/ 146739 h 165665"/>
                <a:gd name="connsiteX15" fmla="*/ 155926 w 165665"/>
                <a:gd name="connsiteY15" fmla="*/ 18926 h 165665"/>
                <a:gd name="connsiteX16" fmla="*/ 146739 w 165665"/>
                <a:gd name="connsiteY16" fmla="*/ 9739 h 165665"/>
                <a:gd name="connsiteX17" fmla="*/ 18926 w 165665"/>
                <a:gd name="connsiteY17" fmla="*/ 9739 h 1656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65665" h="165665">
                  <a:moveTo>
                    <a:pt x="146739" y="165665"/>
                  </a:moveTo>
                  <a:lnTo>
                    <a:pt x="18926" y="165665"/>
                  </a:lnTo>
                  <a:cubicBezTo>
                    <a:pt x="8484" y="165665"/>
                    <a:pt x="0" y="157181"/>
                    <a:pt x="0" y="146739"/>
                  </a:cubicBezTo>
                  <a:lnTo>
                    <a:pt x="0" y="18926"/>
                  </a:lnTo>
                  <a:cubicBezTo>
                    <a:pt x="0" y="8484"/>
                    <a:pt x="8484" y="0"/>
                    <a:pt x="18926" y="0"/>
                  </a:cubicBezTo>
                  <a:lnTo>
                    <a:pt x="146739" y="0"/>
                  </a:lnTo>
                  <a:cubicBezTo>
                    <a:pt x="157181" y="0"/>
                    <a:pt x="165665" y="8484"/>
                    <a:pt x="165665" y="18926"/>
                  </a:cubicBezTo>
                  <a:lnTo>
                    <a:pt x="165665" y="146739"/>
                  </a:lnTo>
                  <a:cubicBezTo>
                    <a:pt x="165665" y="157181"/>
                    <a:pt x="157181" y="165665"/>
                    <a:pt x="146739" y="165665"/>
                  </a:cubicBezTo>
                  <a:close/>
                  <a:moveTo>
                    <a:pt x="18926" y="9739"/>
                  </a:moveTo>
                  <a:cubicBezTo>
                    <a:pt x="13856" y="9739"/>
                    <a:pt x="9739" y="13856"/>
                    <a:pt x="9739" y="18926"/>
                  </a:cubicBezTo>
                  <a:lnTo>
                    <a:pt x="9739" y="146739"/>
                  </a:lnTo>
                  <a:cubicBezTo>
                    <a:pt x="9739" y="151809"/>
                    <a:pt x="13856" y="155926"/>
                    <a:pt x="18926" y="155926"/>
                  </a:cubicBezTo>
                  <a:lnTo>
                    <a:pt x="146739" y="155926"/>
                  </a:lnTo>
                  <a:cubicBezTo>
                    <a:pt x="151810" y="155926"/>
                    <a:pt x="155926" y="151809"/>
                    <a:pt x="155926" y="146739"/>
                  </a:cubicBezTo>
                  <a:lnTo>
                    <a:pt x="155926" y="18926"/>
                  </a:lnTo>
                  <a:cubicBezTo>
                    <a:pt x="155926" y="13856"/>
                    <a:pt x="151810" y="9739"/>
                    <a:pt x="146739" y="9739"/>
                  </a:cubicBezTo>
                  <a:lnTo>
                    <a:pt x="18926" y="9739"/>
                  </a:lnTo>
                  <a:close/>
                </a:path>
              </a:pathLst>
            </a:custGeom>
            <a:grpFill/>
            <a:ln w="2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552" name="Freihandform: Form 279">
              <a:extLst>
                <a:ext uri="{FF2B5EF4-FFF2-40B4-BE49-F238E27FC236}">
                  <a16:creationId xmlns:a16="http://schemas.microsoft.com/office/drawing/2014/main" id="{C5707F4F-0474-23EC-B911-32C2DB36538D}"/>
                </a:ext>
              </a:extLst>
            </p:cNvPr>
            <p:cNvSpPr/>
            <p:nvPr/>
          </p:nvSpPr>
          <p:spPr>
            <a:xfrm>
              <a:off x="1294764" y="1865918"/>
              <a:ext cx="165665" cy="165665"/>
            </a:xfrm>
            <a:custGeom>
              <a:avLst/>
              <a:gdLst>
                <a:gd name="connsiteX0" fmla="*/ 146739 w 165665"/>
                <a:gd name="connsiteY0" fmla="*/ 165665 h 165665"/>
                <a:gd name="connsiteX1" fmla="*/ 18926 w 165665"/>
                <a:gd name="connsiteY1" fmla="*/ 165665 h 165665"/>
                <a:gd name="connsiteX2" fmla="*/ 0 w 165665"/>
                <a:gd name="connsiteY2" fmla="*/ 146739 h 165665"/>
                <a:gd name="connsiteX3" fmla="*/ 0 w 165665"/>
                <a:gd name="connsiteY3" fmla="*/ 18926 h 165665"/>
                <a:gd name="connsiteX4" fmla="*/ 18926 w 165665"/>
                <a:gd name="connsiteY4" fmla="*/ 0 h 165665"/>
                <a:gd name="connsiteX5" fmla="*/ 146739 w 165665"/>
                <a:gd name="connsiteY5" fmla="*/ 0 h 165665"/>
                <a:gd name="connsiteX6" fmla="*/ 165665 w 165665"/>
                <a:gd name="connsiteY6" fmla="*/ 18926 h 165665"/>
                <a:gd name="connsiteX7" fmla="*/ 165665 w 165665"/>
                <a:gd name="connsiteY7" fmla="*/ 146739 h 165665"/>
                <a:gd name="connsiteX8" fmla="*/ 146739 w 165665"/>
                <a:gd name="connsiteY8" fmla="*/ 165665 h 165665"/>
                <a:gd name="connsiteX9" fmla="*/ 18926 w 165665"/>
                <a:gd name="connsiteY9" fmla="*/ 9739 h 165665"/>
                <a:gd name="connsiteX10" fmla="*/ 9739 w 165665"/>
                <a:gd name="connsiteY10" fmla="*/ 18926 h 165665"/>
                <a:gd name="connsiteX11" fmla="*/ 9739 w 165665"/>
                <a:gd name="connsiteY11" fmla="*/ 146739 h 165665"/>
                <a:gd name="connsiteX12" fmla="*/ 18926 w 165665"/>
                <a:gd name="connsiteY12" fmla="*/ 155926 h 165665"/>
                <a:gd name="connsiteX13" fmla="*/ 146739 w 165665"/>
                <a:gd name="connsiteY13" fmla="*/ 155926 h 165665"/>
                <a:gd name="connsiteX14" fmla="*/ 155926 w 165665"/>
                <a:gd name="connsiteY14" fmla="*/ 146739 h 165665"/>
                <a:gd name="connsiteX15" fmla="*/ 155926 w 165665"/>
                <a:gd name="connsiteY15" fmla="*/ 18926 h 165665"/>
                <a:gd name="connsiteX16" fmla="*/ 146739 w 165665"/>
                <a:gd name="connsiteY16" fmla="*/ 9739 h 165665"/>
                <a:gd name="connsiteX17" fmla="*/ 18926 w 165665"/>
                <a:gd name="connsiteY17" fmla="*/ 9739 h 1656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65665" h="165665">
                  <a:moveTo>
                    <a:pt x="146739" y="165665"/>
                  </a:moveTo>
                  <a:lnTo>
                    <a:pt x="18926" y="165665"/>
                  </a:lnTo>
                  <a:cubicBezTo>
                    <a:pt x="8484" y="165665"/>
                    <a:pt x="0" y="157181"/>
                    <a:pt x="0" y="146739"/>
                  </a:cubicBezTo>
                  <a:lnTo>
                    <a:pt x="0" y="18926"/>
                  </a:lnTo>
                  <a:cubicBezTo>
                    <a:pt x="0" y="8484"/>
                    <a:pt x="8484" y="0"/>
                    <a:pt x="18926" y="0"/>
                  </a:cubicBezTo>
                  <a:lnTo>
                    <a:pt x="146739" y="0"/>
                  </a:lnTo>
                  <a:cubicBezTo>
                    <a:pt x="157181" y="0"/>
                    <a:pt x="165665" y="8484"/>
                    <a:pt x="165665" y="18926"/>
                  </a:cubicBezTo>
                  <a:lnTo>
                    <a:pt x="165665" y="146739"/>
                  </a:lnTo>
                  <a:cubicBezTo>
                    <a:pt x="165665" y="157181"/>
                    <a:pt x="157181" y="165665"/>
                    <a:pt x="146739" y="165665"/>
                  </a:cubicBezTo>
                  <a:close/>
                  <a:moveTo>
                    <a:pt x="18926" y="9739"/>
                  </a:moveTo>
                  <a:cubicBezTo>
                    <a:pt x="13856" y="9739"/>
                    <a:pt x="9739" y="13856"/>
                    <a:pt x="9739" y="18926"/>
                  </a:cubicBezTo>
                  <a:lnTo>
                    <a:pt x="9739" y="146739"/>
                  </a:lnTo>
                  <a:cubicBezTo>
                    <a:pt x="9739" y="151809"/>
                    <a:pt x="13856" y="155926"/>
                    <a:pt x="18926" y="155926"/>
                  </a:cubicBezTo>
                  <a:lnTo>
                    <a:pt x="146739" y="155926"/>
                  </a:lnTo>
                  <a:cubicBezTo>
                    <a:pt x="151810" y="155926"/>
                    <a:pt x="155926" y="151809"/>
                    <a:pt x="155926" y="146739"/>
                  </a:cubicBezTo>
                  <a:lnTo>
                    <a:pt x="155926" y="18926"/>
                  </a:lnTo>
                  <a:cubicBezTo>
                    <a:pt x="155926" y="13856"/>
                    <a:pt x="151810" y="9739"/>
                    <a:pt x="146739" y="9739"/>
                  </a:cubicBezTo>
                  <a:lnTo>
                    <a:pt x="18926" y="9739"/>
                  </a:lnTo>
                  <a:close/>
                </a:path>
              </a:pathLst>
            </a:custGeom>
            <a:grpFill/>
            <a:ln w="25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</p:grpSp>
      <p:grpSp>
        <p:nvGrpSpPr>
          <p:cNvPr id="558" name="Gruppieren 896">
            <a:extLst>
              <a:ext uri="{FF2B5EF4-FFF2-40B4-BE49-F238E27FC236}">
                <a16:creationId xmlns:a16="http://schemas.microsoft.com/office/drawing/2014/main" id="{1F1A4552-375B-9723-54E2-73235F645D5B}"/>
              </a:ext>
            </a:extLst>
          </p:cNvPr>
          <p:cNvGrpSpPr/>
          <p:nvPr/>
        </p:nvGrpSpPr>
        <p:grpSpPr>
          <a:xfrm>
            <a:off x="7466524" y="2421495"/>
            <a:ext cx="368520" cy="368538"/>
            <a:chOff x="912723" y="3572522"/>
            <a:chExt cx="351451" cy="351468"/>
          </a:xfrm>
          <a:solidFill>
            <a:schemeClr val="bg2">
              <a:lumMod val="50000"/>
            </a:schemeClr>
          </a:solidFill>
        </p:grpSpPr>
        <p:sp>
          <p:nvSpPr>
            <p:cNvPr id="563" name="Freihandform: Form 343">
              <a:extLst>
                <a:ext uri="{FF2B5EF4-FFF2-40B4-BE49-F238E27FC236}">
                  <a16:creationId xmlns:a16="http://schemas.microsoft.com/office/drawing/2014/main" id="{F4E2F982-16C5-CE8E-C241-425DD81EF13E}"/>
                </a:ext>
              </a:extLst>
            </p:cNvPr>
            <p:cNvSpPr/>
            <p:nvPr/>
          </p:nvSpPr>
          <p:spPr>
            <a:xfrm>
              <a:off x="912723" y="3572522"/>
              <a:ext cx="351451" cy="351468"/>
            </a:xfrm>
            <a:custGeom>
              <a:avLst/>
              <a:gdLst>
                <a:gd name="connsiteX0" fmla="*/ 175734 w 351451"/>
                <a:gd name="connsiteY0" fmla="*/ 0 h 351468"/>
                <a:gd name="connsiteX1" fmla="*/ 0 w 351451"/>
                <a:gd name="connsiteY1" fmla="*/ 175734 h 351468"/>
                <a:gd name="connsiteX2" fmla="*/ 175734 w 351451"/>
                <a:gd name="connsiteY2" fmla="*/ 351469 h 351468"/>
                <a:gd name="connsiteX3" fmla="*/ 351452 w 351451"/>
                <a:gd name="connsiteY3" fmla="*/ 175734 h 351468"/>
                <a:gd name="connsiteX4" fmla="*/ 175734 w 351451"/>
                <a:gd name="connsiteY4" fmla="*/ 0 h 351468"/>
                <a:gd name="connsiteX5" fmla="*/ 175734 w 351451"/>
                <a:gd name="connsiteY5" fmla="*/ 338527 h 351468"/>
                <a:gd name="connsiteX6" fmla="*/ 12942 w 351451"/>
                <a:gd name="connsiteY6" fmla="*/ 175734 h 351468"/>
                <a:gd name="connsiteX7" fmla="*/ 175734 w 351451"/>
                <a:gd name="connsiteY7" fmla="*/ 12942 h 351468"/>
                <a:gd name="connsiteX8" fmla="*/ 338527 w 351451"/>
                <a:gd name="connsiteY8" fmla="*/ 175734 h 351468"/>
                <a:gd name="connsiteX9" fmla="*/ 175734 w 351451"/>
                <a:gd name="connsiteY9" fmla="*/ 338527 h 3514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51451" h="351468">
                  <a:moveTo>
                    <a:pt x="175734" y="0"/>
                  </a:moveTo>
                  <a:cubicBezTo>
                    <a:pt x="78844" y="0"/>
                    <a:pt x="0" y="78844"/>
                    <a:pt x="0" y="175734"/>
                  </a:cubicBezTo>
                  <a:cubicBezTo>
                    <a:pt x="0" y="272624"/>
                    <a:pt x="78827" y="351469"/>
                    <a:pt x="175734" y="351469"/>
                  </a:cubicBezTo>
                  <a:cubicBezTo>
                    <a:pt x="272625" y="351469"/>
                    <a:pt x="351452" y="272642"/>
                    <a:pt x="351452" y="175734"/>
                  </a:cubicBezTo>
                  <a:cubicBezTo>
                    <a:pt x="351452" y="78827"/>
                    <a:pt x="272625" y="0"/>
                    <a:pt x="175734" y="0"/>
                  </a:cubicBezTo>
                  <a:close/>
                  <a:moveTo>
                    <a:pt x="175734" y="338527"/>
                  </a:moveTo>
                  <a:cubicBezTo>
                    <a:pt x="85973" y="338527"/>
                    <a:pt x="12942" y="265496"/>
                    <a:pt x="12942" y="175734"/>
                  </a:cubicBezTo>
                  <a:cubicBezTo>
                    <a:pt x="12942" y="85973"/>
                    <a:pt x="85973" y="12942"/>
                    <a:pt x="175734" y="12942"/>
                  </a:cubicBezTo>
                  <a:cubicBezTo>
                    <a:pt x="265496" y="12942"/>
                    <a:pt x="338527" y="85973"/>
                    <a:pt x="338527" y="175734"/>
                  </a:cubicBezTo>
                  <a:cubicBezTo>
                    <a:pt x="338527" y="265496"/>
                    <a:pt x="265496" y="338527"/>
                    <a:pt x="175734" y="338527"/>
                  </a:cubicBezTo>
                  <a:close/>
                </a:path>
              </a:pathLst>
            </a:custGeom>
            <a:grpFill/>
            <a:ln w="173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564" name="Freihandform: Form 345">
              <a:extLst>
                <a:ext uri="{FF2B5EF4-FFF2-40B4-BE49-F238E27FC236}">
                  <a16:creationId xmlns:a16="http://schemas.microsoft.com/office/drawing/2014/main" id="{3D7A9999-359B-49DF-33C6-9A6A0A89B897}"/>
                </a:ext>
              </a:extLst>
            </p:cNvPr>
            <p:cNvSpPr/>
            <p:nvPr/>
          </p:nvSpPr>
          <p:spPr>
            <a:xfrm>
              <a:off x="1083735" y="3574269"/>
              <a:ext cx="12941" cy="347973"/>
            </a:xfrm>
            <a:custGeom>
              <a:avLst/>
              <a:gdLst>
                <a:gd name="connsiteX0" fmla="*/ 6471 w 12941"/>
                <a:gd name="connsiteY0" fmla="*/ 0 h 347973"/>
                <a:gd name="connsiteX1" fmla="*/ 0 w 12941"/>
                <a:gd name="connsiteY1" fmla="*/ 6471 h 347973"/>
                <a:gd name="connsiteX2" fmla="*/ 0 w 12941"/>
                <a:gd name="connsiteY2" fmla="*/ 341503 h 347973"/>
                <a:gd name="connsiteX3" fmla="*/ 6471 w 12941"/>
                <a:gd name="connsiteY3" fmla="*/ 347974 h 347973"/>
                <a:gd name="connsiteX4" fmla="*/ 12942 w 12941"/>
                <a:gd name="connsiteY4" fmla="*/ 341503 h 347973"/>
                <a:gd name="connsiteX5" fmla="*/ 12942 w 12941"/>
                <a:gd name="connsiteY5" fmla="*/ 6471 h 347973"/>
                <a:gd name="connsiteX6" fmla="*/ 6471 w 12941"/>
                <a:gd name="connsiteY6" fmla="*/ 0 h 3479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2941" h="347973">
                  <a:moveTo>
                    <a:pt x="6471" y="0"/>
                  </a:moveTo>
                  <a:cubicBezTo>
                    <a:pt x="2907" y="0"/>
                    <a:pt x="0" y="2889"/>
                    <a:pt x="0" y="6471"/>
                  </a:cubicBezTo>
                  <a:lnTo>
                    <a:pt x="0" y="341503"/>
                  </a:lnTo>
                  <a:cubicBezTo>
                    <a:pt x="0" y="345084"/>
                    <a:pt x="2889" y="347974"/>
                    <a:pt x="6471" y="347974"/>
                  </a:cubicBezTo>
                  <a:cubicBezTo>
                    <a:pt x="10035" y="347974"/>
                    <a:pt x="12942" y="345084"/>
                    <a:pt x="12942" y="341503"/>
                  </a:cubicBezTo>
                  <a:lnTo>
                    <a:pt x="12942" y="6471"/>
                  </a:lnTo>
                  <a:cubicBezTo>
                    <a:pt x="12942" y="2889"/>
                    <a:pt x="10052" y="0"/>
                    <a:pt x="6471" y="0"/>
                  </a:cubicBezTo>
                  <a:close/>
                </a:path>
              </a:pathLst>
            </a:custGeom>
            <a:grpFill/>
            <a:ln w="173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565" name="Freihandform: Form 347">
              <a:extLst>
                <a:ext uri="{FF2B5EF4-FFF2-40B4-BE49-F238E27FC236}">
                  <a16:creationId xmlns:a16="http://schemas.microsoft.com/office/drawing/2014/main" id="{D6CE82FC-1C16-38AE-31E6-1883FFE192A8}"/>
                </a:ext>
              </a:extLst>
            </p:cNvPr>
            <p:cNvSpPr/>
            <p:nvPr/>
          </p:nvSpPr>
          <p:spPr>
            <a:xfrm>
              <a:off x="1000293" y="3580720"/>
              <a:ext cx="53723" cy="335052"/>
            </a:xfrm>
            <a:custGeom>
              <a:avLst/>
              <a:gdLst>
                <a:gd name="connsiteX0" fmla="*/ 50395 w 53723"/>
                <a:gd name="connsiteY0" fmla="*/ 816 h 335052"/>
                <a:gd name="connsiteX1" fmla="*/ 41606 w 53723"/>
                <a:gd name="connsiteY1" fmla="*/ 3342 h 335052"/>
                <a:gd name="connsiteX2" fmla="*/ 41709 w 53723"/>
                <a:gd name="connsiteY2" fmla="*/ 331903 h 335052"/>
                <a:gd name="connsiteX3" fmla="*/ 47263 w 53723"/>
                <a:gd name="connsiteY3" fmla="*/ 335052 h 335052"/>
                <a:gd name="connsiteX4" fmla="*/ 50568 w 53723"/>
                <a:gd name="connsiteY4" fmla="*/ 334135 h 335052"/>
                <a:gd name="connsiteX5" fmla="*/ 52800 w 53723"/>
                <a:gd name="connsiteY5" fmla="*/ 325259 h 335052"/>
                <a:gd name="connsiteX6" fmla="*/ 52904 w 53723"/>
                <a:gd name="connsiteY6" fmla="*/ 9588 h 335052"/>
                <a:gd name="connsiteX7" fmla="*/ 50395 w 53723"/>
                <a:gd name="connsiteY7" fmla="*/ 816 h 3350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3723" h="335052">
                  <a:moveTo>
                    <a:pt x="50395" y="816"/>
                  </a:moveTo>
                  <a:cubicBezTo>
                    <a:pt x="47263" y="-932"/>
                    <a:pt x="43336" y="228"/>
                    <a:pt x="41606" y="3342"/>
                  </a:cubicBezTo>
                  <a:cubicBezTo>
                    <a:pt x="-51599" y="172156"/>
                    <a:pt x="40775" y="330329"/>
                    <a:pt x="41709" y="331903"/>
                  </a:cubicBezTo>
                  <a:cubicBezTo>
                    <a:pt x="42921" y="333928"/>
                    <a:pt x="45066" y="335052"/>
                    <a:pt x="47263" y="335052"/>
                  </a:cubicBezTo>
                  <a:cubicBezTo>
                    <a:pt x="48388" y="335052"/>
                    <a:pt x="49530" y="334758"/>
                    <a:pt x="50568" y="334135"/>
                  </a:cubicBezTo>
                  <a:cubicBezTo>
                    <a:pt x="53630" y="332301"/>
                    <a:pt x="54634" y="328322"/>
                    <a:pt x="52800" y="325259"/>
                  </a:cubicBezTo>
                  <a:cubicBezTo>
                    <a:pt x="51900" y="323737"/>
                    <a:pt x="-36616" y="171740"/>
                    <a:pt x="52904" y="9588"/>
                  </a:cubicBezTo>
                  <a:cubicBezTo>
                    <a:pt x="54651" y="6474"/>
                    <a:pt x="53509" y="2529"/>
                    <a:pt x="50395" y="816"/>
                  </a:cubicBezTo>
                  <a:close/>
                </a:path>
              </a:pathLst>
            </a:custGeom>
            <a:grpFill/>
            <a:ln w="173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566" name="Freihandform: Form 348">
              <a:extLst>
                <a:ext uri="{FF2B5EF4-FFF2-40B4-BE49-F238E27FC236}">
                  <a16:creationId xmlns:a16="http://schemas.microsoft.com/office/drawing/2014/main" id="{3390E17A-DF03-AC1C-33BB-4208D08F7A66}"/>
                </a:ext>
              </a:extLst>
            </p:cNvPr>
            <p:cNvSpPr/>
            <p:nvPr/>
          </p:nvSpPr>
          <p:spPr>
            <a:xfrm>
              <a:off x="1126383" y="3580717"/>
              <a:ext cx="53717" cy="335072"/>
            </a:xfrm>
            <a:custGeom>
              <a:avLst/>
              <a:gdLst>
                <a:gd name="connsiteX0" fmla="*/ 3357 w 53717"/>
                <a:gd name="connsiteY0" fmla="*/ 819 h 335072"/>
                <a:gd name="connsiteX1" fmla="*/ 813 w 53717"/>
                <a:gd name="connsiteY1" fmla="*/ 9608 h 335072"/>
                <a:gd name="connsiteX2" fmla="*/ 917 w 53717"/>
                <a:gd name="connsiteY2" fmla="*/ 325280 h 335072"/>
                <a:gd name="connsiteX3" fmla="*/ 3149 w 53717"/>
                <a:gd name="connsiteY3" fmla="*/ 334156 h 335072"/>
                <a:gd name="connsiteX4" fmla="*/ 6454 w 53717"/>
                <a:gd name="connsiteY4" fmla="*/ 335072 h 335072"/>
                <a:gd name="connsiteX5" fmla="*/ 12008 w 53717"/>
                <a:gd name="connsiteY5" fmla="*/ 331924 h 335072"/>
                <a:gd name="connsiteX6" fmla="*/ 12112 w 53717"/>
                <a:gd name="connsiteY6" fmla="*/ 3362 h 335072"/>
                <a:gd name="connsiteX7" fmla="*/ 3357 w 53717"/>
                <a:gd name="connsiteY7" fmla="*/ 819 h 3350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3717" h="335072">
                  <a:moveTo>
                    <a:pt x="3357" y="819"/>
                  </a:moveTo>
                  <a:cubicBezTo>
                    <a:pt x="225" y="2549"/>
                    <a:pt x="-899" y="6477"/>
                    <a:pt x="813" y="9608"/>
                  </a:cubicBezTo>
                  <a:cubicBezTo>
                    <a:pt x="90333" y="171761"/>
                    <a:pt x="1834" y="323757"/>
                    <a:pt x="917" y="325280"/>
                  </a:cubicBezTo>
                  <a:cubicBezTo>
                    <a:pt x="-917" y="328342"/>
                    <a:pt x="87" y="332321"/>
                    <a:pt x="3149" y="334156"/>
                  </a:cubicBezTo>
                  <a:cubicBezTo>
                    <a:pt x="4187" y="334778"/>
                    <a:pt x="5329" y="335072"/>
                    <a:pt x="6454" y="335072"/>
                  </a:cubicBezTo>
                  <a:cubicBezTo>
                    <a:pt x="8651" y="335072"/>
                    <a:pt x="10797" y="333948"/>
                    <a:pt x="12008" y="331924"/>
                  </a:cubicBezTo>
                  <a:cubicBezTo>
                    <a:pt x="12942" y="330349"/>
                    <a:pt x="105316" y="172176"/>
                    <a:pt x="12112" y="3362"/>
                  </a:cubicBezTo>
                  <a:cubicBezTo>
                    <a:pt x="10416" y="213"/>
                    <a:pt x="6488" y="-929"/>
                    <a:pt x="3357" y="819"/>
                  </a:cubicBezTo>
                  <a:close/>
                </a:path>
              </a:pathLst>
            </a:custGeom>
            <a:grpFill/>
            <a:ln w="173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</p:grpSp>
      <p:grpSp>
        <p:nvGrpSpPr>
          <p:cNvPr id="559" name="Gruppieren 897">
            <a:extLst>
              <a:ext uri="{FF2B5EF4-FFF2-40B4-BE49-F238E27FC236}">
                <a16:creationId xmlns:a16="http://schemas.microsoft.com/office/drawing/2014/main" id="{C5C53902-57D6-6E94-FE19-9391FD4D445B}"/>
              </a:ext>
            </a:extLst>
          </p:cNvPr>
          <p:cNvGrpSpPr/>
          <p:nvPr/>
        </p:nvGrpSpPr>
        <p:grpSpPr>
          <a:xfrm>
            <a:off x="7470188" y="2489182"/>
            <a:ext cx="364873" cy="233166"/>
            <a:chOff x="916218" y="3637071"/>
            <a:chExt cx="347973" cy="222366"/>
          </a:xfrm>
          <a:solidFill>
            <a:schemeClr val="bg2"/>
          </a:solidFill>
        </p:grpSpPr>
        <p:sp>
          <p:nvSpPr>
            <p:cNvPr id="560" name="Freihandform: Form 344">
              <a:extLst>
                <a:ext uri="{FF2B5EF4-FFF2-40B4-BE49-F238E27FC236}">
                  <a16:creationId xmlns:a16="http://schemas.microsoft.com/office/drawing/2014/main" id="{0B8CE454-674C-F0E7-FB0D-ABD8DAB84B38}"/>
                </a:ext>
              </a:extLst>
            </p:cNvPr>
            <p:cNvSpPr/>
            <p:nvPr/>
          </p:nvSpPr>
          <p:spPr>
            <a:xfrm>
              <a:off x="916218" y="3741785"/>
              <a:ext cx="347973" cy="12941"/>
            </a:xfrm>
            <a:custGeom>
              <a:avLst/>
              <a:gdLst>
                <a:gd name="connsiteX0" fmla="*/ 341503 w 347973"/>
                <a:gd name="connsiteY0" fmla="*/ 0 h 12941"/>
                <a:gd name="connsiteX1" fmla="*/ 6471 w 347973"/>
                <a:gd name="connsiteY1" fmla="*/ 0 h 12941"/>
                <a:gd name="connsiteX2" fmla="*/ 0 w 347973"/>
                <a:gd name="connsiteY2" fmla="*/ 6471 h 12941"/>
                <a:gd name="connsiteX3" fmla="*/ 6471 w 347973"/>
                <a:gd name="connsiteY3" fmla="*/ 12942 h 12941"/>
                <a:gd name="connsiteX4" fmla="*/ 341503 w 347973"/>
                <a:gd name="connsiteY4" fmla="*/ 12942 h 12941"/>
                <a:gd name="connsiteX5" fmla="*/ 347974 w 347973"/>
                <a:gd name="connsiteY5" fmla="*/ 6471 h 12941"/>
                <a:gd name="connsiteX6" fmla="*/ 341503 w 347973"/>
                <a:gd name="connsiteY6" fmla="*/ 0 h 129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47973" h="12941">
                  <a:moveTo>
                    <a:pt x="341503" y="0"/>
                  </a:moveTo>
                  <a:lnTo>
                    <a:pt x="6471" y="0"/>
                  </a:lnTo>
                  <a:cubicBezTo>
                    <a:pt x="2907" y="0"/>
                    <a:pt x="0" y="2889"/>
                    <a:pt x="0" y="6471"/>
                  </a:cubicBezTo>
                  <a:cubicBezTo>
                    <a:pt x="0" y="10052"/>
                    <a:pt x="2889" y="12942"/>
                    <a:pt x="6471" y="12942"/>
                  </a:cubicBezTo>
                  <a:lnTo>
                    <a:pt x="341503" y="12942"/>
                  </a:lnTo>
                  <a:cubicBezTo>
                    <a:pt x="345067" y="12942"/>
                    <a:pt x="347974" y="10052"/>
                    <a:pt x="347974" y="6471"/>
                  </a:cubicBezTo>
                  <a:cubicBezTo>
                    <a:pt x="347974" y="2889"/>
                    <a:pt x="345085" y="0"/>
                    <a:pt x="341503" y="0"/>
                  </a:cubicBezTo>
                  <a:close/>
                </a:path>
              </a:pathLst>
            </a:custGeom>
            <a:grpFill/>
            <a:ln w="173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561" name="Freihandform: Form 346">
              <a:extLst>
                <a:ext uri="{FF2B5EF4-FFF2-40B4-BE49-F238E27FC236}">
                  <a16:creationId xmlns:a16="http://schemas.microsoft.com/office/drawing/2014/main" id="{D591E05B-6238-41CA-E3E1-AABFD8564408}"/>
                </a:ext>
              </a:extLst>
            </p:cNvPr>
            <p:cNvSpPr/>
            <p:nvPr/>
          </p:nvSpPr>
          <p:spPr>
            <a:xfrm>
              <a:off x="951111" y="3637071"/>
              <a:ext cx="278179" cy="46822"/>
            </a:xfrm>
            <a:custGeom>
              <a:avLst/>
              <a:gdLst>
                <a:gd name="connsiteX0" fmla="*/ 268477 w 278179"/>
                <a:gd name="connsiteY0" fmla="*/ 886 h 46822"/>
                <a:gd name="connsiteX1" fmla="*/ 9711 w 278179"/>
                <a:gd name="connsiteY1" fmla="*/ 886 h 46822"/>
                <a:gd name="connsiteX2" fmla="*/ 870 w 278179"/>
                <a:gd name="connsiteY2" fmla="*/ 3256 h 46822"/>
                <a:gd name="connsiteX3" fmla="*/ 3223 w 278179"/>
                <a:gd name="connsiteY3" fmla="*/ 12080 h 46822"/>
                <a:gd name="connsiteX4" fmla="*/ 144493 w 278179"/>
                <a:gd name="connsiteY4" fmla="*/ 46822 h 46822"/>
                <a:gd name="connsiteX5" fmla="*/ 274948 w 278179"/>
                <a:gd name="connsiteY5" fmla="*/ 12080 h 46822"/>
                <a:gd name="connsiteX6" fmla="*/ 277301 w 278179"/>
                <a:gd name="connsiteY6" fmla="*/ 3239 h 46822"/>
                <a:gd name="connsiteX7" fmla="*/ 268477 w 278179"/>
                <a:gd name="connsiteY7" fmla="*/ 886 h 468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78179" h="46822">
                  <a:moveTo>
                    <a:pt x="268477" y="886"/>
                  </a:moveTo>
                  <a:cubicBezTo>
                    <a:pt x="140773" y="74799"/>
                    <a:pt x="11009" y="1630"/>
                    <a:pt x="9711" y="886"/>
                  </a:cubicBezTo>
                  <a:cubicBezTo>
                    <a:pt x="6614" y="-914"/>
                    <a:pt x="2652" y="159"/>
                    <a:pt x="870" y="3256"/>
                  </a:cubicBezTo>
                  <a:cubicBezTo>
                    <a:pt x="-912" y="6353"/>
                    <a:pt x="126" y="10298"/>
                    <a:pt x="3223" y="12080"/>
                  </a:cubicBezTo>
                  <a:cubicBezTo>
                    <a:pt x="4123" y="12599"/>
                    <a:pt x="64593" y="46822"/>
                    <a:pt x="144493" y="46822"/>
                  </a:cubicBezTo>
                  <a:cubicBezTo>
                    <a:pt x="184754" y="46822"/>
                    <a:pt x="229946" y="38136"/>
                    <a:pt x="274948" y="12080"/>
                  </a:cubicBezTo>
                  <a:cubicBezTo>
                    <a:pt x="278045" y="10298"/>
                    <a:pt x="279101" y="6336"/>
                    <a:pt x="277301" y="3239"/>
                  </a:cubicBezTo>
                  <a:cubicBezTo>
                    <a:pt x="275536" y="142"/>
                    <a:pt x="271574" y="-931"/>
                    <a:pt x="268477" y="886"/>
                  </a:cubicBezTo>
                  <a:close/>
                </a:path>
              </a:pathLst>
            </a:custGeom>
            <a:grpFill/>
            <a:ln w="173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562" name="Freihandform: Form 349">
              <a:extLst>
                <a:ext uri="{FF2B5EF4-FFF2-40B4-BE49-F238E27FC236}">
                  <a16:creationId xmlns:a16="http://schemas.microsoft.com/office/drawing/2014/main" id="{A2380026-6EF1-6EE1-4CDA-C9092AF04BA1}"/>
                </a:ext>
              </a:extLst>
            </p:cNvPr>
            <p:cNvSpPr/>
            <p:nvPr/>
          </p:nvSpPr>
          <p:spPr>
            <a:xfrm>
              <a:off x="951121" y="3812618"/>
              <a:ext cx="278184" cy="46819"/>
            </a:xfrm>
            <a:custGeom>
              <a:avLst/>
              <a:gdLst>
                <a:gd name="connsiteX0" fmla="*/ 274956 w 278184"/>
                <a:gd name="connsiteY0" fmla="*/ 34743 h 46819"/>
                <a:gd name="connsiteX1" fmla="*/ 3231 w 278184"/>
                <a:gd name="connsiteY1" fmla="*/ 34743 h 46819"/>
                <a:gd name="connsiteX2" fmla="*/ 878 w 278184"/>
                <a:gd name="connsiteY2" fmla="*/ 43584 h 46819"/>
                <a:gd name="connsiteX3" fmla="*/ 6484 w 278184"/>
                <a:gd name="connsiteY3" fmla="*/ 46819 h 46819"/>
                <a:gd name="connsiteX4" fmla="*/ 9719 w 278184"/>
                <a:gd name="connsiteY4" fmla="*/ 45954 h 46819"/>
                <a:gd name="connsiteX5" fmla="*/ 268485 w 278184"/>
                <a:gd name="connsiteY5" fmla="*/ 45954 h 46819"/>
                <a:gd name="connsiteX6" fmla="*/ 277326 w 278184"/>
                <a:gd name="connsiteY6" fmla="*/ 43584 h 46819"/>
                <a:gd name="connsiteX7" fmla="*/ 274956 w 278184"/>
                <a:gd name="connsiteY7" fmla="*/ 34743 h 468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78184" h="46819">
                  <a:moveTo>
                    <a:pt x="274956" y="34743"/>
                  </a:moveTo>
                  <a:cubicBezTo>
                    <a:pt x="273589" y="33947"/>
                    <a:pt x="137528" y="-43029"/>
                    <a:pt x="3231" y="34743"/>
                  </a:cubicBezTo>
                  <a:cubicBezTo>
                    <a:pt x="134" y="36525"/>
                    <a:pt x="-921" y="40487"/>
                    <a:pt x="878" y="43584"/>
                  </a:cubicBezTo>
                  <a:cubicBezTo>
                    <a:pt x="2072" y="45660"/>
                    <a:pt x="4252" y="46819"/>
                    <a:pt x="6484" y="46819"/>
                  </a:cubicBezTo>
                  <a:cubicBezTo>
                    <a:pt x="7591" y="46819"/>
                    <a:pt x="8698" y="46542"/>
                    <a:pt x="9719" y="45954"/>
                  </a:cubicBezTo>
                  <a:cubicBezTo>
                    <a:pt x="137407" y="-27994"/>
                    <a:pt x="267187" y="45210"/>
                    <a:pt x="268485" y="45954"/>
                  </a:cubicBezTo>
                  <a:cubicBezTo>
                    <a:pt x="271582" y="47736"/>
                    <a:pt x="275527" y="46664"/>
                    <a:pt x="277326" y="43584"/>
                  </a:cubicBezTo>
                  <a:cubicBezTo>
                    <a:pt x="279091" y="40470"/>
                    <a:pt x="278053" y="36525"/>
                    <a:pt x="274956" y="34743"/>
                  </a:cubicBezTo>
                  <a:close/>
                </a:path>
              </a:pathLst>
            </a:custGeom>
            <a:grpFill/>
            <a:ln w="173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</p:grpSp>
      <p:sp>
        <p:nvSpPr>
          <p:cNvPr id="567" name="Freeform: Shape 566">
            <a:extLst>
              <a:ext uri="{FF2B5EF4-FFF2-40B4-BE49-F238E27FC236}">
                <a16:creationId xmlns:a16="http://schemas.microsoft.com/office/drawing/2014/main" id="{2674B33B-4666-0F18-4020-071110764AE1}"/>
              </a:ext>
            </a:extLst>
          </p:cNvPr>
          <p:cNvSpPr/>
          <p:nvPr/>
        </p:nvSpPr>
        <p:spPr>
          <a:xfrm flipH="1">
            <a:off x="6157585" y="4112568"/>
            <a:ext cx="2986415" cy="747432"/>
          </a:xfrm>
          <a:custGeom>
            <a:avLst/>
            <a:gdLst>
              <a:gd name="connsiteX0" fmla="*/ 0 w 2986415"/>
              <a:gd name="connsiteY0" fmla="*/ 0 h 747432"/>
              <a:gd name="connsiteX1" fmla="*/ 1375679 w 2986415"/>
              <a:gd name="connsiteY1" fmla="*/ 0 h 747432"/>
              <a:gd name="connsiteX2" fmla="*/ 1493208 w 2986415"/>
              <a:gd name="connsiteY2" fmla="*/ 98931 h 747432"/>
              <a:gd name="connsiteX3" fmla="*/ 1610737 w 2986415"/>
              <a:gd name="connsiteY3" fmla="*/ 0 h 747432"/>
              <a:gd name="connsiteX4" fmla="*/ 2986415 w 2986415"/>
              <a:gd name="connsiteY4" fmla="*/ 0 h 747432"/>
              <a:gd name="connsiteX5" fmla="*/ 2986415 w 2986415"/>
              <a:gd name="connsiteY5" fmla="*/ 747432 h 747432"/>
              <a:gd name="connsiteX6" fmla="*/ 0 w 2986415"/>
              <a:gd name="connsiteY6" fmla="*/ 747432 h 7474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986415" h="747432">
                <a:moveTo>
                  <a:pt x="0" y="0"/>
                </a:moveTo>
                <a:lnTo>
                  <a:pt x="1375679" y="0"/>
                </a:lnTo>
                <a:lnTo>
                  <a:pt x="1493208" y="98931"/>
                </a:lnTo>
                <a:lnTo>
                  <a:pt x="1610737" y="0"/>
                </a:lnTo>
                <a:lnTo>
                  <a:pt x="2986415" y="0"/>
                </a:lnTo>
                <a:lnTo>
                  <a:pt x="2986415" y="747432"/>
                </a:lnTo>
                <a:lnTo>
                  <a:pt x="0" y="747432"/>
                </a:lnTo>
                <a:close/>
              </a:path>
            </a:pathLst>
          </a:custGeom>
          <a:solidFill>
            <a:schemeClr val="bg2">
              <a:alpha val="7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 anchorCtr="0">
            <a:noAutofit/>
          </a:bodyPr>
          <a:lstStyle/>
          <a:p>
            <a:pPr algn="ctr"/>
            <a:endParaRPr lang="en-GB" sz="1400" dirty="0">
              <a:solidFill>
                <a:schemeClr val="bg1"/>
              </a:solidFill>
            </a:endParaRPr>
          </a:p>
        </p:txBody>
      </p:sp>
      <p:sp>
        <p:nvSpPr>
          <p:cNvPr id="568" name="Freeform: Shape 567">
            <a:extLst>
              <a:ext uri="{FF2B5EF4-FFF2-40B4-BE49-F238E27FC236}">
                <a16:creationId xmlns:a16="http://schemas.microsoft.com/office/drawing/2014/main" id="{BFC2C723-01DB-C1F4-34D6-5AE2F39539F1}"/>
              </a:ext>
            </a:extLst>
          </p:cNvPr>
          <p:cNvSpPr/>
          <p:nvPr/>
        </p:nvSpPr>
        <p:spPr>
          <a:xfrm flipH="1">
            <a:off x="6157585" y="2190168"/>
            <a:ext cx="2986415" cy="747432"/>
          </a:xfrm>
          <a:custGeom>
            <a:avLst/>
            <a:gdLst>
              <a:gd name="connsiteX0" fmla="*/ 0 w 2986415"/>
              <a:gd name="connsiteY0" fmla="*/ 0 h 747432"/>
              <a:gd name="connsiteX1" fmla="*/ 1375679 w 2986415"/>
              <a:gd name="connsiteY1" fmla="*/ 0 h 747432"/>
              <a:gd name="connsiteX2" fmla="*/ 1493208 w 2986415"/>
              <a:gd name="connsiteY2" fmla="*/ 98931 h 747432"/>
              <a:gd name="connsiteX3" fmla="*/ 1610737 w 2986415"/>
              <a:gd name="connsiteY3" fmla="*/ 0 h 747432"/>
              <a:gd name="connsiteX4" fmla="*/ 2986415 w 2986415"/>
              <a:gd name="connsiteY4" fmla="*/ 0 h 747432"/>
              <a:gd name="connsiteX5" fmla="*/ 2986415 w 2986415"/>
              <a:gd name="connsiteY5" fmla="*/ 747432 h 747432"/>
              <a:gd name="connsiteX6" fmla="*/ 0 w 2986415"/>
              <a:gd name="connsiteY6" fmla="*/ 747432 h 7474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986415" h="747432">
                <a:moveTo>
                  <a:pt x="0" y="0"/>
                </a:moveTo>
                <a:lnTo>
                  <a:pt x="1375679" y="0"/>
                </a:lnTo>
                <a:lnTo>
                  <a:pt x="1493208" y="98931"/>
                </a:lnTo>
                <a:lnTo>
                  <a:pt x="1610737" y="0"/>
                </a:lnTo>
                <a:lnTo>
                  <a:pt x="2986415" y="0"/>
                </a:lnTo>
                <a:lnTo>
                  <a:pt x="2986415" y="747432"/>
                </a:lnTo>
                <a:lnTo>
                  <a:pt x="0" y="747432"/>
                </a:lnTo>
                <a:close/>
              </a:path>
            </a:pathLst>
          </a:custGeom>
          <a:solidFill>
            <a:schemeClr val="bg2">
              <a:alpha val="7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 anchorCtr="0">
            <a:noAutofit/>
          </a:bodyPr>
          <a:lstStyle/>
          <a:p>
            <a:pPr algn="ctr"/>
            <a:endParaRPr lang="en-GB" sz="1400" dirty="0">
              <a:solidFill>
                <a:schemeClr val="bg1"/>
              </a:solidFill>
            </a:endParaRPr>
          </a:p>
        </p:txBody>
      </p:sp>
      <p:sp>
        <p:nvSpPr>
          <p:cNvPr id="569" name="Freeform: Shape 568">
            <a:extLst>
              <a:ext uri="{FF2B5EF4-FFF2-40B4-BE49-F238E27FC236}">
                <a16:creationId xmlns:a16="http://schemas.microsoft.com/office/drawing/2014/main" id="{34B5E6CC-F7C0-C42C-B582-8FEC643BF45B}"/>
              </a:ext>
            </a:extLst>
          </p:cNvPr>
          <p:cNvSpPr/>
          <p:nvPr/>
        </p:nvSpPr>
        <p:spPr>
          <a:xfrm>
            <a:off x="3078793" y="2190168"/>
            <a:ext cx="2986414" cy="747432"/>
          </a:xfrm>
          <a:custGeom>
            <a:avLst/>
            <a:gdLst>
              <a:gd name="connsiteX0" fmla="*/ 0 w 2986414"/>
              <a:gd name="connsiteY0" fmla="*/ 0 h 747432"/>
              <a:gd name="connsiteX1" fmla="*/ 106805 w 2986414"/>
              <a:gd name="connsiteY1" fmla="*/ 0 h 747432"/>
              <a:gd name="connsiteX2" fmla="*/ 647908 w 2986414"/>
              <a:gd name="connsiteY2" fmla="*/ 0 h 747432"/>
              <a:gd name="connsiteX3" fmla="*/ 1375678 w 2986414"/>
              <a:gd name="connsiteY3" fmla="*/ 0 h 747432"/>
              <a:gd name="connsiteX4" fmla="*/ 1493207 w 2986414"/>
              <a:gd name="connsiteY4" fmla="*/ 98931 h 747432"/>
              <a:gd name="connsiteX5" fmla="*/ 1610736 w 2986414"/>
              <a:gd name="connsiteY5" fmla="*/ 0 h 747432"/>
              <a:gd name="connsiteX6" fmla="*/ 2338506 w 2986414"/>
              <a:gd name="connsiteY6" fmla="*/ 0 h 747432"/>
              <a:gd name="connsiteX7" fmla="*/ 2879609 w 2986414"/>
              <a:gd name="connsiteY7" fmla="*/ 0 h 747432"/>
              <a:gd name="connsiteX8" fmla="*/ 2986414 w 2986414"/>
              <a:gd name="connsiteY8" fmla="*/ 0 h 747432"/>
              <a:gd name="connsiteX9" fmla="*/ 2986414 w 2986414"/>
              <a:gd name="connsiteY9" fmla="*/ 747432 h 747432"/>
              <a:gd name="connsiteX10" fmla="*/ 2879609 w 2986414"/>
              <a:gd name="connsiteY10" fmla="*/ 747432 h 747432"/>
              <a:gd name="connsiteX11" fmla="*/ 2338506 w 2986414"/>
              <a:gd name="connsiteY11" fmla="*/ 747432 h 747432"/>
              <a:gd name="connsiteX12" fmla="*/ 647908 w 2986414"/>
              <a:gd name="connsiteY12" fmla="*/ 747432 h 747432"/>
              <a:gd name="connsiteX13" fmla="*/ 106805 w 2986414"/>
              <a:gd name="connsiteY13" fmla="*/ 747432 h 747432"/>
              <a:gd name="connsiteX14" fmla="*/ 0 w 2986414"/>
              <a:gd name="connsiteY14" fmla="*/ 747432 h 7474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2986414" h="747432">
                <a:moveTo>
                  <a:pt x="0" y="0"/>
                </a:moveTo>
                <a:lnTo>
                  <a:pt x="106805" y="0"/>
                </a:lnTo>
                <a:lnTo>
                  <a:pt x="647908" y="0"/>
                </a:lnTo>
                <a:lnTo>
                  <a:pt x="1375678" y="0"/>
                </a:lnTo>
                <a:lnTo>
                  <a:pt x="1493207" y="98931"/>
                </a:lnTo>
                <a:lnTo>
                  <a:pt x="1610736" y="0"/>
                </a:lnTo>
                <a:lnTo>
                  <a:pt x="2338506" y="0"/>
                </a:lnTo>
                <a:lnTo>
                  <a:pt x="2879609" y="0"/>
                </a:lnTo>
                <a:lnTo>
                  <a:pt x="2986414" y="0"/>
                </a:lnTo>
                <a:lnTo>
                  <a:pt x="2986414" y="747432"/>
                </a:lnTo>
                <a:lnTo>
                  <a:pt x="2879609" y="747432"/>
                </a:lnTo>
                <a:lnTo>
                  <a:pt x="2338506" y="747432"/>
                </a:lnTo>
                <a:lnTo>
                  <a:pt x="647908" y="747432"/>
                </a:lnTo>
                <a:lnTo>
                  <a:pt x="106805" y="747432"/>
                </a:lnTo>
                <a:lnTo>
                  <a:pt x="0" y="747432"/>
                </a:lnTo>
                <a:close/>
              </a:path>
            </a:pathLst>
          </a:custGeom>
          <a:solidFill>
            <a:schemeClr val="bg2">
              <a:alpha val="7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 anchorCtr="0">
            <a:noAutofit/>
          </a:bodyPr>
          <a:lstStyle/>
          <a:p>
            <a:pPr algn="ctr"/>
            <a:endParaRPr lang="en-GB" sz="1400" dirty="0">
              <a:solidFill>
                <a:schemeClr val="bg1"/>
              </a:solidFill>
            </a:endParaRPr>
          </a:p>
        </p:txBody>
      </p:sp>
      <p:sp>
        <p:nvSpPr>
          <p:cNvPr id="570" name="Freeform: Shape 569">
            <a:extLst>
              <a:ext uri="{FF2B5EF4-FFF2-40B4-BE49-F238E27FC236}">
                <a16:creationId xmlns:a16="http://schemas.microsoft.com/office/drawing/2014/main" id="{C7E79E34-9A6F-0957-9C53-2DC7011F027E}"/>
              </a:ext>
            </a:extLst>
          </p:cNvPr>
          <p:cNvSpPr/>
          <p:nvPr/>
        </p:nvSpPr>
        <p:spPr>
          <a:xfrm>
            <a:off x="3078793" y="4112568"/>
            <a:ext cx="2986414" cy="747432"/>
          </a:xfrm>
          <a:custGeom>
            <a:avLst/>
            <a:gdLst>
              <a:gd name="connsiteX0" fmla="*/ 0 w 2986414"/>
              <a:gd name="connsiteY0" fmla="*/ 0 h 747432"/>
              <a:gd name="connsiteX1" fmla="*/ 106805 w 2986414"/>
              <a:gd name="connsiteY1" fmla="*/ 0 h 747432"/>
              <a:gd name="connsiteX2" fmla="*/ 647908 w 2986414"/>
              <a:gd name="connsiteY2" fmla="*/ 0 h 747432"/>
              <a:gd name="connsiteX3" fmla="*/ 1375678 w 2986414"/>
              <a:gd name="connsiteY3" fmla="*/ 0 h 747432"/>
              <a:gd name="connsiteX4" fmla="*/ 1493207 w 2986414"/>
              <a:gd name="connsiteY4" fmla="*/ 98931 h 747432"/>
              <a:gd name="connsiteX5" fmla="*/ 1610736 w 2986414"/>
              <a:gd name="connsiteY5" fmla="*/ 0 h 747432"/>
              <a:gd name="connsiteX6" fmla="*/ 2338506 w 2986414"/>
              <a:gd name="connsiteY6" fmla="*/ 0 h 747432"/>
              <a:gd name="connsiteX7" fmla="*/ 2879609 w 2986414"/>
              <a:gd name="connsiteY7" fmla="*/ 0 h 747432"/>
              <a:gd name="connsiteX8" fmla="*/ 2986414 w 2986414"/>
              <a:gd name="connsiteY8" fmla="*/ 0 h 747432"/>
              <a:gd name="connsiteX9" fmla="*/ 2986414 w 2986414"/>
              <a:gd name="connsiteY9" fmla="*/ 747432 h 747432"/>
              <a:gd name="connsiteX10" fmla="*/ 2879609 w 2986414"/>
              <a:gd name="connsiteY10" fmla="*/ 747432 h 747432"/>
              <a:gd name="connsiteX11" fmla="*/ 2338506 w 2986414"/>
              <a:gd name="connsiteY11" fmla="*/ 747432 h 747432"/>
              <a:gd name="connsiteX12" fmla="*/ 647908 w 2986414"/>
              <a:gd name="connsiteY12" fmla="*/ 747432 h 747432"/>
              <a:gd name="connsiteX13" fmla="*/ 106805 w 2986414"/>
              <a:gd name="connsiteY13" fmla="*/ 747432 h 747432"/>
              <a:gd name="connsiteX14" fmla="*/ 0 w 2986414"/>
              <a:gd name="connsiteY14" fmla="*/ 747432 h 7474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2986414" h="747432">
                <a:moveTo>
                  <a:pt x="0" y="0"/>
                </a:moveTo>
                <a:lnTo>
                  <a:pt x="106805" y="0"/>
                </a:lnTo>
                <a:lnTo>
                  <a:pt x="647908" y="0"/>
                </a:lnTo>
                <a:lnTo>
                  <a:pt x="1375678" y="0"/>
                </a:lnTo>
                <a:lnTo>
                  <a:pt x="1493207" y="98931"/>
                </a:lnTo>
                <a:lnTo>
                  <a:pt x="1610736" y="0"/>
                </a:lnTo>
                <a:lnTo>
                  <a:pt x="2338506" y="0"/>
                </a:lnTo>
                <a:lnTo>
                  <a:pt x="2879609" y="0"/>
                </a:lnTo>
                <a:lnTo>
                  <a:pt x="2986414" y="0"/>
                </a:lnTo>
                <a:lnTo>
                  <a:pt x="2986414" y="747432"/>
                </a:lnTo>
                <a:lnTo>
                  <a:pt x="2879609" y="747432"/>
                </a:lnTo>
                <a:lnTo>
                  <a:pt x="2338506" y="747432"/>
                </a:lnTo>
                <a:lnTo>
                  <a:pt x="647908" y="747432"/>
                </a:lnTo>
                <a:lnTo>
                  <a:pt x="106805" y="747432"/>
                </a:lnTo>
                <a:lnTo>
                  <a:pt x="0" y="747432"/>
                </a:lnTo>
                <a:close/>
              </a:path>
            </a:pathLst>
          </a:custGeom>
          <a:solidFill>
            <a:schemeClr val="bg2">
              <a:alpha val="7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 anchorCtr="0">
            <a:noAutofit/>
          </a:bodyPr>
          <a:lstStyle/>
          <a:p>
            <a:pPr algn="ctr"/>
            <a:endParaRPr lang="en-GB" sz="1400" dirty="0">
              <a:solidFill>
                <a:schemeClr val="bg1"/>
              </a:solidFill>
            </a:endParaRPr>
          </a:p>
        </p:txBody>
      </p:sp>
      <p:sp>
        <p:nvSpPr>
          <p:cNvPr id="575" name="Freihandform: Form 346">
            <a:extLst>
              <a:ext uri="{FF2B5EF4-FFF2-40B4-BE49-F238E27FC236}">
                <a16:creationId xmlns:a16="http://schemas.microsoft.com/office/drawing/2014/main" id="{7CDA2AD5-735D-4441-747E-C64B50CF41A2}"/>
              </a:ext>
            </a:extLst>
          </p:cNvPr>
          <p:cNvSpPr/>
          <p:nvPr/>
        </p:nvSpPr>
        <p:spPr>
          <a:xfrm>
            <a:off x="1308623" y="4343394"/>
            <a:ext cx="369547" cy="369541"/>
          </a:xfrm>
          <a:custGeom>
            <a:avLst/>
            <a:gdLst>
              <a:gd name="connsiteX0" fmla="*/ 6574 w 434208"/>
              <a:gd name="connsiteY0" fmla="*/ 434202 h 434201"/>
              <a:gd name="connsiteX1" fmla="*/ 1935 w 434208"/>
              <a:gd name="connsiteY1" fmla="*/ 432273 h 434201"/>
              <a:gd name="connsiteX2" fmla="*/ 1935 w 434208"/>
              <a:gd name="connsiteY2" fmla="*/ 422970 h 434201"/>
              <a:gd name="connsiteX3" fmla="*/ 422969 w 434208"/>
              <a:gd name="connsiteY3" fmla="*/ 1935 h 434201"/>
              <a:gd name="connsiteX4" fmla="*/ 432273 w 434208"/>
              <a:gd name="connsiteY4" fmla="*/ 1935 h 434201"/>
              <a:gd name="connsiteX5" fmla="*/ 432273 w 434208"/>
              <a:gd name="connsiteY5" fmla="*/ 11239 h 434201"/>
              <a:gd name="connsiteX6" fmla="*/ 11239 w 434208"/>
              <a:gd name="connsiteY6" fmla="*/ 432273 h 434201"/>
              <a:gd name="connsiteX7" fmla="*/ 6574 w 434208"/>
              <a:gd name="connsiteY7" fmla="*/ 434202 h 4342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34208" h="434201">
                <a:moveTo>
                  <a:pt x="6574" y="434202"/>
                </a:moveTo>
                <a:cubicBezTo>
                  <a:pt x="4880" y="434202"/>
                  <a:pt x="3212" y="433550"/>
                  <a:pt x="1935" y="432273"/>
                </a:cubicBezTo>
                <a:cubicBezTo>
                  <a:pt x="-645" y="429693"/>
                  <a:pt x="-645" y="425550"/>
                  <a:pt x="1935" y="422970"/>
                </a:cubicBezTo>
                <a:lnTo>
                  <a:pt x="422969" y="1935"/>
                </a:lnTo>
                <a:cubicBezTo>
                  <a:pt x="425550" y="-645"/>
                  <a:pt x="429693" y="-645"/>
                  <a:pt x="432273" y="1935"/>
                </a:cubicBezTo>
                <a:cubicBezTo>
                  <a:pt x="434853" y="4515"/>
                  <a:pt x="434853" y="8659"/>
                  <a:pt x="432273" y="11239"/>
                </a:cubicBezTo>
                <a:lnTo>
                  <a:pt x="11239" y="432273"/>
                </a:lnTo>
                <a:cubicBezTo>
                  <a:pt x="9936" y="433550"/>
                  <a:pt x="8268" y="434202"/>
                  <a:pt x="6574" y="434202"/>
                </a:cubicBezTo>
                <a:close/>
              </a:path>
            </a:pathLst>
          </a:custGeom>
          <a:solidFill>
            <a:schemeClr val="bg2"/>
          </a:solidFill>
          <a:ln w="2604" cap="flat">
            <a:noFill/>
            <a:prstDash val="solid"/>
            <a:miter/>
          </a:ln>
        </p:spPr>
        <p:txBody>
          <a:bodyPr rtlCol="0" anchor="ctr"/>
          <a:lstStyle/>
          <a:p>
            <a:endParaRPr lang="en-GB" dirty="0"/>
          </a:p>
        </p:txBody>
      </p:sp>
      <p:grpSp>
        <p:nvGrpSpPr>
          <p:cNvPr id="576" name="Group 575">
            <a:extLst>
              <a:ext uri="{FF2B5EF4-FFF2-40B4-BE49-F238E27FC236}">
                <a16:creationId xmlns:a16="http://schemas.microsoft.com/office/drawing/2014/main" id="{A043C821-D840-CBE0-E532-333126D2932D}"/>
              </a:ext>
            </a:extLst>
          </p:cNvPr>
          <p:cNvGrpSpPr/>
          <p:nvPr/>
        </p:nvGrpSpPr>
        <p:grpSpPr>
          <a:xfrm>
            <a:off x="1298828" y="4344593"/>
            <a:ext cx="388759" cy="362044"/>
            <a:chOff x="3392169" y="2431554"/>
            <a:chExt cx="456781" cy="425392"/>
          </a:xfrm>
          <a:solidFill>
            <a:schemeClr val="bg2">
              <a:lumMod val="50000"/>
            </a:schemeClr>
          </a:solidFill>
        </p:grpSpPr>
        <p:sp>
          <p:nvSpPr>
            <p:cNvPr id="577" name="Freihandform: Form 339">
              <a:extLst>
                <a:ext uri="{FF2B5EF4-FFF2-40B4-BE49-F238E27FC236}">
                  <a16:creationId xmlns:a16="http://schemas.microsoft.com/office/drawing/2014/main" id="{1CF7E103-C817-2D9D-CECB-1A8B8546C68F}"/>
                </a:ext>
              </a:extLst>
            </p:cNvPr>
            <p:cNvSpPr/>
            <p:nvPr/>
          </p:nvSpPr>
          <p:spPr>
            <a:xfrm>
              <a:off x="3392169" y="2585364"/>
              <a:ext cx="71246" cy="44751"/>
            </a:xfrm>
            <a:custGeom>
              <a:avLst/>
              <a:gdLst>
                <a:gd name="connsiteX0" fmla="*/ 49955 w 71246"/>
                <a:gd name="connsiteY0" fmla="*/ 44751 h 44751"/>
                <a:gd name="connsiteX1" fmla="*/ 492 w 71246"/>
                <a:gd name="connsiteY1" fmla="*/ 24867 h 44751"/>
                <a:gd name="connsiteX2" fmla="*/ 466 w 71246"/>
                <a:gd name="connsiteY2" fmla="*/ 19942 h 44751"/>
                <a:gd name="connsiteX3" fmla="*/ 54490 w 71246"/>
                <a:gd name="connsiteY3" fmla="*/ 370 h 44751"/>
                <a:gd name="connsiteX4" fmla="*/ 71220 w 71246"/>
                <a:gd name="connsiteY4" fmla="*/ 21505 h 44751"/>
                <a:gd name="connsiteX5" fmla="*/ 71246 w 71246"/>
                <a:gd name="connsiteY5" fmla="*/ 22209 h 44751"/>
                <a:gd name="connsiteX6" fmla="*/ 71220 w 71246"/>
                <a:gd name="connsiteY6" fmla="*/ 22756 h 44751"/>
                <a:gd name="connsiteX7" fmla="*/ 54620 w 71246"/>
                <a:gd name="connsiteY7" fmla="*/ 44334 h 44751"/>
                <a:gd name="connsiteX8" fmla="*/ 49955 w 71246"/>
                <a:gd name="connsiteY8" fmla="*/ 44751 h 44751"/>
                <a:gd name="connsiteX9" fmla="*/ 19933 w 71246"/>
                <a:gd name="connsiteY9" fmla="*/ 22391 h 44751"/>
                <a:gd name="connsiteX10" fmla="*/ 54620 w 71246"/>
                <a:gd name="connsiteY10" fmla="*/ 30652 h 44751"/>
                <a:gd name="connsiteX11" fmla="*/ 58060 w 71246"/>
                <a:gd name="connsiteY11" fmla="*/ 22417 h 44751"/>
                <a:gd name="connsiteX12" fmla="*/ 58060 w 71246"/>
                <a:gd name="connsiteY12" fmla="*/ 22391 h 44751"/>
                <a:gd name="connsiteX13" fmla="*/ 54620 w 71246"/>
                <a:gd name="connsiteY13" fmla="*/ 14156 h 44751"/>
                <a:gd name="connsiteX14" fmla="*/ 19933 w 71246"/>
                <a:gd name="connsiteY14" fmla="*/ 22391 h 447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71246" h="44751">
                  <a:moveTo>
                    <a:pt x="49955" y="44751"/>
                  </a:moveTo>
                  <a:cubicBezTo>
                    <a:pt x="31817" y="44751"/>
                    <a:pt x="2525" y="29871"/>
                    <a:pt x="492" y="24867"/>
                  </a:cubicBezTo>
                  <a:cubicBezTo>
                    <a:pt x="-160" y="23303"/>
                    <a:pt x="-160" y="21531"/>
                    <a:pt x="466" y="19942"/>
                  </a:cubicBezTo>
                  <a:cubicBezTo>
                    <a:pt x="2629" y="14521"/>
                    <a:pt x="37081" y="-2731"/>
                    <a:pt x="54490" y="370"/>
                  </a:cubicBezTo>
                  <a:cubicBezTo>
                    <a:pt x="60510" y="1465"/>
                    <a:pt x="70621" y="5634"/>
                    <a:pt x="71220" y="21505"/>
                  </a:cubicBezTo>
                  <a:cubicBezTo>
                    <a:pt x="71246" y="21740"/>
                    <a:pt x="71246" y="21974"/>
                    <a:pt x="71246" y="22209"/>
                  </a:cubicBezTo>
                  <a:cubicBezTo>
                    <a:pt x="71246" y="22391"/>
                    <a:pt x="71246" y="22574"/>
                    <a:pt x="71220" y="22756"/>
                  </a:cubicBezTo>
                  <a:cubicBezTo>
                    <a:pt x="70830" y="38914"/>
                    <a:pt x="60640" y="43214"/>
                    <a:pt x="54620" y="44334"/>
                  </a:cubicBezTo>
                  <a:cubicBezTo>
                    <a:pt x="53160" y="44621"/>
                    <a:pt x="51597" y="44751"/>
                    <a:pt x="49955" y="44751"/>
                  </a:cubicBezTo>
                  <a:close/>
                  <a:moveTo>
                    <a:pt x="19933" y="22391"/>
                  </a:moveTo>
                  <a:cubicBezTo>
                    <a:pt x="31426" y="28099"/>
                    <a:pt x="47792" y="34223"/>
                    <a:pt x="54620" y="30652"/>
                  </a:cubicBezTo>
                  <a:cubicBezTo>
                    <a:pt x="55454" y="30235"/>
                    <a:pt x="57930" y="28932"/>
                    <a:pt x="58060" y="22417"/>
                  </a:cubicBezTo>
                  <a:cubicBezTo>
                    <a:pt x="58060" y="22391"/>
                    <a:pt x="58060" y="22391"/>
                    <a:pt x="58060" y="22391"/>
                  </a:cubicBezTo>
                  <a:cubicBezTo>
                    <a:pt x="57930" y="15876"/>
                    <a:pt x="55428" y="14573"/>
                    <a:pt x="54620" y="14156"/>
                  </a:cubicBezTo>
                  <a:cubicBezTo>
                    <a:pt x="47766" y="10560"/>
                    <a:pt x="31426" y="16684"/>
                    <a:pt x="19933" y="22391"/>
                  </a:cubicBezTo>
                  <a:close/>
                </a:path>
              </a:pathLst>
            </a:custGeom>
            <a:grpFill/>
            <a:ln w="26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grpSp>
          <p:nvGrpSpPr>
            <p:cNvPr id="578" name="Grafik 234">
              <a:extLst>
                <a:ext uri="{FF2B5EF4-FFF2-40B4-BE49-F238E27FC236}">
                  <a16:creationId xmlns:a16="http://schemas.microsoft.com/office/drawing/2014/main" id="{3BEC11C6-C949-6903-2EF8-B5831B604F5D}"/>
                </a:ext>
              </a:extLst>
            </p:cNvPr>
            <p:cNvGrpSpPr/>
            <p:nvPr/>
          </p:nvGrpSpPr>
          <p:grpSpPr>
            <a:xfrm>
              <a:off x="3439007" y="2431554"/>
              <a:ext cx="264945" cy="107767"/>
              <a:chOff x="3439007" y="2431554"/>
              <a:chExt cx="264945" cy="107767"/>
            </a:xfrm>
            <a:grpFill/>
          </p:grpSpPr>
          <p:sp>
            <p:nvSpPr>
              <p:cNvPr id="611" name="Freihandform: Form 341">
                <a:extLst>
                  <a:ext uri="{FF2B5EF4-FFF2-40B4-BE49-F238E27FC236}">
                    <a16:creationId xmlns:a16="http://schemas.microsoft.com/office/drawing/2014/main" id="{2C6176FB-E629-58C3-48B2-B1B2D85F64E6}"/>
                  </a:ext>
                </a:extLst>
              </p:cNvPr>
              <p:cNvSpPr/>
              <p:nvPr/>
            </p:nvSpPr>
            <p:spPr>
              <a:xfrm>
                <a:off x="3549198" y="2431554"/>
                <a:ext cx="44660" cy="71256"/>
              </a:xfrm>
              <a:custGeom>
                <a:avLst/>
                <a:gdLst>
                  <a:gd name="connsiteX0" fmla="*/ 22500 w 44660"/>
                  <a:gd name="connsiteY0" fmla="*/ 71256 h 71256"/>
                  <a:gd name="connsiteX1" fmla="*/ 21666 w 44660"/>
                  <a:gd name="connsiteY1" fmla="*/ 71230 h 71256"/>
                  <a:gd name="connsiteX2" fmla="*/ 322 w 44660"/>
                  <a:gd name="connsiteY2" fmla="*/ 54421 h 71256"/>
                  <a:gd name="connsiteX3" fmla="*/ 19946 w 44660"/>
                  <a:gd name="connsiteY3" fmla="*/ 450 h 71256"/>
                  <a:gd name="connsiteX4" fmla="*/ 24715 w 44660"/>
                  <a:gd name="connsiteY4" fmla="*/ 450 h 71256"/>
                  <a:gd name="connsiteX5" fmla="*/ 44338 w 44660"/>
                  <a:gd name="connsiteY5" fmla="*/ 54421 h 71256"/>
                  <a:gd name="connsiteX6" fmla="*/ 23203 w 44660"/>
                  <a:gd name="connsiteY6" fmla="*/ 71230 h 71256"/>
                  <a:gd name="connsiteX7" fmla="*/ 22500 w 44660"/>
                  <a:gd name="connsiteY7" fmla="*/ 71256 h 71256"/>
                  <a:gd name="connsiteX8" fmla="*/ 22343 w 44660"/>
                  <a:gd name="connsiteY8" fmla="*/ 19917 h 71256"/>
                  <a:gd name="connsiteX9" fmla="*/ 14082 w 44660"/>
                  <a:gd name="connsiteY9" fmla="*/ 54603 h 71256"/>
                  <a:gd name="connsiteX10" fmla="*/ 22317 w 44660"/>
                  <a:gd name="connsiteY10" fmla="*/ 58069 h 71256"/>
                  <a:gd name="connsiteX11" fmla="*/ 22343 w 44660"/>
                  <a:gd name="connsiteY11" fmla="*/ 58069 h 71256"/>
                  <a:gd name="connsiteX12" fmla="*/ 30578 w 44660"/>
                  <a:gd name="connsiteY12" fmla="*/ 54603 h 71256"/>
                  <a:gd name="connsiteX13" fmla="*/ 22343 w 44660"/>
                  <a:gd name="connsiteY13" fmla="*/ 19917 h 712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4660" h="71256">
                    <a:moveTo>
                      <a:pt x="22500" y="71256"/>
                    </a:moveTo>
                    <a:cubicBezTo>
                      <a:pt x="22213" y="71256"/>
                      <a:pt x="21952" y="71230"/>
                      <a:pt x="21666" y="71230"/>
                    </a:cubicBezTo>
                    <a:cubicBezTo>
                      <a:pt x="5586" y="70735"/>
                      <a:pt x="1391" y="60493"/>
                      <a:pt x="322" y="54421"/>
                    </a:cubicBezTo>
                    <a:cubicBezTo>
                      <a:pt x="-2414" y="38941"/>
                      <a:pt x="12987" y="3186"/>
                      <a:pt x="19946" y="450"/>
                    </a:cubicBezTo>
                    <a:cubicBezTo>
                      <a:pt x="21483" y="-150"/>
                      <a:pt x="23177" y="-150"/>
                      <a:pt x="24715" y="450"/>
                    </a:cubicBezTo>
                    <a:cubicBezTo>
                      <a:pt x="31673" y="3160"/>
                      <a:pt x="47075" y="38915"/>
                      <a:pt x="44338" y="54421"/>
                    </a:cubicBezTo>
                    <a:cubicBezTo>
                      <a:pt x="43270" y="60467"/>
                      <a:pt x="39100" y="70631"/>
                      <a:pt x="23203" y="71230"/>
                    </a:cubicBezTo>
                    <a:cubicBezTo>
                      <a:pt x="22995" y="71230"/>
                      <a:pt x="22760" y="71256"/>
                      <a:pt x="22500" y="71256"/>
                    </a:cubicBezTo>
                    <a:close/>
                    <a:moveTo>
                      <a:pt x="22343" y="19917"/>
                    </a:moveTo>
                    <a:cubicBezTo>
                      <a:pt x="16636" y="31409"/>
                      <a:pt x="10512" y="47776"/>
                      <a:pt x="14082" y="54603"/>
                    </a:cubicBezTo>
                    <a:cubicBezTo>
                      <a:pt x="14499" y="55411"/>
                      <a:pt x="15802" y="57913"/>
                      <a:pt x="22317" y="58069"/>
                    </a:cubicBezTo>
                    <a:cubicBezTo>
                      <a:pt x="22343" y="58069"/>
                      <a:pt x="22343" y="58069"/>
                      <a:pt x="22343" y="58069"/>
                    </a:cubicBezTo>
                    <a:cubicBezTo>
                      <a:pt x="28859" y="57913"/>
                      <a:pt x="30162" y="55437"/>
                      <a:pt x="30578" y="54603"/>
                    </a:cubicBezTo>
                    <a:cubicBezTo>
                      <a:pt x="34175" y="47776"/>
                      <a:pt x="28051" y="31409"/>
                      <a:pt x="22343" y="19917"/>
                    </a:cubicBezTo>
                    <a:close/>
                  </a:path>
                </a:pathLst>
              </a:custGeom>
              <a:grpFill/>
              <a:ln w="26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612" name="Freihandform: Form 342">
                <a:extLst>
                  <a:ext uri="{FF2B5EF4-FFF2-40B4-BE49-F238E27FC236}">
                    <a16:creationId xmlns:a16="http://schemas.microsoft.com/office/drawing/2014/main" id="{053623F2-0D4A-680A-D6CF-D34F7D459A9B}"/>
                  </a:ext>
                </a:extLst>
              </p:cNvPr>
              <p:cNvSpPr/>
              <p:nvPr/>
            </p:nvSpPr>
            <p:spPr>
              <a:xfrm>
                <a:off x="3439007" y="2479753"/>
                <a:ext cx="59686" cy="59567"/>
              </a:xfrm>
              <a:custGeom>
                <a:avLst/>
                <a:gdLst>
                  <a:gd name="connsiteX0" fmla="*/ 36161 w 59686"/>
                  <a:gd name="connsiteY0" fmla="*/ 59568 h 59567"/>
                  <a:gd name="connsiteX1" fmla="*/ 24669 w 59686"/>
                  <a:gd name="connsiteY1" fmla="*/ 55685 h 59567"/>
                  <a:gd name="connsiteX2" fmla="*/ 406 w 59686"/>
                  <a:gd name="connsiteY2" fmla="*/ 3668 h 59567"/>
                  <a:gd name="connsiteX3" fmla="*/ 3794 w 59686"/>
                  <a:gd name="connsiteY3" fmla="*/ 280 h 59567"/>
                  <a:gd name="connsiteX4" fmla="*/ 55837 w 59686"/>
                  <a:gd name="connsiteY4" fmla="*/ 24595 h 59567"/>
                  <a:gd name="connsiteX5" fmla="*/ 52788 w 59686"/>
                  <a:gd name="connsiteY5" fmla="*/ 51359 h 59567"/>
                  <a:gd name="connsiteX6" fmla="*/ 52059 w 59686"/>
                  <a:gd name="connsiteY6" fmla="*/ 52141 h 59567"/>
                  <a:gd name="connsiteX7" fmla="*/ 51668 w 59686"/>
                  <a:gd name="connsiteY7" fmla="*/ 52505 h 59567"/>
                  <a:gd name="connsiteX8" fmla="*/ 36161 w 59686"/>
                  <a:gd name="connsiteY8" fmla="*/ 59568 h 59567"/>
                  <a:gd name="connsiteX9" fmla="*/ 15861 w 59686"/>
                  <a:gd name="connsiteY9" fmla="*/ 15760 h 59567"/>
                  <a:gd name="connsiteX10" fmla="*/ 34546 w 59686"/>
                  <a:gd name="connsiteY10" fmla="*/ 46121 h 59567"/>
                  <a:gd name="connsiteX11" fmla="*/ 42755 w 59686"/>
                  <a:gd name="connsiteY11" fmla="*/ 42785 h 59567"/>
                  <a:gd name="connsiteX12" fmla="*/ 42807 w 59686"/>
                  <a:gd name="connsiteY12" fmla="*/ 42707 h 59567"/>
                  <a:gd name="connsiteX13" fmla="*/ 46195 w 59686"/>
                  <a:gd name="connsiteY13" fmla="*/ 34445 h 59567"/>
                  <a:gd name="connsiteX14" fmla="*/ 15861 w 59686"/>
                  <a:gd name="connsiteY14" fmla="*/ 15760 h 595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59686" h="59567">
                    <a:moveTo>
                      <a:pt x="36161" y="59568"/>
                    </a:moveTo>
                    <a:cubicBezTo>
                      <a:pt x="31288" y="59568"/>
                      <a:pt x="27275" y="57535"/>
                      <a:pt x="24669" y="55685"/>
                    </a:cubicBezTo>
                    <a:cubicBezTo>
                      <a:pt x="11795" y="46668"/>
                      <a:pt x="-2617" y="10496"/>
                      <a:pt x="406" y="3668"/>
                    </a:cubicBezTo>
                    <a:cubicBezTo>
                      <a:pt x="1058" y="2156"/>
                      <a:pt x="2283" y="958"/>
                      <a:pt x="3794" y="280"/>
                    </a:cubicBezTo>
                    <a:cubicBezTo>
                      <a:pt x="9111" y="-2013"/>
                      <a:pt x="45700" y="10105"/>
                      <a:pt x="55837" y="24595"/>
                    </a:cubicBezTo>
                    <a:cubicBezTo>
                      <a:pt x="59355" y="29624"/>
                      <a:pt x="63577" y="39736"/>
                      <a:pt x="52788" y="51359"/>
                    </a:cubicBezTo>
                    <a:cubicBezTo>
                      <a:pt x="52580" y="51645"/>
                      <a:pt x="52319" y="51906"/>
                      <a:pt x="52059" y="52141"/>
                    </a:cubicBezTo>
                    <a:cubicBezTo>
                      <a:pt x="51928" y="52271"/>
                      <a:pt x="51798" y="52375"/>
                      <a:pt x="51668" y="52505"/>
                    </a:cubicBezTo>
                    <a:cubicBezTo>
                      <a:pt x="45986" y="57796"/>
                      <a:pt x="40696" y="59568"/>
                      <a:pt x="36161" y="59568"/>
                    </a:cubicBezTo>
                    <a:close/>
                    <a:moveTo>
                      <a:pt x="15861" y="15760"/>
                    </a:moveTo>
                    <a:cubicBezTo>
                      <a:pt x="19952" y="27904"/>
                      <a:pt x="27197" y="43827"/>
                      <a:pt x="34546" y="46121"/>
                    </a:cubicBezTo>
                    <a:cubicBezTo>
                      <a:pt x="35432" y="46381"/>
                      <a:pt x="38090" y="47215"/>
                      <a:pt x="42755" y="42785"/>
                    </a:cubicBezTo>
                    <a:cubicBezTo>
                      <a:pt x="42781" y="42759"/>
                      <a:pt x="42807" y="42733"/>
                      <a:pt x="42807" y="42707"/>
                    </a:cubicBezTo>
                    <a:cubicBezTo>
                      <a:pt x="47315" y="37990"/>
                      <a:pt x="46482" y="35332"/>
                      <a:pt x="46195" y="34445"/>
                    </a:cubicBezTo>
                    <a:cubicBezTo>
                      <a:pt x="43902" y="27096"/>
                      <a:pt x="28005" y="19852"/>
                      <a:pt x="15861" y="15760"/>
                    </a:cubicBezTo>
                    <a:close/>
                  </a:path>
                </a:pathLst>
              </a:custGeom>
              <a:grpFill/>
              <a:ln w="26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613" name="Freihandform: Form 343">
                <a:extLst>
                  <a:ext uri="{FF2B5EF4-FFF2-40B4-BE49-F238E27FC236}">
                    <a16:creationId xmlns:a16="http://schemas.microsoft.com/office/drawing/2014/main" id="{D70FD06D-8F77-A49B-21DB-4499E731ED1C}"/>
                  </a:ext>
                </a:extLst>
              </p:cNvPr>
              <p:cNvSpPr/>
              <p:nvPr/>
            </p:nvSpPr>
            <p:spPr>
              <a:xfrm>
                <a:off x="3644417" y="2479727"/>
                <a:ext cx="59535" cy="59593"/>
              </a:xfrm>
              <a:custGeom>
                <a:avLst/>
                <a:gdLst>
                  <a:gd name="connsiteX0" fmla="*/ 23522 w 59535"/>
                  <a:gd name="connsiteY0" fmla="*/ 59594 h 59593"/>
                  <a:gd name="connsiteX1" fmla="*/ 8172 w 59535"/>
                  <a:gd name="connsiteY1" fmla="*/ 52662 h 59593"/>
                  <a:gd name="connsiteX2" fmla="*/ 7833 w 59535"/>
                  <a:gd name="connsiteY2" fmla="*/ 52375 h 59593"/>
                  <a:gd name="connsiteX3" fmla="*/ 7573 w 59535"/>
                  <a:gd name="connsiteY3" fmla="*/ 52115 h 59593"/>
                  <a:gd name="connsiteX4" fmla="*/ 7416 w 59535"/>
                  <a:gd name="connsiteY4" fmla="*/ 51958 h 59593"/>
                  <a:gd name="connsiteX5" fmla="*/ 6921 w 59535"/>
                  <a:gd name="connsiteY5" fmla="*/ 51411 h 59593"/>
                  <a:gd name="connsiteX6" fmla="*/ 3846 w 59535"/>
                  <a:gd name="connsiteY6" fmla="*/ 24595 h 59593"/>
                  <a:gd name="connsiteX7" fmla="*/ 55863 w 59535"/>
                  <a:gd name="connsiteY7" fmla="*/ 280 h 59593"/>
                  <a:gd name="connsiteX8" fmla="*/ 59251 w 59535"/>
                  <a:gd name="connsiteY8" fmla="*/ 3694 h 59593"/>
                  <a:gd name="connsiteX9" fmla="*/ 34910 w 59535"/>
                  <a:gd name="connsiteY9" fmla="*/ 55737 h 59593"/>
                  <a:gd name="connsiteX10" fmla="*/ 23522 w 59535"/>
                  <a:gd name="connsiteY10" fmla="*/ 59594 h 59593"/>
                  <a:gd name="connsiteX11" fmla="*/ 16850 w 59535"/>
                  <a:gd name="connsiteY11" fmla="*/ 42759 h 59593"/>
                  <a:gd name="connsiteX12" fmla="*/ 16850 w 59535"/>
                  <a:gd name="connsiteY12" fmla="*/ 42759 h 59593"/>
                  <a:gd name="connsiteX13" fmla="*/ 25137 w 59535"/>
                  <a:gd name="connsiteY13" fmla="*/ 46147 h 59593"/>
                  <a:gd name="connsiteX14" fmla="*/ 43823 w 59535"/>
                  <a:gd name="connsiteY14" fmla="*/ 15786 h 59593"/>
                  <a:gd name="connsiteX15" fmla="*/ 13462 w 59535"/>
                  <a:gd name="connsiteY15" fmla="*/ 34472 h 59593"/>
                  <a:gd name="connsiteX16" fmla="*/ 16850 w 59535"/>
                  <a:gd name="connsiteY16" fmla="*/ 42759 h 59593"/>
                  <a:gd name="connsiteX17" fmla="*/ 16850 w 59535"/>
                  <a:gd name="connsiteY17" fmla="*/ 42759 h 595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59535" h="59593">
                    <a:moveTo>
                      <a:pt x="23522" y="59594"/>
                    </a:moveTo>
                    <a:cubicBezTo>
                      <a:pt x="19013" y="59594"/>
                      <a:pt x="13775" y="57874"/>
                      <a:pt x="8172" y="52662"/>
                    </a:cubicBezTo>
                    <a:cubicBezTo>
                      <a:pt x="8068" y="52558"/>
                      <a:pt x="7938" y="52479"/>
                      <a:pt x="7833" y="52375"/>
                    </a:cubicBezTo>
                    <a:cubicBezTo>
                      <a:pt x="7755" y="52297"/>
                      <a:pt x="7677" y="52219"/>
                      <a:pt x="7573" y="52115"/>
                    </a:cubicBezTo>
                    <a:cubicBezTo>
                      <a:pt x="7520" y="52062"/>
                      <a:pt x="7468" y="52010"/>
                      <a:pt x="7416" y="51958"/>
                    </a:cubicBezTo>
                    <a:cubicBezTo>
                      <a:pt x="7234" y="51776"/>
                      <a:pt x="7077" y="51619"/>
                      <a:pt x="6921" y="51411"/>
                    </a:cubicBezTo>
                    <a:cubicBezTo>
                      <a:pt x="-3894" y="39762"/>
                      <a:pt x="328" y="29650"/>
                      <a:pt x="3846" y="24595"/>
                    </a:cubicBezTo>
                    <a:cubicBezTo>
                      <a:pt x="13957" y="10105"/>
                      <a:pt x="50573" y="-2013"/>
                      <a:pt x="55863" y="280"/>
                    </a:cubicBezTo>
                    <a:cubicBezTo>
                      <a:pt x="57374" y="958"/>
                      <a:pt x="58599" y="2156"/>
                      <a:pt x="59251" y="3694"/>
                    </a:cubicBezTo>
                    <a:cubicBezTo>
                      <a:pt x="61570" y="9036"/>
                      <a:pt x="49400" y="45652"/>
                      <a:pt x="34910" y="55737"/>
                    </a:cubicBezTo>
                    <a:cubicBezTo>
                      <a:pt x="32356" y="57587"/>
                      <a:pt x="28369" y="59594"/>
                      <a:pt x="23522" y="59594"/>
                    </a:cubicBezTo>
                    <a:close/>
                    <a:moveTo>
                      <a:pt x="16850" y="42759"/>
                    </a:moveTo>
                    <a:cubicBezTo>
                      <a:pt x="16850" y="42759"/>
                      <a:pt x="16850" y="42759"/>
                      <a:pt x="16850" y="42759"/>
                    </a:cubicBezTo>
                    <a:cubicBezTo>
                      <a:pt x="21567" y="47267"/>
                      <a:pt x="24251" y="46433"/>
                      <a:pt x="25137" y="46147"/>
                    </a:cubicBezTo>
                    <a:cubicBezTo>
                      <a:pt x="32512" y="43827"/>
                      <a:pt x="39757" y="27930"/>
                      <a:pt x="43823" y="15786"/>
                    </a:cubicBezTo>
                    <a:cubicBezTo>
                      <a:pt x="31679" y="19878"/>
                      <a:pt x="15781" y="27122"/>
                      <a:pt x="13462" y="34472"/>
                    </a:cubicBezTo>
                    <a:cubicBezTo>
                      <a:pt x="13175" y="35358"/>
                      <a:pt x="12342" y="38042"/>
                      <a:pt x="16850" y="42759"/>
                    </a:cubicBezTo>
                    <a:cubicBezTo>
                      <a:pt x="16850" y="42759"/>
                      <a:pt x="16850" y="42759"/>
                      <a:pt x="16850" y="42759"/>
                    </a:cubicBezTo>
                    <a:close/>
                  </a:path>
                </a:pathLst>
              </a:custGeom>
              <a:grpFill/>
              <a:ln w="26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</p:grpSp>
        <p:sp>
          <p:nvSpPr>
            <p:cNvPr id="579" name="Freihandform: Form 344">
              <a:extLst>
                <a:ext uri="{FF2B5EF4-FFF2-40B4-BE49-F238E27FC236}">
                  <a16:creationId xmlns:a16="http://schemas.microsoft.com/office/drawing/2014/main" id="{91CB5CEF-4734-4F8B-D34E-34AF0257DEEB}"/>
                </a:ext>
              </a:extLst>
            </p:cNvPr>
            <p:cNvSpPr/>
            <p:nvPr/>
          </p:nvSpPr>
          <p:spPr>
            <a:xfrm>
              <a:off x="3438981" y="2690512"/>
              <a:ext cx="59676" cy="59560"/>
            </a:xfrm>
            <a:custGeom>
              <a:avLst/>
              <a:gdLst>
                <a:gd name="connsiteX0" fmla="*/ 5749 w 59676"/>
                <a:gd name="connsiteY0" fmla="*/ 59561 h 59560"/>
                <a:gd name="connsiteX1" fmla="*/ 3794 w 59676"/>
                <a:gd name="connsiteY1" fmla="*/ 59274 h 59560"/>
                <a:gd name="connsiteX2" fmla="*/ 406 w 59676"/>
                <a:gd name="connsiteY2" fmla="*/ 55886 h 59560"/>
                <a:gd name="connsiteX3" fmla="*/ 24669 w 59676"/>
                <a:gd name="connsiteY3" fmla="*/ 3869 h 59560"/>
                <a:gd name="connsiteX4" fmla="*/ 51511 w 59676"/>
                <a:gd name="connsiteY4" fmla="*/ 6918 h 59560"/>
                <a:gd name="connsiteX5" fmla="*/ 52215 w 59676"/>
                <a:gd name="connsiteY5" fmla="*/ 7570 h 59560"/>
                <a:gd name="connsiteX6" fmla="*/ 52945 w 59676"/>
                <a:gd name="connsiteY6" fmla="*/ 8352 h 59560"/>
                <a:gd name="connsiteX7" fmla="*/ 55811 w 59676"/>
                <a:gd name="connsiteY7" fmla="*/ 34959 h 59560"/>
                <a:gd name="connsiteX8" fmla="*/ 5749 w 59676"/>
                <a:gd name="connsiteY8" fmla="*/ 59561 h 59560"/>
                <a:gd name="connsiteX9" fmla="*/ 36057 w 59676"/>
                <a:gd name="connsiteY9" fmla="*/ 13199 h 59560"/>
                <a:gd name="connsiteX10" fmla="*/ 34572 w 59676"/>
                <a:gd name="connsiteY10" fmla="*/ 13433 h 59560"/>
                <a:gd name="connsiteX11" fmla="*/ 15886 w 59676"/>
                <a:gd name="connsiteY11" fmla="*/ 43794 h 59560"/>
                <a:gd name="connsiteX12" fmla="*/ 46247 w 59676"/>
                <a:gd name="connsiteY12" fmla="*/ 25108 h 59560"/>
                <a:gd name="connsiteX13" fmla="*/ 42859 w 59676"/>
                <a:gd name="connsiteY13" fmla="*/ 16847 h 59560"/>
                <a:gd name="connsiteX14" fmla="*/ 42833 w 59676"/>
                <a:gd name="connsiteY14" fmla="*/ 16795 h 59560"/>
                <a:gd name="connsiteX15" fmla="*/ 36057 w 59676"/>
                <a:gd name="connsiteY15" fmla="*/ 13199 h 595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59676" h="59560">
                  <a:moveTo>
                    <a:pt x="5749" y="59561"/>
                  </a:moveTo>
                  <a:cubicBezTo>
                    <a:pt x="4889" y="59561"/>
                    <a:pt x="4237" y="59456"/>
                    <a:pt x="3794" y="59274"/>
                  </a:cubicBezTo>
                  <a:cubicBezTo>
                    <a:pt x="2283" y="58622"/>
                    <a:pt x="1058" y="57397"/>
                    <a:pt x="406" y="55886"/>
                  </a:cubicBezTo>
                  <a:cubicBezTo>
                    <a:pt x="-2617" y="49058"/>
                    <a:pt x="11795" y="12886"/>
                    <a:pt x="24669" y="3869"/>
                  </a:cubicBezTo>
                  <a:cubicBezTo>
                    <a:pt x="29724" y="325"/>
                    <a:pt x="39862" y="-3897"/>
                    <a:pt x="51511" y="6918"/>
                  </a:cubicBezTo>
                  <a:cubicBezTo>
                    <a:pt x="51772" y="7127"/>
                    <a:pt x="52006" y="7335"/>
                    <a:pt x="52215" y="7570"/>
                  </a:cubicBezTo>
                  <a:cubicBezTo>
                    <a:pt x="52475" y="7804"/>
                    <a:pt x="52710" y="8065"/>
                    <a:pt x="52945" y="8352"/>
                  </a:cubicBezTo>
                  <a:cubicBezTo>
                    <a:pt x="63525" y="19896"/>
                    <a:pt x="59329" y="29956"/>
                    <a:pt x="55811" y="34959"/>
                  </a:cubicBezTo>
                  <a:cubicBezTo>
                    <a:pt x="46560" y="48250"/>
                    <a:pt x="15053" y="59561"/>
                    <a:pt x="5749" y="59561"/>
                  </a:cubicBezTo>
                  <a:close/>
                  <a:moveTo>
                    <a:pt x="36057" y="13199"/>
                  </a:moveTo>
                  <a:cubicBezTo>
                    <a:pt x="35354" y="13199"/>
                    <a:pt x="34859" y="13355"/>
                    <a:pt x="34572" y="13433"/>
                  </a:cubicBezTo>
                  <a:cubicBezTo>
                    <a:pt x="27223" y="15753"/>
                    <a:pt x="19952" y="31650"/>
                    <a:pt x="15886" y="43794"/>
                  </a:cubicBezTo>
                  <a:cubicBezTo>
                    <a:pt x="28031" y="39702"/>
                    <a:pt x="43928" y="32458"/>
                    <a:pt x="46247" y="25108"/>
                  </a:cubicBezTo>
                  <a:cubicBezTo>
                    <a:pt x="46534" y="24222"/>
                    <a:pt x="47368" y="21564"/>
                    <a:pt x="42859" y="16847"/>
                  </a:cubicBezTo>
                  <a:cubicBezTo>
                    <a:pt x="42859" y="16821"/>
                    <a:pt x="42833" y="16821"/>
                    <a:pt x="42833" y="16795"/>
                  </a:cubicBezTo>
                  <a:cubicBezTo>
                    <a:pt x="39680" y="13824"/>
                    <a:pt x="37465" y="13199"/>
                    <a:pt x="36057" y="13199"/>
                  </a:cubicBezTo>
                  <a:close/>
                </a:path>
              </a:pathLst>
            </a:custGeom>
            <a:grpFill/>
            <a:ln w="26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580" name="Freihandform: Form 345">
              <a:extLst>
                <a:ext uri="{FF2B5EF4-FFF2-40B4-BE49-F238E27FC236}">
                  <a16:creationId xmlns:a16="http://schemas.microsoft.com/office/drawing/2014/main" id="{A9A4D27C-3CBC-A6F2-FFF8-4F41813B2B46}"/>
                </a:ext>
              </a:extLst>
            </p:cNvPr>
            <p:cNvSpPr/>
            <p:nvPr/>
          </p:nvSpPr>
          <p:spPr>
            <a:xfrm>
              <a:off x="3474856" y="2514824"/>
              <a:ext cx="181888" cy="181954"/>
            </a:xfrm>
            <a:custGeom>
              <a:avLst/>
              <a:gdLst>
                <a:gd name="connsiteX0" fmla="*/ 49698 w 181888"/>
                <a:gd name="connsiteY0" fmla="*/ 181955 h 181954"/>
                <a:gd name="connsiteX1" fmla="*/ 46231 w 181888"/>
                <a:gd name="connsiteY1" fmla="*/ 180965 h 181954"/>
                <a:gd name="connsiteX2" fmla="*/ 0 w 181888"/>
                <a:gd name="connsiteY2" fmla="*/ 97831 h 181954"/>
                <a:gd name="connsiteX3" fmla="*/ 97832 w 181888"/>
                <a:gd name="connsiteY3" fmla="*/ 0 h 181954"/>
                <a:gd name="connsiteX4" fmla="*/ 180887 w 181888"/>
                <a:gd name="connsiteY4" fmla="*/ 46101 h 181954"/>
                <a:gd name="connsiteX5" fmla="*/ 178776 w 181888"/>
                <a:gd name="connsiteY5" fmla="*/ 55170 h 181954"/>
                <a:gd name="connsiteX6" fmla="*/ 169706 w 181888"/>
                <a:gd name="connsiteY6" fmla="*/ 53059 h 181954"/>
                <a:gd name="connsiteX7" fmla="*/ 97805 w 181888"/>
                <a:gd name="connsiteY7" fmla="*/ 13161 h 181954"/>
                <a:gd name="connsiteX8" fmla="*/ 13109 w 181888"/>
                <a:gd name="connsiteY8" fmla="*/ 97858 h 181954"/>
                <a:gd name="connsiteX9" fmla="*/ 53138 w 181888"/>
                <a:gd name="connsiteY9" fmla="*/ 169811 h 181954"/>
                <a:gd name="connsiteX10" fmla="*/ 55249 w 181888"/>
                <a:gd name="connsiteY10" fmla="*/ 178880 h 181954"/>
                <a:gd name="connsiteX11" fmla="*/ 49698 w 181888"/>
                <a:gd name="connsiteY11" fmla="*/ 181955 h 1819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81888" h="181954">
                  <a:moveTo>
                    <a:pt x="49698" y="181955"/>
                  </a:moveTo>
                  <a:cubicBezTo>
                    <a:pt x="48499" y="181955"/>
                    <a:pt x="47300" y="181642"/>
                    <a:pt x="46231" y="180965"/>
                  </a:cubicBezTo>
                  <a:cubicBezTo>
                    <a:pt x="17278" y="162957"/>
                    <a:pt x="0" y="131867"/>
                    <a:pt x="0" y="97831"/>
                  </a:cubicBezTo>
                  <a:cubicBezTo>
                    <a:pt x="0" y="43886"/>
                    <a:pt x="43886" y="0"/>
                    <a:pt x="97832" y="0"/>
                  </a:cubicBezTo>
                  <a:cubicBezTo>
                    <a:pt x="131815" y="0"/>
                    <a:pt x="162879" y="17226"/>
                    <a:pt x="180887" y="46101"/>
                  </a:cubicBezTo>
                  <a:cubicBezTo>
                    <a:pt x="182815" y="49176"/>
                    <a:pt x="181877" y="53242"/>
                    <a:pt x="178776" y="55170"/>
                  </a:cubicBezTo>
                  <a:cubicBezTo>
                    <a:pt x="175701" y="57099"/>
                    <a:pt x="171635" y="56161"/>
                    <a:pt x="169706" y="53059"/>
                  </a:cubicBezTo>
                  <a:cubicBezTo>
                    <a:pt x="154096" y="28067"/>
                    <a:pt x="127228" y="13161"/>
                    <a:pt x="97805" y="13161"/>
                  </a:cubicBezTo>
                  <a:cubicBezTo>
                    <a:pt x="51105" y="13161"/>
                    <a:pt x="13109" y="51157"/>
                    <a:pt x="13109" y="97858"/>
                  </a:cubicBezTo>
                  <a:cubicBezTo>
                    <a:pt x="13109" y="127332"/>
                    <a:pt x="28067" y="154227"/>
                    <a:pt x="53138" y="169811"/>
                  </a:cubicBezTo>
                  <a:cubicBezTo>
                    <a:pt x="56213" y="171739"/>
                    <a:pt x="57177" y="175779"/>
                    <a:pt x="55249" y="178880"/>
                  </a:cubicBezTo>
                  <a:cubicBezTo>
                    <a:pt x="54050" y="180860"/>
                    <a:pt x="51887" y="181955"/>
                    <a:pt x="49698" y="181955"/>
                  </a:cubicBezTo>
                  <a:close/>
                </a:path>
              </a:pathLst>
            </a:custGeom>
            <a:grpFill/>
            <a:ln w="26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grpSp>
          <p:nvGrpSpPr>
            <p:cNvPr id="581" name="Grafik 234">
              <a:extLst>
                <a:ext uri="{FF2B5EF4-FFF2-40B4-BE49-F238E27FC236}">
                  <a16:creationId xmlns:a16="http://schemas.microsoft.com/office/drawing/2014/main" id="{997AA8DB-08F4-B8C5-3103-7C34BC8262AF}"/>
                </a:ext>
              </a:extLst>
            </p:cNvPr>
            <p:cNvGrpSpPr/>
            <p:nvPr/>
          </p:nvGrpSpPr>
          <p:grpSpPr>
            <a:xfrm>
              <a:off x="3653234" y="2626102"/>
              <a:ext cx="73373" cy="230844"/>
              <a:chOff x="3653234" y="2626102"/>
              <a:chExt cx="73373" cy="230844"/>
            </a:xfrm>
            <a:grpFill/>
          </p:grpSpPr>
          <p:sp>
            <p:nvSpPr>
              <p:cNvPr id="604" name="Freihandform: Form 349">
                <a:extLst>
                  <a:ext uri="{FF2B5EF4-FFF2-40B4-BE49-F238E27FC236}">
                    <a16:creationId xmlns:a16="http://schemas.microsoft.com/office/drawing/2014/main" id="{26100727-2468-4785-64F4-681070B5967F}"/>
                  </a:ext>
                </a:extLst>
              </p:cNvPr>
              <p:cNvSpPr/>
              <p:nvPr/>
            </p:nvSpPr>
            <p:spPr>
              <a:xfrm>
                <a:off x="3683497" y="2626102"/>
                <a:ext cx="13134" cy="230844"/>
              </a:xfrm>
              <a:custGeom>
                <a:avLst/>
                <a:gdLst>
                  <a:gd name="connsiteX0" fmla="*/ 6567 w 13134"/>
                  <a:gd name="connsiteY0" fmla="*/ 230845 h 230844"/>
                  <a:gd name="connsiteX1" fmla="*/ 0 w 13134"/>
                  <a:gd name="connsiteY1" fmla="*/ 224277 h 230844"/>
                  <a:gd name="connsiteX2" fmla="*/ 0 w 13134"/>
                  <a:gd name="connsiteY2" fmla="*/ 6567 h 230844"/>
                  <a:gd name="connsiteX3" fmla="*/ 6567 w 13134"/>
                  <a:gd name="connsiteY3" fmla="*/ 0 h 230844"/>
                  <a:gd name="connsiteX4" fmla="*/ 13135 w 13134"/>
                  <a:gd name="connsiteY4" fmla="*/ 6567 h 230844"/>
                  <a:gd name="connsiteX5" fmla="*/ 13135 w 13134"/>
                  <a:gd name="connsiteY5" fmla="*/ 224277 h 230844"/>
                  <a:gd name="connsiteX6" fmla="*/ 6567 w 13134"/>
                  <a:gd name="connsiteY6" fmla="*/ 230845 h 230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3134" h="230844">
                    <a:moveTo>
                      <a:pt x="6567" y="230845"/>
                    </a:moveTo>
                    <a:cubicBezTo>
                      <a:pt x="2919" y="230845"/>
                      <a:pt x="0" y="227900"/>
                      <a:pt x="0" y="224277"/>
                    </a:cubicBezTo>
                    <a:lnTo>
                      <a:pt x="0" y="6567"/>
                    </a:lnTo>
                    <a:cubicBezTo>
                      <a:pt x="0" y="2945"/>
                      <a:pt x="2945" y="0"/>
                      <a:pt x="6567" y="0"/>
                    </a:cubicBezTo>
                    <a:cubicBezTo>
                      <a:pt x="10216" y="0"/>
                      <a:pt x="13135" y="2945"/>
                      <a:pt x="13135" y="6567"/>
                    </a:cubicBezTo>
                    <a:lnTo>
                      <a:pt x="13135" y="224277"/>
                    </a:lnTo>
                    <a:cubicBezTo>
                      <a:pt x="13161" y="227900"/>
                      <a:pt x="10216" y="230845"/>
                      <a:pt x="6567" y="230845"/>
                    </a:cubicBezTo>
                    <a:close/>
                  </a:path>
                </a:pathLst>
              </a:custGeom>
              <a:grpFill/>
              <a:ln w="26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grpSp>
            <p:nvGrpSpPr>
              <p:cNvPr id="605" name="Grafik 234">
                <a:extLst>
                  <a:ext uri="{FF2B5EF4-FFF2-40B4-BE49-F238E27FC236}">
                    <a16:creationId xmlns:a16="http://schemas.microsoft.com/office/drawing/2014/main" id="{3508F92F-D03F-959C-855F-9FDDEB7C0FF6}"/>
                  </a:ext>
                </a:extLst>
              </p:cNvPr>
              <p:cNvGrpSpPr/>
              <p:nvPr/>
            </p:nvGrpSpPr>
            <p:grpSpPr>
              <a:xfrm>
                <a:off x="3653234" y="2801744"/>
                <a:ext cx="73373" cy="43110"/>
                <a:chOff x="3653234" y="2801744"/>
                <a:chExt cx="73373" cy="43110"/>
              </a:xfrm>
              <a:grpFill/>
            </p:grpSpPr>
            <p:sp>
              <p:nvSpPr>
                <p:cNvPr id="609" name="Freihandform: Form 351">
                  <a:extLst>
                    <a:ext uri="{FF2B5EF4-FFF2-40B4-BE49-F238E27FC236}">
                      <a16:creationId xmlns:a16="http://schemas.microsoft.com/office/drawing/2014/main" id="{DEC87817-5181-6FB9-A7A7-6909A9B5929E}"/>
                    </a:ext>
                  </a:extLst>
                </p:cNvPr>
                <p:cNvSpPr/>
                <p:nvPr/>
              </p:nvSpPr>
              <p:spPr>
                <a:xfrm>
                  <a:off x="3683491" y="2801744"/>
                  <a:ext cx="43117" cy="43110"/>
                </a:xfrm>
                <a:custGeom>
                  <a:avLst/>
                  <a:gdLst>
                    <a:gd name="connsiteX0" fmla="*/ 36517 w 43117"/>
                    <a:gd name="connsiteY0" fmla="*/ 43111 h 43110"/>
                    <a:gd name="connsiteX1" fmla="*/ 31879 w 43117"/>
                    <a:gd name="connsiteY1" fmla="*/ 41182 h 43110"/>
                    <a:gd name="connsiteX2" fmla="*/ 1935 w 43117"/>
                    <a:gd name="connsiteY2" fmla="*/ 11239 h 43110"/>
                    <a:gd name="connsiteX3" fmla="*/ 1935 w 43117"/>
                    <a:gd name="connsiteY3" fmla="*/ 1935 h 43110"/>
                    <a:gd name="connsiteX4" fmla="*/ 11238 w 43117"/>
                    <a:gd name="connsiteY4" fmla="*/ 1935 h 43110"/>
                    <a:gd name="connsiteX5" fmla="*/ 41182 w 43117"/>
                    <a:gd name="connsiteY5" fmla="*/ 31879 h 43110"/>
                    <a:gd name="connsiteX6" fmla="*/ 41182 w 43117"/>
                    <a:gd name="connsiteY6" fmla="*/ 41182 h 43110"/>
                    <a:gd name="connsiteX7" fmla="*/ 36517 w 43117"/>
                    <a:gd name="connsiteY7" fmla="*/ 43111 h 4311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3117" h="43110">
                      <a:moveTo>
                        <a:pt x="36517" y="43111"/>
                      </a:moveTo>
                      <a:cubicBezTo>
                        <a:pt x="34823" y="43111"/>
                        <a:pt x="33155" y="42459"/>
                        <a:pt x="31879" y="41182"/>
                      </a:cubicBezTo>
                      <a:lnTo>
                        <a:pt x="1935" y="11239"/>
                      </a:lnTo>
                      <a:cubicBezTo>
                        <a:pt x="-645" y="8659"/>
                        <a:pt x="-645" y="4515"/>
                        <a:pt x="1935" y="1935"/>
                      </a:cubicBezTo>
                      <a:cubicBezTo>
                        <a:pt x="4515" y="-645"/>
                        <a:pt x="8658" y="-645"/>
                        <a:pt x="11238" y="1935"/>
                      </a:cubicBezTo>
                      <a:lnTo>
                        <a:pt x="41182" y="31879"/>
                      </a:lnTo>
                      <a:cubicBezTo>
                        <a:pt x="43762" y="34459"/>
                        <a:pt x="43762" y="38602"/>
                        <a:pt x="41182" y="41182"/>
                      </a:cubicBezTo>
                      <a:cubicBezTo>
                        <a:pt x="39879" y="42459"/>
                        <a:pt x="38185" y="43111"/>
                        <a:pt x="36517" y="43111"/>
                      </a:cubicBezTo>
                      <a:close/>
                    </a:path>
                  </a:pathLst>
                </a:custGeom>
                <a:grpFill/>
                <a:ln w="2604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GB" dirty="0"/>
                </a:p>
              </p:txBody>
            </p:sp>
            <p:sp>
              <p:nvSpPr>
                <p:cNvPr id="610" name="Freihandform: Form 352">
                  <a:extLst>
                    <a:ext uri="{FF2B5EF4-FFF2-40B4-BE49-F238E27FC236}">
                      <a16:creationId xmlns:a16="http://schemas.microsoft.com/office/drawing/2014/main" id="{22755174-7D04-68C4-DBF5-D17A218FD9F5}"/>
                    </a:ext>
                  </a:extLst>
                </p:cNvPr>
                <p:cNvSpPr/>
                <p:nvPr/>
              </p:nvSpPr>
              <p:spPr>
                <a:xfrm>
                  <a:off x="3653234" y="2801744"/>
                  <a:ext cx="43117" cy="43110"/>
                </a:xfrm>
                <a:custGeom>
                  <a:avLst/>
                  <a:gdLst>
                    <a:gd name="connsiteX0" fmla="*/ 6600 w 43117"/>
                    <a:gd name="connsiteY0" fmla="*/ 43111 h 43110"/>
                    <a:gd name="connsiteX1" fmla="*/ 1935 w 43117"/>
                    <a:gd name="connsiteY1" fmla="*/ 41182 h 43110"/>
                    <a:gd name="connsiteX2" fmla="*/ 1935 w 43117"/>
                    <a:gd name="connsiteY2" fmla="*/ 31879 h 43110"/>
                    <a:gd name="connsiteX3" fmla="*/ 31879 w 43117"/>
                    <a:gd name="connsiteY3" fmla="*/ 1935 h 43110"/>
                    <a:gd name="connsiteX4" fmla="*/ 41182 w 43117"/>
                    <a:gd name="connsiteY4" fmla="*/ 1935 h 43110"/>
                    <a:gd name="connsiteX5" fmla="*/ 41182 w 43117"/>
                    <a:gd name="connsiteY5" fmla="*/ 11239 h 43110"/>
                    <a:gd name="connsiteX6" fmla="*/ 11238 w 43117"/>
                    <a:gd name="connsiteY6" fmla="*/ 41182 h 43110"/>
                    <a:gd name="connsiteX7" fmla="*/ 6600 w 43117"/>
                    <a:gd name="connsiteY7" fmla="*/ 43111 h 4311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3117" h="43110">
                      <a:moveTo>
                        <a:pt x="6600" y="43111"/>
                      </a:moveTo>
                      <a:cubicBezTo>
                        <a:pt x="4906" y="43111"/>
                        <a:pt x="3238" y="42459"/>
                        <a:pt x="1935" y="41182"/>
                      </a:cubicBezTo>
                      <a:cubicBezTo>
                        <a:pt x="-645" y="38602"/>
                        <a:pt x="-645" y="34459"/>
                        <a:pt x="1935" y="31879"/>
                      </a:cubicBezTo>
                      <a:lnTo>
                        <a:pt x="31879" y="1935"/>
                      </a:lnTo>
                      <a:cubicBezTo>
                        <a:pt x="34459" y="-645"/>
                        <a:pt x="38602" y="-645"/>
                        <a:pt x="41182" y="1935"/>
                      </a:cubicBezTo>
                      <a:cubicBezTo>
                        <a:pt x="43762" y="4515"/>
                        <a:pt x="43762" y="8659"/>
                        <a:pt x="41182" y="11239"/>
                      </a:cubicBezTo>
                      <a:lnTo>
                        <a:pt x="11238" y="41182"/>
                      </a:lnTo>
                      <a:cubicBezTo>
                        <a:pt x="9962" y="42459"/>
                        <a:pt x="8294" y="43111"/>
                        <a:pt x="6600" y="43111"/>
                      </a:cubicBezTo>
                      <a:close/>
                    </a:path>
                  </a:pathLst>
                </a:custGeom>
                <a:grpFill/>
                <a:ln w="2604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GB" dirty="0"/>
                </a:p>
              </p:txBody>
            </p:sp>
          </p:grpSp>
          <p:grpSp>
            <p:nvGrpSpPr>
              <p:cNvPr id="606" name="Grafik 234">
                <a:extLst>
                  <a:ext uri="{FF2B5EF4-FFF2-40B4-BE49-F238E27FC236}">
                    <a16:creationId xmlns:a16="http://schemas.microsoft.com/office/drawing/2014/main" id="{254C17FA-29B4-1D4E-0312-4E80BBA182C2}"/>
                  </a:ext>
                </a:extLst>
              </p:cNvPr>
              <p:cNvGrpSpPr/>
              <p:nvPr/>
            </p:nvGrpSpPr>
            <p:grpSpPr>
              <a:xfrm>
                <a:off x="3653234" y="2753662"/>
                <a:ext cx="73373" cy="43110"/>
                <a:chOff x="3653234" y="2753662"/>
                <a:chExt cx="73373" cy="43110"/>
              </a:xfrm>
              <a:grpFill/>
            </p:grpSpPr>
            <p:sp>
              <p:nvSpPr>
                <p:cNvPr id="607" name="Freihandform: Form 354">
                  <a:extLst>
                    <a:ext uri="{FF2B5EF4-FFF2-40B4-BE49-F238E27FC236}">
                      <a16:creationId xmlns:a16="http://schemas.microsoft.com/office/drawing/2014/main" id="{F318ACAB-F259-C4CB-FCB3-4DB55DF1E5C7}"/>
                    </a:ext>
                  </a:extLst>
                </p:cNvPr>
                <p:cNvSpPr/>
                <p:nvPr/>
              </p:nvSpPr>
              <p:spPr>
                <a:xfrm>
                  <a:off x="3683491" y="2753662"/>
                  <a:ext cx="43117" cy="43110"/>
                </a:xfrm>
                <a:custGeom>
                  <a:avLst/>
                  <a:gdLst>
                    <a:gd name="connsiteX0" fmla="*/ 36517 w 43117"/>
                    <a:gd name="connsiteY0" fmla="*/ 43111 h 43110"/>
                    <a:gd name="connsiteX1" fmla="*/ 31879 w 43117"/>
                    <a:gd name="connsiteY1" fmla="*/ 41182 h 43110"/>
                    <a:gd name="connsiteX2" fmla="*/ 1935 w 43117"/>
                    <a:gd name="connsiteY2" fmla="*/ 11239 h 43110"/>
                    <a:gd name="connsiteX3" fmla="*/ 1935 w 43117"/>
                    <a:gd name="connsiteY3" fmla="*/ 1935 h 43110"/>
                    <a:gd name="connsiteX4" fmla="*/ 11238 w 43117"/>
                    <a:gd name="connsiteY4" fmla="*/ 1935 h 43110"/>
                    <a:gd name="connsiteX5" fmla="*/ 41182 w 43117"/>
                    <a:gd name="connsiteY5" fmla="*/ 31879 h 43110"/>
                    <a:gd name="connsiteX6" fmla="*/ 41182 w 43117"/>
                    <a:gd name="connsiteY6" fmla="*/ 41182 h 43110"/>
                    <a:gd name="connsiteX7" fmla="*/ 36517 w 43117"/>
                    <a:gd name="connsiteY7" fmla="*/ 43111 h 4311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3117" h="43110">
                      <a:moveTo>
                        <a:pt x="36517" y="43111"/>
                      </a:moveTo>
                      <a:cubicBezTo>
                        <a:pt x="34823" y="43111"/>
                        <a:pt x="33155" y="42459"/>
                        <a:pt x="31879" y="41182"/>
                      </a:cubicBezTo>
                      <a:lnTo>
                        <a:pt x="1935" y="11239"/>
                      </a:lnTo>
                      <a:cubicBezTo>
                        <a:pt x="-645" y="8659"/>
                        <a:pt x="-645" y="4515"/>
                        <a:pt x="1935" y="1935"/>
                      </a:cubicBezTo>
                      <a:cubicBezTo>
                        <a:pt x="4515" y="-645"/>
                        <a:pt x="8658" y="-645"/>
                        <a:pt x="11238" y="1935"/>
                      </a:cubicBezTo>
                      <a:lnTo>
                        <a:pt x="41182" y="31879"/>
                      </a:lnTo>
                      <a:cubicBezTo>
                        <a:pt x="43762" y="34459"/>
                        <a:pt x="43762" y="38602"/>
                        <a:pt x="41182" y="41182"/>
                      </a:cubicBezTo>
                      <a:cubicBezTo>
                        <a:pt x="39879" y="42485"/>
                        <a:pt x="38185" y="43111"/>
                        <a:pt x="36517" y="43111"/>
                      </a:cubicBezTo>
                      <a:close/>
                    </a:path>
                  </a:pathLst>
                </a:custGeom>
                <a:grpFill/>
                <a:ln w="2604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GB" dirty="0"/>
                </a:p>
              </p:txBody>
            </p:sp>
            <p:sp>
              <p:nvSpPr>
                <p:cNvPr id="608" name="Freihandform: Form 355">
                  <a:extLst>
                    <a:ext uri="{FF2B5EF4-FFF2-40B4-BE49-F238E27FC236}">
                      <a16:creationId xmlns:a16="http://schemas.microsoft.com/office/drawing/2014/main" id="{F2A2978F-926B-0836-F588-B0DFDB99CFAE}"/>
                    </a:ext>
                  </a:extLst>
                </p:cNvPr>
                <p:cNvSpPr/>
                <p:nvPr/>
              </p:nvSpPr>
              <p:spPr>
                <a:xfrm>
                  <a:off x="3653234" y="2753662"/>
                  <a:ext cx="43117" cy="43110"/>
                </a:xfrm>
                <a:custGeom>
                  <a:avLst/>
                  <a:gdLst>
                    <a:gd name="connsiteX0" fmla="*/ 6600 w 43117"/>
                    <a:gd name="connsiteY0" fmla="*/ 43111 h 43110"/>
                    <a:gd name="connsiteX1" fmla="*/ 1935 w 43117"/>
                    <a:gd name="connsiteY1" fmla="*/ 41182 h 43110"/>
                    <a:gd name="connsiteX2" fmla="*/ 1935 w 43117"/>
                    <a:gd name="connsiteY2" fmla="*/ 31879 h 43110"/>
                    <a:gd name="connsiteX3" fmla="*/ 31879 w 43117"/>
                    <a:gd name="connsiteY3" fmla="*/ 1935 h 43110"/>
                    <a:gd name="connsiteX4" fmla="*/ 41182 w 43117"/>
                    <a:gd name="connsiteY4" fmla="*/ 1935 h 43110"/>
                    <a:gd name="connsiteX5" fmla="*/ 41182 w 43117"/>
                    <a:gd name="connsiteY5" fmla="*/ 11239 h 43110"/>
                    <a:gd name="connsiteX6" fmla="*/ 11238 w 43117"/>
                    <a:gd name="connsiteY6" fmla="*/ 41182 h 43110"/>
                    <a:gd name="connsiteX7" fmla="*/ 6600 w 43117"/>
                    <a:gd name="connsiteY7" fmla="*/ 43111 h 4311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3117" h="43110">
                      <a:moveTo>
                        <a:pt x="6600" y="43111"/>
                      </a:moveTo>
                      <a:cubicBezTo>
                        <a:pt x="4906" y="43111"/>
                        <a:pt x="3238" y="42459"/>
                        <a:pt x="1935" y="41182"/>
                      </a:cubicBezTo>
                      <a:cubicBezTo>
                        <a:pt x="-645" y="38602"/>
                        <a:pt x="-645" y="34459"/>
                        <a:pt x="1935" y="31879"/>
                      </a:cubicBezTo>
                      <a:lnTo>
                        <a:pt x="31879" y="1935"/>
                      </a:lnTo>
                      <a:cubicBezTo>
                        <a:pt x="34459" y="-645"/>
                        <a:pt x="38602" y="-645"/>
                        <a:pt x="41182" y="1935"/>
                      </a:cubicBezTo>
                      <a:cubicBezTo>
                        <a:pt x="43762" y="4515"/>
                        <a:pt x="43762" y="8659"/>
                        <a:pt x="41182" y="11239"/>
                      </a:cubicBezTo>
                      <a:lnTo>
                        <a:pt x="11238" y="41182"/>
                      </a:lnTo>
                      <a:cubicBezTo>
                        <a:pt x="9962" y="42485"/>
                        <a:pt x="8294" y="43111"/>
                        <a:pt x="6600" y="43111"/>
                      </a:cubicBezTo>
                      <a:close/>
                    </a:path>
                  </a:pathLst>
                </a:custGeom>
                <a:grpFill/>
                <a:ln w="2604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GB" dirty="0"/>
                </a:p>
              </p:txBody>
            </p:sp>
          </p:grpSp>
        </p:grpSp>
        <p:grpSp>
          <p:nvGrpSpPr>
            <p:cNvPr id="582" name="Grafik 234">
              <a:extLst>
                <a:ext uri="{FF2B5EF4-FFF2-40B4-BE49-F238E27FC236}">
                  <a16:creationId xmlns:a16="http://schemas.microsoft.com/office/drawing/2014/main" id="{07B74070-B361-AACC-21AC-6AA5E22DBA74}"/>
                </a:ext>
              </a:extLst>
            </p:cNvPr>
            <p:cNvGrpSpPr/>
            <p:nvPr/>
          </p:nvGrpSpPr>
          <p:grpSpPr>
            <a:xfrm>
              <a:off x="3654710" y="2649332"/>
              <a:ext cx="187074" cy="147727"/>
              <a:chOff x="3654710" y="2649332"/>
              <a:chExt cx="187074" cy="147727"/>
            </a:xfrm>
            <a:grpFill/>
          </p:grpSpPr>
          <p:sp>
            <p:nvSpPr>
              <p:cNvPr id="597" name="Freihandform: Form 357">
                <a:extLst>
                  <a:ext uri="{FF2B5EF4-FFF2-40B4-BE49-F238E27FC236}">
                    <a16:creationId xmlns:a16="http://schemas.microsoft.com/office/drawing/2014/main" id="{250F6991-C471-047A-8217-F67775DDDE9C}"/>
                  </a:ext>
                </a:extLst>
              </p:cNvPr>
              <p:cNvSpPr/>
              <p:nvPr/>
            </p:nvSpPr>
            <p:spPr>
              <a:xfrm>
                <a:off x="3654710" y="2649332"/>
                <a:ext cx="179824" cy="129876"/>
              </a:xfrm>
              <a:custGeom>
                <a:avLst/>
                <a:gdLst>
                  <a:gd name="connsiteX0" fmla="*/ 173215 w 179824"/>
                  <a:gd name="connsiteY0" fmla="*/ 129876 h 129876"/>
                  <a:gd name="connsiteX1" fmla="*/ 169462 w 179824"/>
                  <a:gd name="connsiteY1" fmla="*/ 128678 h 129876"/>
                  <a:gd name="connsiteX2" fmla="*/ 2805 w 179824"/>
                  <a:gd name="connsiteY2" fmla="*/ 11978 h 129876"/>
                  <a:gd name="connsiteX3" fmla="*/ 1189 w 179824"/>
                  <a:gd name="connsiteY3" fmla="*/ 2805 h 129876"/>
                  <a:gd name="connsiteX4" fmla="*/ 10362 w 179824"/>
                  <a:gd name="connsiteY4" fmla="*/ 1189 h 129876"/>
                  <a:gd name="connsiteX5" fmla="*/ 177020 w 179824"/>
                  <a:gd name="connsiteY5" fmla="*/ 117888 h 129876"/>
                  <a:gd name="connsiteX6" fmla="*/ 178636 w 179824"/>
                  <a:gd name="connsiteY6" fmla="*/ 127062 h 129876"/>
                  <a:gd name="connsiteX7" fmla="*/ 173215 w 179824"/>
                  <a:gd name="connsiteY7" fmla="*/ 129876 h 1298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79824" h="129876">
                    <a:moveTo>
                      <a:pt x="173215" y="129876"/>
                    </a:moveTo>
                    <a:cubicBezTo>
                      <a:pt x="171912" y="129876"/>
                      <a:pt x="170583" y="129485"/>
                      <a:pt x="169462" y="128678"/>
                    </a:cubicBezTo>
                    <a:lnTo>
                      <a:pt x="2805" y="11978"/>
                    </a:lnTo>
                    <a:cubicBezTo>
                      <a:pt x="-166" y="9893"/>
                      <a:pt x="-896" y="5802"/>
                      <a:pt x="1189" y="2805"/>
                    </a:cubicBezTo>
                    <a:cubicBezTo>
                      <a:pt x="3274" y="-166"/>
                      <a:pt x="7392" y="-896"/>
                      <a:pt x="10362" y="1189"/>
                    </a:cubicBezTo>
                    <a:lnTo>
                      <a:pt x="177020" y="117888"/>
                    </a:lnTo>
                    <a:cubicBezTo>
                      <a:pt x="179991" y="119973"/>
                      <a:pt x="180721" y="124065"/>
                      <a:pt x="178636" y="127062"/>
                    </a:cubicBezTo>
                    <a:cubicBezTo>
                      <a:pt x="177333" y="128912"/>
                      <a:pt x="175300" y="129876"/>
                      <a:pt x="173215" y="129876"/>
                    </a:cubicBezTo>
                    <a:close/>
                  </a:path>
                </a:pathLst>
              </a:custGeom>
              <a:grpFill/>
              <a:ln w="26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grpSp>
            <p:nvGrpSpPr>
              <p:cNvPr id="598" name="Grafik 234">
                <a:extLst>
                  <a:ext uri="{FF2B5EF4-FFF2-40B4-BE49-F238E27FC236}">
                    <a16:creationId xmlns:a16="http://schemas.microsoft.com/office/drawing/2014/main" id="{9BAAE2E5-0761-7C6E-22BB-B38DFD011700}"/>
                  </a:ext>
                </a:extLst>
              </p:cNvPr>
              <p:cNvGrpSpPr/>
              <p:nvPr/>
            </p:nvGrpSpPr>
            <p:grpSpPr>
              <a:xfrm>
                <a:off x="3786780" y="2734590"/>
                <a:ext cx="55005" cy="62469"/>
                <a:chOff x="3786780" y="2734590"/>
                <a:chExt cx="55005" cy="62469"/>
              </a:xfrm>
              <a:grpFill/>
            </p:grpSpPr>
            <p:sp>
              <p:nvSpPr>
                <p:cNvPr id="602" name="Freihandform: Form 359">
                  <a:extLst>
                    <a:ext uri="{FF2B5EF4-FFF2-40B4-BE49-F238E27FC236}">
                      <a16:creationId xmlns:a16="http://schemas.microsoft.com/office/drawing/2014/main" id="{BA3FFA8C-82D3-643C-7DC5-E0F1CDA265C3}"/>
                    </a:ext>
                  </a:extLst>
                </p:cNvPr>
                <p:cNvSpPr/>
                <p:nvPr/>
              </p:nvSpPr>
              <p:spPr>
                <a:xfrm>
                  <a:off x="3786936" y="2734590"/>
                  <a:ext cx="54848" cy="20512"/>
                </a:xfrm>
                <a:custGeom>
                  <a:avLst/>
                  <a:gdLst>
                    <a:gd name="connsiteX0" fmla="*/ 6563 w 54848"/>
                    <a:gd name="connsiteY0" fmla="*/ 20512 h 20512"/>
                    <a:gd name="connsiteX1" fmla="*/ 100 w 54848"/>
                    <a:gd name="connsiteY1" fmla="*/ 15066 h 20512"/>
                    <a:gd name="connsiteX2" fmla="*/ 5443 w 54848"/>
                    <a:gd name="connsiteY2" fmla="*/ 7456 h 20512"/>
                    <a:gd name="connsiteX3" fmla="*/ 47139 w 54848"/>
                    <a:gd name="connsiteY3" fmla="*/ 107 h 20512"/>
                    <a:gd name="connsiteX4" fmla="*/ 54749 w 54848"/>
                    <a:gd name="connsiteY4" fmla="*/ 5449 h 20512"/>
                    <a:gd name="connsiteX5" fmla="*/ 49407 w 54848"/>
                    <a:gd name="connsiteY5" fmla="*/ 13059 h 20512"/>
                    <a:gd name="connsiteX6" fmla="*/ 7710 w 54848"/>
                    <a:gd name="connsiteY6" fmla="*/ 20408 h 20512"/>
                    <a:gd name="connsiteX7" fmla="*/ 6563 w 54848"/>
                    <a:gd name="connsiteY7" fmla="*/ 20512 h 2051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54848" h="20512">
                      <a:moveTo>
                        <a:pt x="6563" y="20512"/>
                      </a:moveTo>
                      <a:cubicBezTo>
                        <a:pt x="3436" y="20512"/>
                        <a:pt x="647" y="18271"/>
                        <a:pt x="100" y="15066"/>
                      </a:cubicBezTo>
                      <a:cubicBezTo>
                        <a:pt x="-525" y="11495"/>
                        <a:pt x="1846" y="8081"/>
                        <a:pt x="5443" y="7456"/>
                      </a:cubicBezTo>
                      <a:lnTo>
                        <a:pt x="47139" y="107"/>
                      </a:lnTo>
                      <a:cubicBezTo>
                        <a:pt x="50710" y="-545"/>
                        <a:pt x="54124" y="1853"/>
                        <a:pt x="54749" y="5449"/>
                      </a:cubicBezTo>
                      <a:cubicBezTo>
                        <a:pt x="55374" y="9019"/>
                        <a:pt x="53003" y="12433"/>
                        <a:pt x="49407" y="13059"/>
                      </a:cubicBezTo>
                      <a:lnTo>
                        <a:pt x="7710" y="20408"/>
                      </a:lnTo>
                      <a:cubicBezTo>
                        <a:pt x="7345" y="20486"/>
                        <a:pt x="6954" y="20512"/>
                        <a:pt x="6563" y="20512"/>
                      </a:cubicBezTo>
                      <a:close/>
                    </a:path>
                  </a:pathLst>
                </a:custGeom>
                <a:grpFill/>
                <a:ln w="2604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GB" dirty="0"/>
                </a:p>
              </p:txBody>
            </p:sp>
            <p:sp>
              <p:nvSpPr>
                <p:cNvPr id="603" name="Freihandform: Form 360">
                  <a:extLst>
                    <a:ext uri="{FF2B5EF4-FFF2-40B4-BE49-F238E27FC236}">
                      <a16:creationId xmlns:a16="http://schemas.microsoft.com/office/drawing/2014/main" id="{9DBE1AC7-2E34-7B82-7F74-E37979383924}"/>
                    </a:ext>
                  </a:extLst>
                </p:cNvPr>
                <p:cNvSpPr/>
                <p:nvPr/>
              </p:nvSpPr>
              <p:spPr>
                <a:xfrm>
                  <a:off x="3786780" y="2742207"/>
                  <a:ext cx="20501" cy="54852"/>
                </a:xfrm>
                <a:custGeom>
                  <a:avLst/>
                  <a:gdLst>
                    <a:gd name="connsiteX0" fmla="*/ 13912 w 20501"/>
                    <a:gd name="connsiteY0" fmla="*/ 54852 h 54852"/>
                    <a:gd name="connsiteX1" fmla="*/ 7449 w 20501"/>
                    <a:gd name="connsiteY1" fmla="*/ 49406 h 54852"/>
                    <a:gd name="connsiteX2" fmla="*/ 100 w 20501"/>
                    <a:gd name="connsiteY2" fmla="*/ 7709 h 54852"/>
                    <a:gd name="connsiteX3" fmla="*/ 5442 w 20501"/>
                    <a:gd name="connsiteY3" fmla="*/ 99 h 54852"/>
                    <a:gd name="connsiteX4" fmla="*/ 13052 w 20501"/>
                    <a:gd name="connsiteY4" fmla="*/ 5442 h 54852"/>
                    <a:gd name="connsiteX5" fmla="*/ 20401 w 20501"/>
                    <a:gd name="connsiteY5" fmla="*/ 47139 h 54852"/>
                    <a:gd name="connsiteX6" fmla="*/ 15059 w 20501"/>
                    <a:gd name="connsiteY6" fmla="*/ 54748 h 54852"/>
                    <a:gd name="connsiteX7" fmla="*/ 13912 w 20501"/>
                    <a:gd name="connsiteY7" fmla="*/ 54852 h 5485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20501" h="54852">
                      <a:moveTo>
                        <a:pt x="13912" y="54852"/>
                      </a:moveTo>
                      <a:cubicBezTo>
                        <a:pt x="10785" y="54852"/>
                        <a:pt x="7996" y="52611"/>
                        <a:pt x="7449" y="49406"/>
                      </a:cubicBezTo>
                      <a:lnTo>
                        <a:pt x="100" y="7709"/>
                      </a:lnTo>
                      <a:cubicBezTo>
                        <a:pt x="-526" y="4139"/>
                        <a:pt x="1846" y="725"/>
                        <a:pt x="5442" y="99"/>
                      </a:cubicBezTo>
                      <a:cubicBezTo>
                        <a:pt x="9013" y="-526"/>
                        <a:pt x="12427" y="1871"/>
                        <a:pt x="13052" y="5442"/>
                      </a:cubicBezTo>
                      <a:lnTo>
                        <a:pt x="20401" y="47139"/>
                      </a:lnTo>
                      <a:cubicBezTo>
                        <a:pt x="21026" y="50709"/>
                        <a:pt x="18655" y="54123"/>
                        <a:pt x="15059" y="54748"/>
                      </a:cubicBezTo>
                      <a:cubicBezTo>
                        <a:pt x="14668" y="54800"/>
                        <a:pt x="14277" y="54852"/>
                        <a:pt x="13912" y="54852"/>
                      </a:cubicBezTo>
                      <a:close/>
                    </a:path>
                  </a:pathLst>
                </a:custGeom>
                <a:grpFill/>
                <a:ln w="2604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GB" dirty="0"/>
                </a:p>
              </p:txBody>
            </p:sp>
          </p:grpSp>
          <p:grpSp>
            <p:nvGrpSpPr>
              <p:cNvPr id="599" name="Grafik 234">
                <a:extLst>
                  <a:ext uri="{FF2B5EF4-FFF2-40B4-BE49-F238E27FC236}">
                    <a16:creationId xmlns:a16="http://schemas.microsoft.com/office/drawing/2014/main" id="{767A64B1-3F6D-5EAF-16B9-FFBD2B3101B6}"/>
                  </a:ext>
                </a:extLst>
              </p:cNvPr>
              <p:cNvGrpSpPr/>
              <p:nvPr/>
            </p:nvGrpSpPr>
            <p:grpSpPr>
              <a:xfrm>
                <a:off x="3747402" y="2707019"/>
                <a:ext cx="54979" cy="62468"/>
                <a:chOff x="3747402" y="2707019"/>
                <a:chExt cx="54979" cy="62468"/>
              </a:xfrm>
              <a:grpFill/>
            </p:grpSpPr>
            <p:sp>
              <p:nvSpPr>
                <p:cNvPr id="600" name="Freihandform: Form 362">
                  <a:extLst>
                    <a:ext uri="{FF2B5EF4-FFF2-40B4-BE49-F238E27FC236}">
                      <a16:creationId xmlns:a16="http://schemas.microsoft.com/office/drawing/2014/main" id="{EAD346C2-5B1F-CD6C-9005-916FEDDB00A5}"/>
                    </a:ext>
                  </a:extLst>
                </p:cNvPr>
                <p:cNvSpPr/>
                <p:nvPr/>
              </p:nvSpPr>
              <p:spPr>
                <a:xfrm>
                  <a:off x="3747558" y="2707019"/>
                  <a:ext cx="54822" cy="20511"/>
                </a:xfrm>
                <a:custGeom>
                  <a:avLst/>
                  <a:gdLst>
                    <a:gd name="connsiteX0" fmla="*/ 6563 w 54822"/>
                    <a:gd name="connsiteY0" fmla="*/ 20511 h 20511"/>
                    <a:gd name="connsiteX1" fmla="*/ 100 w 54822"/>
                    <a:gd name="connsiteY1" fmla="*/ 15065 h 20511"/>
                    <a:gd name="connsiteX2" fmla="*/ 5443 w 54822"/>
                    <a:gd name="connsiteY2" fmla="*/ 7455 h 20511"/>
                    <a:gd name="connsiteX3" fmla="*/ 47113 w 54822"/>
                    <a:gd name="connsiteY3" fmla="*/ 106 h 20511"/>
                    <a:gd name="connsiteX4" fmla="*/ 54723 w 54822"/>
                    <a:gd name="connsiteY4" fmla="*/ 5448 h 20511"/>
                    <a:gd name="connsiteX5" fmla="*/ 49381 w 54822"/>
                    <a:gd name="connsiteY5" fmla="*/ 13058 h 20511"/>
                    <a:gd name="connsiteX6" fmla="*/ 7710 w 54822"/>
                    <a:gd name="connsiteY6" fmla="*/ 20407 h 20511"/>
                    <a:gd name="connsiteX7" fmla="*/ 6563 w 54822"/>
                    <a:gd name="connsiteY7" fmla="*/ 20511 h 2051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54822" h="20511">
                      <a:moveTo>
                        <a:pt x="6563" y="20511"/>
                      </a:moveTo>
                      <a:cubicBezTo>
                        <a:pt x="3436" y="20511"/>
                        <a:pt x="647" y="18270"/>
                        <a:pt x="100" y="15065"/>
                      </a:cubicBezTo>
                      <a:cubicBezTo>
                        <a:pt x="-525" y="11494"/>
                        <a:pt x="1846" y="8080"/>
                        <a:pt x="5443" y="7455"/>
                      </a:cubicBezTo>
                      <a:lnTo>
                        <a:pt x="47113" y="106"/>
                      </a:lnTo>
                      <a:cubicBezTo>
                        <a:pt x="50658" y="-546"/>
                        <a:pt x="54097" y="1878"/>
                        <a:pt x="54723" y="5448"/>
                      </a:cubicBezTo>
                      <a:cubicBezTo>
                        <a:pt x="55348" y="9019"/>
                        <a:pt x="52977" y="12433"/>
                        <a:pt x="49381" y="13058"/>
                      </a:cubicBezTo>
                      <a:lnTo>
                        <a:pt x="7710" y="20407"/>
                      </a:lnTo>
                      <a:cubicBezTo>
                        <a:pt x="7345" y="20485"/>
                        <a:pt x="6954" y="20511"/>
                        <a:pt x="6563" y="20511"/>
                      </a:cubicBezTo>
                      <a:close/>
                    </a:path>
                  </a:pathLst>
                </a:custGeom>
                <a:grpFill/>
                <a:ln w="2604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GB" dirty="0"/>
                </a:p>
              </p:txBody>
            </p:sp>
            <p:sp>
              <p:nvSpPr>
                <p:cNvPr id="601" name="Freihandform: Form 363">
                  <a:extLst>
                    <a:ext uri="{FF2B5EF4-FFF2-40B4-BE49-F238E27FC236}">
                      <a16:creationId xmlns:a16="http://schemas.microsoft.com/office/drawing/2014/main" id="{E278A39A-C606-0E3B-6B9A-7EA4FCF274ED}"/>
                    </a:ext>
                  </a:extLst>
                </p:cNvPr>
                <p:cNvSpPr/>
                <p:nvPr/>
              </p:nvSpPr>
              <p:spPr>
                <a:xfrm>
                  <a:off x="3747402" y="2714635"/>
                  <a:ext cx="20501" cy="54852"/>
                </a:xfrm>
                <a:custGeom>
                  <a:avLst/>
                  <a:gdLst>
                    <a:gd name="connsiteX0" fmla="*/ 13912 w 20501"/>
                    <a:gd name="connsiteY0" fmla="*/ 54852 h 54852"/>
                    <a:gd name="connsiteX1" fmla="*/ 7449 w 20501"/>
                    <a:gd name="connsiteY1" fmla="*/ 49406 h 54852"/>
                    <a:gd name="connsiteX2" fmla="*/ 100 w 20501"/>
                    <a:gd name="connsiteY2" fmla="*/ 7709 h 54852"/>
                    <a:gd name="connsiteX3" fmla="*/ 5443 w 20501"/>
                    <a:gd name="connsiteY3" fmla="*/ 99 h 54852"/>
                    <a:gd name="connsiteX4" fmla="*/ 13052 w 20501"/>
                    <a:gd name="connsiteY4" fmla="*/ 5442 h 54852"/>
                    <a:gd name="connsiteX5" fmla="*/ 20401 w 20501"/>
                    <a:gd name="connsiteY5" fmla="*/ 47139 h 54852"/>
                    <a:gd name="connsiteX6" fmla="*/ 15059 w 20501"/>
                    <a:gd name="connsiteY6" fmla="*/ 54748 h 54852"/>
                    <a:gd name="connsiteX7" fmla="*/ 13912 w 20501"/>
                    <a:gd name="connsiteY7" fmla="*/ 54852 h 5485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20501" h="54852">
                      <a:moveTo>
                        <a:pt x="13912" y="54852"/>
                      </a:moveTo>
                      <a:cubicBezTo>
                        <a:pt x="10785" y="54852"/>
                        <a:pt x="7996" y="52611"/>
                        <a:pt x="7449" y="49406"/>
                      </a:cubicBezTo>
                      <a:lnTo>
                        <a:pt x="100" y="7709"/>
                      </a:lnTo>
                      <a:cubicBezTo>
                        <a:pt x="-525" y="4139"/>
                        <a:pt x="1846" y="725"/>
                        <a:pt x="5443" y="99"/>
                      </a:cubicBezTo>
                      <a:cubicBezTo>
                        <a:pt x="9013" y="-526"/>
                        <a:pt x="12427" y="1871"/>
                        <a:pt x="13052" y="5442"/>
                      </a:cubicBezTo>
                      <a:lnTo>
                        <a:pt x="20401" y="47139"/>
                      </a:lnTo>
                      <a:cubicBezTo>
                        <a:pt x="21027" y="50709"/>
                        <a:pt x="18655" y="54123"/>
                        <a:pt x="15059" y="54748"/>
                      </a:cubicBezTo>
                      <a:cubicBezTo>
                        <a:pt x="14668" y="54800"/>
                        <a:pt x="14277" y="54852"/>
                        <a:pt x="13912" y="54852"/>
                      </a:cubicBezTo>
                      <a:close/>
                    </a:path>
                  </a:pathLst>
                </a:custGeom>
                <a:grpFill/>
                <a:ln w="2604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GB" dirty="0"/>
                </a:p>
              </p:txBody>
            </p:sp>
          </p:grpSp>
        </p:grpSp>
        <p:grpSp>
          <p:nvGrpSpPr>
            <p:cNvPr id="583" name="Grafik 234">
              <a:extLst>
                <a:ext uri="{FF2B5EF4-FFF2-40B4-BE49-F238E27FC236}">
                  <a16:creationId xmlns:a16="http://schemas.microsoft.com/office/drawing/2014/main" id="{99DD7A63-D6D1-5637-C58A-8E082D300D49}"/>
                </a:ext>
              </a:extLst>
            </p:cNvPr>
            <p:cNvGrpSpPr/>
            <p:nvPr/>
          </p:nvGrpSpPr>
          <p:grpSpPr>
            <a:xfrm>
              <a:off x="3541320" y="2550115"/>
              <a:ext cx="307630" cy="249577"/>
              <a:chOff x="3541320" y="2550115"/>
              <a:chExt cx="307630" cy="249577"/>
            </a:xfrm>
            <a:grpFill/>
          </p:grpSpPr>
          <p:sp>
            <p:nvSpPr>
              <p:cNvPr id="584" name="Freihandform: Form 365">
                <a:extLst>
                  <a:ext uri="{FF2B5EF4-FFF2-40B4-BE49-F238E27FC236}">
                    <a16:creationId xmlns:a16="http://schemas.microsoft.com/office/drawing/2014/main" id="{A8ED748F-DB02-0C88-0107-8CFCC90CB75C}"/>
                  </a:ext>
                </a:extLst>
              </p:cNvPr>
              <p:cNvSpPr/>
              <p:nvPr/>
            </p:nvSpPr>
            <p:spPr>
              <a:xfrm>
                <a:off x="3541320" y="2567528"/>
                <a:ext cx="300459" cy="214338"/>
              </a:xfrm>
              <a:custGeom>
                <a:avLst/>
                <a:gdLst>
                  <a:gd name="connsiteX0" fmla="*/ 6584 w 300459"/>
                  <a:gd name="connsiteY0" fmla="*/ 214339 h 214338"/>
                  <a:gd name="connsiteX1" fmla="*/ 1189 w 300459"/>
                  <a:gd name="connsiteY1" fmla="*/ 211524 h 214338"/>
                  <a:gd name="connsiteX2" fmla="*/ 2805 w 300459"/>
                  <a:gd name="connsiteY2" fmla="*/ 202351 h 214338"/>
                  <a:gd name="connsiteX3" fmla="*/ 290097 w 300459"/>
                  <a:gd name="connsiteY3" fmla="*/ 1189 h 214338"/>
                  <a:gd name="connsiteX4" fmla="*/ 299270 w 300459"/>
                  <a:gd name="connsiteY4" fmla="*/ 2805 h 214338"/>
                  <a:gd name="connsiteX5" fmla="*/ 297654 w 300459"/>
                  <a:gd name="connsiteY5" fmla="*/ 11978 h 214338"/>
                  <a:gd name="connsiteX6" fmla="*/ 10363 w 300459"/>
                  <a:gd name="connsiteY6" fmla="*/ 213140 h 214338"/>
                  <a:gd name="connsiteX7" fmla="*/ 6584 w 300459"/>
                  <a:gd name="connsiteY7" fmla="*/ 214339 h 2143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00459" h="214338">
                    <a:moveTo>
                      <a:pt x="6584" y="214339"/>
                    </a:moveTo>
                    <a:cubicBezTo>
                      <a:pt x="4499" y="214339"/>
                      <a:pt x="2466" y="213374"/>
                      <a:pt x="1189" y="211524"/>
                    </a:cubicBezTo>
                    <a:cubicBezTo>
                      <a:pt x="-896" y="208553"/>
                      <a:pt x="-166" y="204436"/>
                      <a:pt x="2805" y="202351"/>
                    </a:cubicBezTo>
                    <a:lnTo>
                      <a:pt x="290097" y="1189"/>
                    </a:lnTo>
                    <a:cubicBezTo>
                      <a:pt x="293068" y="-896"/>
                      <a:pt x="297185" y="-166"/>
                      <a:pt x="299270" y="2805"/>
                    </a:cubicBezTo>
                    <a:cubicBezTo>
                      <a:pt x="301355" y="5776"/>
                      <a:pt x="300625" y="9893"/>
                      <a:pt x="297654" y="11978"/>
                    </a:cubicBezTo>
                    <a:lnTo>
                      <a:pt x="10363" y="213140"/>
                    </a:lnTo>
                    <a:cubicBezTo>
                      <a:pt x="9190" y="213948"/>
                      <a:pt x="7887" y="214339"/>
                      <a:pt x="6584" y="214339"/>
                    </a:cubicBezTo>
                    <a:close/>
                  </a:path>
                </a:pathLst>
              </a:custGeom>
              <a:grpFill/>
              <a:ln w="26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grpSp>
            <p:nvGrpSpPr>
              <p:cNvPr id="585" name="Grafik 234">
                <a:extLst>
                  <a:ext uri="{FF2B5EF4-FFF2-40B4-BE49-F238E27FC236}">
                    <a16:creationId xmlns:a16="http://schemas.microsoft.com/office/drawing/2014/main" id="{5CE794CF-C9EB-67FB-16FC-DD5EE6BC5C18}"/>
                  </a:ext>
                </a:extLst>
              </p:cNvPr>
              <p:cNvGrpSpPr/>
              <p:nvPr/>
            </p:nvGrpSpPr>
            <p:grpSpPr>
              <a:xfrm>
                <a:off x="3793947" y="2550115"/>
                <a:ext cx="55003" cy="62462"/>
                <a:chOff x="3793947" y="2550115"/>
                <a:chExt cx="55003" cy="62462"/>
              </a:xfrm>
              <a:grpFill/>
            </p:grpSpPr>
            <p:sp>
              <p:nvSpPr>
                <p:cNvPr id="595" name="Freihandform: Form 367">
                  <a:extLst>
                    <a:ext uri="{FF2B5EF4-FFF2-40B4-BE49-F238E27FC236}">
                      <a16:creationId xmlns:a16="http://schemas.microsoft.com/office/drawing/2014/main" id="{EA65B362-B89F-4EDE-DF97-A5BF060679F1}"/>
                    </a:ext>
                  </a:extLst>
                </p:cNvPr>
                <p:cNvSpPr/>
                <p:nvPr/>
              </p:nvSpPr>
              <p:spPr>
                <a:xfrm>
                  <a:off x="3794103" y="2592072"/>
                  <a:ext cx="54847" cy="20504"/>
                </a:xfrm>
                <a:custGeom>
                  <a:avLst/>
                  <a:gdLst>
                    <a:gd name="connsiteX0" fmla="*/ 48285 w 54847"/>
                    <a:gd name="connsiteY0" fmla="*/ 20505 h 20504"/>
                    <a:gd name="connsiteX1" fmla="*/ 47139 w 54847"/>
                    <a:gd name="connsiteY1" fmla="*/ 20400 h 20504"/>
                    <a:gd name="connsiteX2" fmla="*/ 5442 w 54847"/>
                    <a:gd name="connsiteY2" fmla="*/ 13051 h 20504"/>
                    <a:gd name="connsiteX3" fmla="*/ 99 w 54847"/>
                    <a:gd name="connsiteY3" fmla="*/ 5442 h 20504"/>
                    <a:gd name="connsiteX4" fmla="*/ 7709 w 54847"/>
                    <a:gd name="connsiteY4" fmla="*/ 99 h 20504"/>
                    <a:gd name="connsiteX5" fmla="*/ 49406 w 54847"/>
                    <a:gd name="connsiteY5" fmla="*/ 7448 h 20504"/>
                    <a:gd name="connsiteX6" fmla="*/ 54748 w 54847"/>
                    <a:gd name="connsiteY6" fmla="*/ 15058 h 20504"/>
                    <a:gd name="connsiteX7" fmla="*/ 48285 w 54847"/>
                    <a:gd name="connsiteY7" fmla="*/ 20505 h 2050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54847" h="20504">
                      <a:moveTo>
                        <a:pt x="48285" y="20505"/>
                      </a:moveTo>
                      <a:cubicBezTo>
                        <a:pt x="47894" y="20505"/>
                        <a:pt x="47529" y="20479"/>
                        <a:pt x="47139" y="20400"/>
                      </a:cubicBezTo>
                      <a:lnTo>
                        <a:pt x="5442" y="13051"/>
                      </a:lnTo>
                      <a:cubicBezTo>
                        <a:pt x="1871" y="12426"/>
                        <a:pt x="-526" y="9012"/>
                        <a:pt x="99" y="5442"/>
                      </a:cubicBezTo>
                      <a:cubicBezTo>
                        <a:pt x="725" y="1871"/>
                        <a:pt x="4139" y="-526"/>
                        <a:pt x="7709" y="99"/>
                      </a:cubicBezTo>
                      <a:lnTo>
                        <a:pt x="49406" y="7448"/>
                      </a:lnTo>
                      <a:cubicBezTo>
                        <a:pt x="52976" y="8074"/>
                        <a:pt x="55374" y="11488"/>
                        <a:pt x="54748" y="15058"/>
                      </a:cubicBezTo>
                      <a:cubicBezTo>
                        <a:pt x="54201" y="18263"/>
                        <a:pt x="51413" y="20505"/>
                        <a:pt x="48285" y="20505"/>
                      </a:cubicBezTo>
                      <a:close/>
                    </a:path>
                  </a:pathLst>
                </a:custGeom>
                <a:grpFill/>
                <a:ln w="2604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GB" dirty="0"/>
                </a:p>
              </p:txBody>
            </p:sp>
            <p:sp>
              <p:nvSpPr>
                <p:cNvPr id="596" name="Freihandform: Form 368">
                  <a:extLst>
                    <a:ext uri="{FF2B5EF4-FFF2-40B4-BE49-F238E27FC236}">
                      <a16:creationId xmlns:a16="http://schemas.microsoft.com/office/drawing/2014/main" id="{40160C26-F6AF-3D23-387D-F7678B541A13}"/>
                    </a:ext>
                  </a:extLst>
                </p:cNvPr>
                <p:cNvSpPr/>
                <p:nvPr/>
              </p:nvSpPr>
              <p:spPr>
                <a:xfrm>
                  <a:off x="3793947" y="2550115"/>
                  <a:ext cx="20499" cy="54852"/>
                </a:xfrm>
                <a:custGeom>
                  <a:avLst/>
                  <a:gdLst>
                    <a:gd name="connsiteX0" fmla="*/ 6588 w 20499"/>
                    <a:gd name="connsiteY0" fmla="*/ 54852 h 54852"/>
                    <a:gd name="connsiteX1" fmla="*/ 5442 w 20499"/>
                    <a:gd name="connsiteY1" fmla="*/ 54748 h 54852"/>
                    <a:gd name="connsiteX2" fmla="*/ 99 w 20499"/>
                    <a:gd name="connsiteY2" fmla="*/ 47139 h 54852"/>
                    <a:gd name="connsiteX3" fmla="*/ 7448 w 20499"/>
                    <a:gd name="connsiteY3" fmla="*/ 5442 h 54852"/>
                    <a:gd name="connsiteX4" fmla="*/ 15058 w 20499"/>
                    <a:gd name="connsiteY4" fmla="*/ 99 h 54852"/>
                    <a:gd name="connsiteX5" fmla="*/ 20400 w 20499"/>
                    <a:gd name="connsiteY5" fmla="*/ 7709 h 54852"/>
                    <a:gd name="connsiteX6" fmla="*/ 13051 w 20499"/>
                    <a:gd name="connsiteY6" fmla="*/ 49406 h 54852"/>
                    <a:gd name="connsiteX7" fmla="*/ 6588 w 20499"/>
                    <a:gd name="connsiteY7" fmla="*/ 54852 h 5485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20499" h="54852">
                      <a:moveTo>
                        <a:pt x="6588" y="54852"/>
                      </a:moveTo>
                      <a:cubicBezTo>
                        <a:pt x="6197" y="54852"/>
                        <a:pt x="5832" y="54826"/>
                        <a:pt x="5442" y="54748"/>
                      </a:cubicBezTo>
                      <a:cubicBezTo>
                        <a:pt x="1871" y="54123"/>
                        <a:pt x="-526" y="50709"/>
                        <a:pt x="99" y="47139"/>
                      </a:cubicBezTo>
                      <a:lnTo>
                        <a:pt x="7448" y="5442"/>
                      </a:lnTo>
                      <a:cubicBezTo>
                        <a:pt x="8074" y="1871"/>
                        <a:pt x="11488" y="-526"/>
                        <a:pt x="15058" y="99"/>
                      </a:cubicBezTo>
                      <a:cubicBezTo>
                        <a:pt x="18628" y="725"/>
                        <a:pt x="21026" y="4139"/>
                        <a:pt x="20400" y="7709"/>
                      </a:cubicBezTo>
                      <a:lnTo>
                        <a:pt x="13051" y="49406"/>
                      </a:lnTo>
                      <a:cubicBezTo>
                        <a:pt x="12504" y="52611"/>
                        <a:pt x="9715" y="54852"/>
                        <a:pt x="6588" y="54852"/>
                      </a:cubicBezTo>
                      <a:close/>
                    </a:path>
                  </a:pathLst>
                </a:custGeom>
                <a:grpFill/>
                <a:ln w="2604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GB" dirty="0"/>
                </a:p>
              </p:txBody>
            </p:sp>
          </p:grpSp>
          <p:grpSp>
            <p:nvGrpSpPr>
              <p:cNvPr id="586" name="Grafik 234">
                <a:extLst>
                  <a:ext uri="{FF2B5EF4-FFF2-40B4-BE49-F238E27FC236}">
                    <a16:creationId xmlns:a16="http://schemas.microsoft.com/office/drawing/2014/main" id="{8A8466CF-CAD4-88F1-B3D2-34106C70E7E7}"/>
                  </a:ext>
                </a:extLst>
              </p:cNvPr>
              <p:cNvGrpSpPr/>
              <p:nvPr/>
            </p:nvGrpSpPr>
            <p:grpSpPr>
              <a:xfrm>
                <a:off x="3754569" y="2577693"/>
                <a:ext cx="55003" cy="62455"/>
                <a:chOff x="3754569" y="2577693"/>
                <a:chExt cx="55003" cy="62455"/>
              </a:xfrm>
              <a:grpFill/>
            </p:grpSpPr>
            <p:sp>
              <p:nvSpPr>
                <p:cNvPr id="593" name="Freihandform: Form 370">
                  <a:extLst>
                    <a:ext uri="{FF2B5EF4-FFF2-40B4-BE49-F238E27FC236}">
                      <a16:creationId xmlns:a16="http://schemas.microsoft.com/office/drawing/2014/main" id="{9812F03D-31A2-8427-C43E-4D547E5100BB}"/>
                    </a:ext>
                  </a:extLst>
                </p:cNvPr>
                <p:cNvSpPr/>
                <p:nvPr/>
              </p:nvSpPr>
              <p:spPr>
                <a:xfrm>
                  <a:off x="3754726" y="2619644"/>
                  <a:ext cx="54847" cy="20504"/>
                </a:xfrm>
                <a:custGeom>
                  <a:avLst/>
                  <a:gdLst>
                    <a:gd name="connsiteX0" fmla="*/ 48285 w 54847"/>
                    <a:gd name="connsiteY0" fmla="*/ 20505 h 20504"/>
                    <a:gd name="connsiteX1" fmla="*/ 47139 w 54847"/>
                    <a:gd name="connsiteY1" fmla="*/ 20400 h 20504"/>
                    <a:gd name="connsiteX2" fmla="*/ 5442 w 54847"/>
                    <a:gd name="connsiteY2" fmla="*/ 13051 h 20504"/>
                    <a:gd name="connsiteX3" fmla="*/ 99 w 54847"/>
                    <a:gd name="connsiteY3" fmla="*/ 5442 h 20504"/>
                    <a:gd name="connsiteX4" fmla="*/ 7709 w 54847"/>
                    <a:gd name="connsiteY4" fmla="*/ 99 h 20504"/>
                    <a:gd name="connsiteX5" fmla="*/ 49406 w 54847"/>
                    <a:gd name="connsiteY5" fmla="*/ 7448 h 20504"/>
                    <a:gd name="connsiteX6" fmla="*/ 54748 w 54847"/>
                    <a:gd name="connsiteY6" fmla="*/ 15058 h 20504"/>
                    <a:gd name="connsiteX7" fmla="*/ 48285 w 54847"/>
                    <a:gd name="connsiteY7" fmla="*/ 20505 h 2050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54847" h="20504">
                      <a:moveTo>
                        <a:pt x="48285" y="20505"/>
                      </a:moveTo>
                      <a:cubicBezTo>
                        <a:pt x="47894" y="20505"/>
                        <a:pt x="47529" y="20479"/>
                        <a:pt x="47139" y="20400"/>
                      </a:cubicBezTo>
                      <a:lnTo>
                        <a:pt x="5442" y="13051"/>
                      </a:lnTo>
                      <a:cubicBezTo>
                        <a:pt x="1871" y="12426"/>
                        <a:pt x="-526" y="9012"/>
                        <a:pt x="99" y="5442"/>
                      </a:cubicBezTo>
                      <a:cubicBezTo>
                        <a:pt x="725" y="1871"/>
                        <a:pt x="4164" y="-526"/>
                        <a:pt x="7709" y="99"/>
                      </a:cubicBezTo>
                      <a:lnTo>
                        <a:pt x="49406" y="7448"/>
                      </a:lnTo>
                      <a:cubicBezTo>
                        <a:pt x="52976" y="8074"/>
                        <a:pt x="55374" y="11488"/>
                        <a:pt x="54748" y="15058"/>
                      </a:cubicBezTo>
                      <a:cubicBezTo>
                        <a:pt x="54201" y="18263"/>
                        <a:pt x="51412" y="20505"/>
                        <a:pt x="48285" y="20505"/>
                      </a:cubicBezTo>
                      <a:close/>
                    </a:path>
                  </a:pathLst>
                </a:custGeom>
                <a:grpFill/>
                <a:ln w="2604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GB" dirty="0"/>
                </a:p>
              </p:txBody>
            </p:sp>
            <p:sp>
              <p:nvSpPr>
                <p:cNvPr id="594" name="Freihandform: Form 371">
                  <a:extLst>
                    <a:ext uri="{FF2B5EF4-FFF2-40B4-BE49-F238E27FC236}">
                      <a16:creationId xmlns:a16="http://schemas.microsoft.com/office/drawing/2014/main" id="{5B7657E8-34A9-1F3D-1EC5-F64CA6973FA8}"/>
                    </a:ext>
                  </a:extLst>
                </p:cNvPr>
                <p:cNvSpPr/>
                <p:nvPr/>
              </p:nvSpPr>
              <p:spPr>
                <a:xfrm>
                  <a:off x="3754569" y="2577693"/>
                  <a:ext cx="20499" cy="54845"/>
                </a:xfrm>
                <a:custGeom>
                  <a:avLst/>
                  <a:gdLst>
                    <a:gd name="connsiteX0" fmla="*/ 6589 w 20499"/>
                    <a:gd name="connsiteY0" fmla="*/ 54846 h 54845"/>
                    <a:gd name="connsiteX1" fmla="*/ 5442 w 20499"/>
                    <a:gd name="connsiteY1" fmla="*/ 54742 h 54845"/>
                    <a:gd name="connsiteX2" fmla="*/ 99 w 20499"/>
                    <a:gd name="connsiteY2" fmla="*/ 47132 h 54845"/>
                    <a:gd name="connsiteX3" fmla="*/ 7448 w 20499"/>
                    <a:gd name="connsiteY3" fmla="*/ 5435 h 54845"/>
                    <a:gd name="connsiteX4" fmla="*/ 15058 w 20499"/>
                    <a:gd name="connsiteY4" fmla="*/ 93 h 54845"/>
                    <a:gd name="connsiteX5" fmla="*/ 20400 w 20499"/>
                    <a:gd name="connsiteY5" fmla="*/ 7702 h 54845"/>
                    <a:gd name="connsiteX6" fmla="*/ 13052 w 20499"/>
                    <a:gd name="connsiteY6" fmla="*/ 49399 h 54845"/>
                    <a:gd name="connsiteX7" fmla="*/ 6589 w 20499"/>
                    <a:gd name="connsiteY7" fmla="*/ 54846 h 5484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20499" h="54845">
                      <a:moveTo>
                        <a:pt x="6589" y="54846"/>
                      </a:moveTo>
                      <a:cubicBezTo>
                        <a:pt x="6198" y="54846"/>
                        <a:pt x="5833" y="54820"/>
                        <a:pt x="5442" y="54742"/>
                      </a:cubicBezTo>
                      <a:cubicBezTo>
                        <a:pt x="1871" y="54116"/>
                        <a:pt x="-526" y="50702"/>
                        <a:pt x="99" y="47132"/>
                      </a:cubicBezTo>
                      <a:lnTo>
                        <a:pt x="7448" y="5435"/>
                      </a:lnTo>
                      <a:cubicBezTo>
                        <a:pt x="8074" y="1865"/>
                        <a:pt x="11488" y="-507"/>
                        <a:pt x="15058" y="93"/>
                      </a:cubicBezTo>
                      <a:cubicBezTo>
                        <a:pt x="18629" y="718"/>
                        <a:pt x="21026" y="4132"/>
                        <a:pt x="20400" y="7702"/>
                      </a:cubicBezTo>
                      <a:lnTo>
                        <a:pt x="13052" y="49399"/>
                      </a:lnTo>
                      <a:cubicBezTo>
                        <a:pt x="12478" y="52605"/>
                        <a:pt x="9716" y="54846"/>
                        <a:pt x="6589" y="54846"/>
                      </a:cubicBezTo>
                      <a:close/>
                    </a:path>
                  </a:pathLst>
                </a:custGeom>
                <a:grpFill/>
                <a:ln w="2604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GB" dirty="0"/>
                </a:p>
              </p:txBody>
            </p:sp>
          </p:grpSp>
          <p:grpSp>
            <p:nvGrpSpPr>
              <p:cNvPr id="587" name="Grafik 234">
                <a:extLst>
                  <a:ext uri="{FF2B5EF4-FFF2-40B4-BE49-F238E27FC236}">
                    <a16:creationId xmlns:a16="http://schemas.microsoft.com/office/drawing/2014/main" id="{1C3E8840-DCA8-ECFF-80BE-1729E148C801}"/>
                  </a:ext>
                </a:extLst>
              </p:cNvPr>
              <p:cNvGrpSpPr/>
              <p:nvPr/>
            </p:nvGrpSpPr>
            <p:grpSpPr>
              <a:xfrm>
                <a:off x="3562555" y="2741972"/>
                <a:ext cx="26493" cy="57719"/>
                <a:chOff x="3562555" y="2741972"/>
                <a:chExt cx="26493" cy="57719"/>
              </a:xfrm>
              <a:grpFill/>
            </p:grpSpPr>
            <p:sp>
              <p:nvSpPr>
                <p:cNvPr id="591" name="Freihandform: Form 373">
                  <a:extLst>
                    <a:ext uri="{FF2B5EF4-FFF2-40B4-BE49-F238E27FC236}">
                      <a16:creationId xmlns:a16="http://schemas.microsoft.com/office/drawing/2014/main" id="{4CA00A63-C3EC-DFD3-8CE7-A67BF3DE3DEC}"/>
                    </a:ext>
                  </a:extLst>
                </p:cNvPr>
                <p:cNvSpPr/>
                <p:nvPr/>
              </p:nvSpPr>
              <p:spPr>
                <a:xfrm>
                  <a:off x="3562555" y="2741972"/>
                  <a:ext cx="26364" cy="15788"/>
                </a:xfrm>
                <a:custGeom>
                  <a:avLst/>
                  <a:gdLst>
                    <a:gd name="connsiteX0" fmla="*/ 19775 w 26364"/>
                    <a:gd name="connsiteY0" fmla="*/ 15788 h 15788"/>
                    <a:gd name="connsiteX1" fmla="*/ 18498 w 26364"/>
                    <a:gd name="connsiteY1" fmla="*/ 15658 h 15788"/>
                    <a:gd name="connsiteX2" fmla="*/ 5312 w 26364"/>
                    <a:gd name="connsiteY2" fmla="*/ 13052 h 15788"/>
                    <a:gd name="connsiteX3" fmla="*/ 126 w 26364"/>
                    <a:gd name="connsiteY3" fmla="*/ 5312 h 15788"/>
                    <a:gd name="connsiteX4" fmla="*/ 7866 w 26364"/>
                    <a:gd name="connsiteY4" fmla="*/ 126 h 15788"/>
                    <a:gd name="connsiteX5" fmla="*/ 21053 w 26364"/>
                    <a:gd name="connsiteY5" fmla="*/ 2732 h 15788"/>
                    <a:gd name="connsiteX6" fmla="*/ 26239 w 26364"/>
                    <a:gd name="connsiteY6" fmla="*/ 10472 h 15788"/>
                    <a:gd name="connsiteX7" fmla="*/ 19775 w 26364"/>
                    <a:gd name="connsiteY7" fmla="*/ 15788 h 1578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26364" h="15788">
                      <a:moveTo>
                        <a:pt x="19775" y="15788"/>
                      </a:moveTo>
                      <a:cubicBezTo>
                        <a:pt x="19359" y="15788"/>
                        <a:pt x="18915" y="15762"/>
                        <a:pt x="18498" y="15658"/>
                      </a:cubicBezTo>
                      <a:lnTo>
                        <a:pt x="5312" y="13052"/>
                      </a:lnTo>
                      <a:cubicBezTo>
                        <a:pt x="1742" y="12348"/>
                        <a:pt x="-578" y="8882"/>
                        <a:pt x="126" y="5312"/>
                      </a:cubicBezTo>
                      <a:cubicBezTo>
                        <a:pt x="829" y="1742"/>
                        <a:pt x="4295" y="-578"/>
                        <a:pt x="7866" y="126"/>
                      </a:cubicBezTo>
                      <a:lnTo>
                        <a:pt x="21053" y="2732"/>
                      </a:lnTo>
                      <a:cubicBezTo>
                        <a:pt x="24623" y="3435"/>
                        <a:pt x="26942" y="6901"/>
                        <a:pt x="26239" y="10472"/>
                      </a:cubicBezTo>
                      <a:cubicBezTo>
                        <a:pt x="25587" y="13625"/>
                        <a:pt x="22851" y="15788"/>
                        <a:pt x="19775" y="15788"/>
                      </a:cubicBezTo>
                      <a:close/>
                    </a:path>
                  </a:pathLst>
                </a:custGeom>
                <a:grpFill/>
                <a:ln w="2604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GB" dirty="0"/>
                </a:p>
              </p:txBody>
            </p:sp>
            <p:sp>
              <p:nvSpPr>
                <p:cNvPr id="592" name="Freihandform: Form 374">
                  <a:extLst>
                    <a:ext uri="{FF2B5EF4-FFF2-40B4-BE49-F238E27FC236}">
                      <a16:creationId xmlns:a16="http://schemas.microsoft.com/office/drawing/2014/main" id="{8FCBD903-ECEB-8E90-14F1-E821E9107B17}"/>
                    </a:ext>
                  </a:extLst>
                </p:cNvPr>
                <p:cNvSpPr/>
                <p:nvPr/>
              </p:nvSpPr>
              <p:spPr>
                <a:xfrm>
                  <a:off x="3568549" y="2744839"/>
                  <a:ext cx="20499" cy="54852"/>
                </a:xfrm>
                <a:custGeom>
                  <a:avLst/>
                  <a:gdLst>
                    <a:gd name="connsiteX0" fmla="*/ 6589 w 20499"/>
                    <a:gd name="connsiteY0" fmla="*/ 54852 h 54852"/>
                    <a:gd name="connsiteX1" fmla="*/ 5442 w 20499"/>
                    <a:gd name="connsiteY1" fmla="*/ 54748 h 54852"/>
                    <a:gd name="connsiteX2" fmla="*/ 99 w 20499"/>
                    <a:gd name="connsiteY2" fmla="*/ 47139 h 54852"/>
                    <a:gd name="connsiteX3" fmla="*/ 7448 w 20499"/>
                    <a:gd name="connsiteY3" fmla="*/ 5442 h 54852"/>
                    <a:gd name="connsiteX4" fmla="*/ 15058 w 20499"/>
                    <a:gd name="connsiteY4" fmla="*/ 99 h 54852"/>
                    <a:gd name="connsiteX5" fmla="*/ 20400 w 20499"/>
                    <a:gd name="connsiteY5" fmla="*/ 7709 h 54852"/>
                    <a:gd name="connsiteX6" fmla="*/ 13052 w 20499"/>
                    <a:gd name="connsiteY6" fmla="*/ 49406 h 54852"/>
                    <a:gd name="connsiteX7" fmla="*/ 6589 w 20499"/>
                    <a:gd name="connsiteY7" fmla="*/ 54852 h 5485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20499" h="54852">
                      <a:moveTo>
                        <a:pt x="6589" y="54852"/>
                      </a:moveTo>
                      <a:cubicBezTo>
                        <a:pt x="6198" y="54852"/>
                        <a:pt x="5833" y="54826"/>
                        <a:pt x="5442" y="54748"/>
                      </a:cubicBezTo>
                      <a:cubicBezTo>
                        <a:pt x="1871" y="54123"/>
                        <a:pt x="-526" y="50709"/>
                        <a:pt x="99" y="47139"/>
                      </a:cubicBezTo>
                      <a:lnTo>
                        <a:pt x="7448" y="5442"/>
                      </a:lnTo>
                      <a:cubicBezTo>
                        <a:pt x="8074" y="1871"/>
                        <a:pt x="11488" y="-526"/>
                        <a:pt x="15058" y="99"/>
                      </a:cubicBezTo>
                      <a:cubicBezTo>
                        <a:pt x="18629" y="725"/>
                        <a:pt x="21026" y="4139"/>
                        <a:pt x="20400" y="7709"/>
                      </a:cubicBezTo>
                      <a:lnTo>
                        <a:pt x="13052" y="49406"/>
                      </a:lnTo>
                      <a:cubicBezTo>
                        <a:pt x="12504" y="52611"/>
                        <a:pt x="9742" y="54852"/>
                        <a:pt x="6589" y="54852"/>
                      </a:cubicBezTo>
                      <a:close/>
                    </a:path>
                  </a:pathLst>
                </a:custGeom>
                <a:grpFill/>
                <a:ln w="2604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GB" dirty="0"/>
                </a:p>
              </p:txBody>
            </p:sp>
          </p:grpSp>
          <p:grpSp>
            <p:nvGrpSpPr>
              <p:cNvPr id="588" name="Grafik 234">
                <a:extLst>
                  <a:ext uri="{FF2B5EF4-FFF2-40B4-BE49-F238E27FC236}">
                    <a16:creationId xmlns:a16="http://schemas.microsoft.com/office/drawing/2014/main" id="{D08BD83B-B909-E973-3D5B-53BE29FEF599}"/>
                  </a:ext>
                </a:extLst>
              </p:cNvPr>
              <p:cNvGrpSpPr/>
              <p:nvPr/>
            </p:nvGrpSpPr>
            <p:grpSpPr>
              <a:xfrm>
                <a:off x="3592281" y="2712794"/>
                <a:ext cx="36145" cy="59325"/>
                <a:chOff x="3592281" y="2712794"/>
                <a:chExt cx="36145" cy="59325"/>
              </a:xfrm>
              <a:grpFill/>
            </p:grpSpPr>
            <p:sp>
              <p:nvSpPr>
                <p:cNvPr id="589" name="Freihandform: Form 376">
                  <a:extLst>
                    <a:ext uri="{FF2B5EF4-FFF2-40B4-BE49-F238E27FC236}">
                      <a16:creationId xmlns:a16="http://schemas.microsoft.com/office/drawing/2014/main" id="{4CE42DF8-1F8D-0553-2181-4E2DFFB421B8}"/>
                    </a:ext>
                  </a:extLst>
                </p:cNvPr>
                <p:cNvSpPr/>
                <p:nvPr/>
              </p:nvSpPr>
              <p:spPr>
                <a:xfrm>
                  <a:off x="3592281" y="2712794"/>
                  <a:ext cx="35998" cy="17393"/>
                </a:xfrm>
                <a:custGeom>
                  <a:avLst/>
                  <a:gdLst>
                    <a:gd name="connsiteX0" fmla="*/ 29427 w 35998"/>
                    <a:gd name="connsiteY0" fmla="*/ 17394 h 17393"/>
                    <a:gd name="connsiteX1" fmla="*/ 28202 w 35998"/>
                    <a:gd name="connsiteY1" fmla="*/ 17290 h 17393"/>
                    <a:gd name="connsiteX2" fmla="*/ 5373 w 35998"/>
                    <a:gd name="connsiteY2" fmla="*/ 13042 h 17393"/>
                    <a:gd name="connsiteX3" fmla="*/ 109 w 35998"/>
                    <a:gd name="connsiteY3" fmla="*/ 5380 h 17393"/>
                    <a:gd name="connsiteX4" fmla="*/ 7796 w 35998"/>
                    <a:gd name="connsiteY4" fmla="*/ 116 h 17393"/>
                    <a:gd name="connsiteX5" fmla="*/ 30625 w 35998"/>
                    <a:gd name="connsiteY5" fmla="*/ 4363 h 17393"/>
                    <a:gd name="connsiteX6" fmla="*/ 35890 w 35998"/>
                    <a:gd name="connsiteY6" fmla="*/ 12025 h 17393"/>
                    <a:gd name="connsiteX7" fmla="*/ 29427 w 35998"/>
                    <a:gd name="connsiteY7" fmla="*/ 17394 h 1739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5998" h="17393">
                      <a:moveTo>
                        <a:pt x="29427" y="17394"/>
                      </a:moveTo>
                      <a:cubicBezTo>
                        <a:pt x="29036" y="17394"/>
                        <a:pt x="28619" y="17368"/>
                        <a:pt x="28202" y="17290"/>
                      </a:cubicBezTo>
                      <a:lnTo>
                        <a:pt x="5373" y="13042"/>
                      </a:lnTo>
                      <a:cubicBezTo>
                        <a:pt x="1802" y="12364"/>
                        <a:pt x="-543" y="8950"/>
                        <a:pt x="109" y="5380"/>
                      </a:cubicBezTo>
                      <a:cubicBezTo>
                        <a:pt x="786" y="1810"/>
                        <a:pt x="4148" y="-562"/>
                        <a:pt x="7796" y="116"/>
                      </a:cubicBezTo>
                      <a:lnTo>
                        <a:pt x="30625" y="4363"/>
                      </a:lnTo>
                      <a:cubicBezTo>
                        <a:pt x="34196" y="5041"/>
                        <a:pt x="36541" y="8455"/>
                        <a:pt x="35890" y="12025"/>
                      </a:cubicBezTo>
                      <a:cubicBezTo>
                        <a:pt x="35290" y="15179"/>
                        <a:pt x="32528" y="17394"/>
                        <a:pt x="29427" y="17394"/>
                      </a:cubicBezTo>
                      <a:close/>
                    </a:path>
                  </a:pathLst>
                </a:custGeom>
                <a:grpFill/>
                <a:ln w="2604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GB" dirty="0"/>
                </a:p>
              </p:txBody>
            </p:sp>
            <p:sp>
              <p:nvSpPr>
                <p:cNvPr id="590" name="Freihandform: Form 377">
                  <a:extLst>
                    <a:ext uri="{FF2B5EF4-FFF2-40B4-BE49-F238E27FC236}">
                      <a16:creationId xmlns:a16="http://schemas.microsoft.com/office/drawing/2014/main" id="{81372119-FB85-B5D7-CB6F-23BB32370AF1}"/>
                    </a:ext>
                  </a:extLst>
                </p:cNvPr>
                <p:cNvSpPr/>
                <p:nvPr/>
              </p:nvSpPr>
              <p:spPr>
                <a:xfrm>
                  <a:off x="3607927" y="2717267"/>
                  <a:ext cx="20499" cy="54852"/>
                </a:xfrm>
                <a:custGeom>
                  <a:avLst/>
                  <a:gdLst>
                    <a:gd name="connsiteX0" fmla="*/ 6588 w 20499"/>
                    <a:gd name="connsiteY0" fmla="*/ 54852 h 54852"/>
                    <a:gd name="connsiteX1" fmla="*/ 5441 w 20499"/>
                    <a:gd name="connsiteY1" fmla="*/ 54748 h 54852"/>
                    <a:gd name="connsiteX2" fmla="*/ 99 w 20499"/>
                    <a:gd name="connsiteY2" fmla="*/ 47139 h 54852"/>
                    <a:gd name="connsiteX3" fmla="*/ 7448 w 20499"/>
                    <a:gd name="connsiteY3" fmla="*/ 5442 h 54852"/>
                    <a:gd name="connsiteX4" fmla="*/ 15058 w 20499"/>
                    <a:gd name="connsiteY4" fmla="*/ 99 h 54852"/>
                    <a:gd name="connsiteX5" fmla="*/ 20400 w 20499"/>
                    <a:gd name="connsiteY5" fmla="*/ 7709 h 54852"/>
                    <a:gd name="connsiteX6" fmla="*/ 13051 w 20499"/>
                    <a:gd name="connsiteY6" fmla="*/ 49406 h 54852"/>
                    <a:gd name="connsiteX7" fmla="*/ 6588 w 20499"/>
                    <a:gd name="connsiteY7" fmla="*/ 54852 h 5485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20499" h="54852">
                      <a:moveTo>
                        <a:pt x="6588" y="54852"/>
                      </a:moveTo>
                      <a:cubicBezTo>
                        <a:pt x="6197" y="54852"/>
                        <a:pt x="5832" y="54826"/>
                        <a:pt x="5441" y="54748"/>
                      </a:cubicBezTo>
                      <a:cubicBezTo>
                        <a:pt x="1871" y="54123"/>
                        <a:pt x="-526" y="50709"/>
                        <a:pt x="99" y="47139"/>
                      </a:cubicBezTo>
                      <a:lnTo>
                        <a:pt x="7448" y="5442"/>
                      </a:lnTo>
                      <a:cubicBezTo>
                        <a:pt x="8074" y="1871"/>
                        <a:pt x="11488" y="-526"/>
                        <a:pt x="15058" y="99"/>
                      </a:cubicBezTo>
                      <a:cubicBezTo>
                        <a:pt x="18628" y="725"/>
                        <a:pt x="21026" y="4139"/>
                        <a:pt x="20400" y="7709"/>
                      </a:cubicBezTo>
                      <a:lnTo>
                        <a:pt x="13051" y="49406"/>
                      </a:lnTo>
                      <a:cubicBezTo>
                        <a:pt x="12504" y="52611"/>
                        <a:pt x="9741" y="54852"/>
                        <a:pt x="6588" y="54852"/>
                      </a:cubicBezTo>
                      <a:close/>
                    </a:path>
                  </a:pathLst>
                </a:custGeom>
                <a:grpFill/>
                <a:ln w="2604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GB" dirty="0"/>
                </a:p>
              </p:txBody>
            </p:sp>
          </p:grpSp>
        </p:grpSp>
      </p:grpSp>
      <p:grpSp>
        <p:nvGrpSpPr>
          <p:cNvPr id="615" name="Grafik 90">
            <a:extLst>
              <a:ext uri="{FF2B5EF4-FFF2-40B4-BE49-F238E27FC236}">
                <a16:creationId xmlns:a16="http://schemas.microsoft.com/office/drawing/2014/main" id="{59278686-80BA-8112-6921-618E8B876A79}"/>
              </a:ext>
            </a:extLst>
          </p:cNvPr>
          <p:cNvGrpSpPr/>
          <p:nvPr/>
        </p:nvGrpSpPr>
        <p:grpSpPr>
          <a:xfrm>
            <a:off x="4489807" y="4549229"/>
            <a:ext cx="164389" cy="164337"/>
            <a:chOff x="2741533" y="1925758"/>
            <a:chExt cx="170874" cy="170820"/>
          </a:xfrm>
          <a:solidFill>
            <a:schemeClr val="bg2"/>
          </a:solidFill>
        </p:grpSpPr>
        <p:sp>
          <p:nvSpPr>
            <p:cNvPr id="621" name="Freihandform: Form 347">
              <a:extLst>
                <a:ext uri="{FF2B5EF4-FFF2-40B4-BE49-F238E27FC236}">
                  <a16:creationId xmlns:a16="http://schemas.microsoft.com/office/drawing/2014/main" id="{D30FDC8F-5F74-B547-88F5-63B4463E972E}"/>
                </a:ext>
              </a:extLst>
            </p:cNvPr>
            <p:cNvSpPr/>
            <p:nvPr/>
          </p:nvSpPr>
          <p:spPr>
            <a:xfrm>
              <a:off x="2741533" y="1925758"/>
              <a:ext cx="170874" cy="170820"/>
            </a:xfrm>
            <a:custGeom>
              <a:avLst/>
              <a:gdLst>
                <a:gd name="connsiteX0" fmla="*/ 66862 w 170874"/>
                <a:gd name="connsiteY0" fmla="*/ 170821 h 170820"/>
                <a:gd name="connsiteX1" fmla="*/ 39938 w 170874"/>
                <a:gd name="connsiteY1" fmla="*/ 160105 h 170820"/>
                <a:gd name="connsiteX2" fmla="*/ 48218 w 170874"/>
                <a:gd name="connsiteY2" fmla="*/ 139351 h 170820"/>
                <a:gd name="connsiteX3" fmla="*/ 31631 w 170874"/>
                <a:gd name="connsiteY3" fmla="*/ 122819 h 170820"/>
                <a:gd name="connsiteX4" fmla="*/ 10905 w 170874"/>
                <a:gd name="connsiteY4" fmla="*/ 131180 h 170820"/>
                <a:gd name="connsiteX5" fmla="*/ 27 w 170874"/>
                <a:gd name="connsiteY5" fmla="*/ 104284 h 170820"/>
                <a:gd name="connsiteX6" fmla="*/ 20781 w 170874"/>
                <a:gd name="connsiteY6" fmla="*/ 95923 h 170820"/>
                <a:gd name="connsiteX7" fmla="*/ 20727 w 170874"/>
                <a:gd name="connsiteY7" fmla="*/ 75169 h 170820"/>
                <a:gd name="connsiteX8" fmla="*/ 0 w 170874"/>
                <a:gd name="connsiteY8" fmla="*/ 66862 h 170820"/>
                <a:gd name="connsiteX9" fmla="*/ 10769 w 170874"/>
                <a:gd name="connsiteY9" fmla="*/ 39938 h 170820"/>
                <a:gd name="connsiteX10" fmla="*/ 31496 w 170874"/>
                <a:gd name="connsiteY10" fmla="*/ 48245 h 170820"/>
                <a:gd name="connsiteX11" fmla="*/ 45891 w 170874"/>
                <a:gd name="connsiteY11" fmla="*/ 33228 h 170820"/>
                <a:gd name="connsiteX12" fmla="*/ 36637 w 170874"/>
                <a:gd name="connsiteY12" fmla="*/ 12853 h 170820"/>
                <a:gd name="connsiteX13" fmla="*/ 63101 w 170874"/>
                <a:gd name="connsiteY13" fmla="*/ 920 h 170820"/>
                <a:gd name="connsiteX14" fmla="*/ 72327 w 170874"/>
                <a:gd name="connsiteY14" fmla="*/ 21268 h 170820"/>
                <a:gd name="connsiteX15" fmla="*/ 95733 w 170874"/>
                <a:gd name="connsiteY15" fmla="*/ 20727 h 170820"/>
                <a:gd name="connsiteX16" fmla="*/ 104040 w 170874"/>
                <a:gd name="connsiteY16" fmla="*/ 0 h 170820"/>
                <a:gd name="connsiteX17" fmla="*/ 130936 w 170874"/>
                <a:gd name="connsiteY17" fmla="*/ 10769 h 170820"/>
                <a:gd name="connsiteX18" fmla="*/ 122629 w 170874"/>
                <a:gd name="connsiteY18" fmla="*/ 31523 h 170820"/>
                <a:gd name="connsiteX19" fmla="*/ 139189 w 170874"/>
                <a:gd name="connsiteY19" fmla="*/ 48056 h 170820"/>
                <a:gd name="connsiteX20" fmla="*/ 159916 w 170874"/>
                <a:gd name="connsiteY20" fmla="*/ 39722 h 170820"/>
                <a:gd name="connsiteX21" fmla="*/ 170793 w 170874"/>
                <a:gd name="connsiteY21" fmla="*/ 66564 h 170820"/>
                <a:gd name="connsiteX22" fmla="*/ 150067 w 170874"/>
                <a:gd name="connsiteY22" fmla="*/ 74925 h 170820"/>
                <a:gd name="connsiteX23" fmla="*/ 150121 w 170874"/>
                <a:gd name="connsiteY23" fmla="*/ 95706 h 170820"/>
                <a:gd name="connsiteX24" fmla="*/ 170875 w 170874"/>
                <a:gd name="connsiteY24" fmla="*/ 104013 h 170820"/>
                <a:gd name="connsiteX25" fmla="*/ 160051 w 170874"/>
                <a:gd name="connsiteY25" fmla="*/ 130963 h 170820"/>
                <a:gd name="connsiteX26" fmla="*/ 139324 w 170874"/>
                <a:gd name="connsiteY26" fmla="*/ 122656 h 170820"/>
                <a:gd name="connsiteX27" fmla="*/ 124983 w 170874"/>
                <a:gd name="connsiteY27" fmla="*/ 137647 h 170820"/>
                <a:gd name="connsiteX28" fmla="*/ 134210 w 170874"/>
                <a:gd name="connsiteY28" fmla="*/ 158022 h 170820"/>
                <a:gd name="connsiteX29" fmla="*/ 107774 w 170874"/>
                <a:gd name="connsiteY29" fmla="*/ 169982 h 170820"/>
                <a:gd name="connsiteX30" fmla="*/ 98547 w 170874"/>
                <a:gd name="connsiteY30" fmla="*/ 149607 h 170820"/>
                <a:gd name="connsiteX31" fmla="*/ 75142 w 170874"/>
                <a:gd name="connsiteY31" fmla="*/ 150148 h 170820"/>
                <a:gd name="connsiteX32" fmla="*/ 66862 w 170874"/>
                <a:gd name="connsiteY32" fmla="*/ 170821 h 170820"/>
                <a:gd name="connsiteX33" fmla="*/ 52764 w 170874"/>
                <a:gd name="connsiteY33" fmla="*/ 154558 h 170820"/>
                <a:gd name="connsiteX34" fmla="*/ 61369 w 170874"/>
                <a:gd name="connsiteY34" fmla="*/ 157995 h 170820"/>
                <a:gd name="connsiteX35" fmla="*/ 69053 w 170874"/>
                <a:gd name="connsiteY35" fmla="*/ 138756 h 170820"/>
                <a:gd name="connsiteX36" fmla="*/ 73166 w 170874"/>
                <a:gd name="connsiteY36" fmla="*/ 139676 h 170820"/>
                <a:gd name="connsiteX37" fmla="*/ 100062 w 170874"/>
                <a:gd name="connsiteY37" fmla="*/ 139054 h 170820"/>
                <a:gd name="connsiteX38" fmla="*/ 104121 w 170874"/>
                <a:gd name="connsiteY38" fmla="*/ 137944 h 170820"/>
                <a:gd name="connsiteX39" fmla="*/ 112699 w 170874"/>
                <a:gd name="connsiteY39" fmla="*/ 156885 h 170820"/>
                <a:gd name="connsiteX40" fmla="*/ 121141 w 170874"/>
                <a:gd name="connsiteY40" fmla="*/ 153070 h 170820"/>
                <a:gd name="connsiteX41" fmla="*/ 112563 w 170874"/>
                <a:gd name="connsiteY41" fmla="*/ 134129 h 170820"/>
                <a:gd name="connsiteX42" fmla="*/ 116081 w 170874"/>
                <a:gd name="connsiteY42" fmla="*/ 131802 h 170820"/>
                <a:gd name="connsiteX43" fmla="*/ 133128 w 170874"/>
                <a:gd name="connsiteY43" fmla="*/ 113971 h 170820"/>
                <a:gd name="connsiteX44" fmla="*/ 135293 w 170874"/>
                <a:gd name="connsiteY44" fmla="*/ 110345 h 170820"/>
                <a:gd name="connsiteX45" fmla="*/ 154558 w 170874"/>
                <a:gd name="connsiteY45" fmla="*/ 118056 h 170820"/>
                <a:gd name="connsiteX46" fmla="*/ 158022 w 170874"/>
                <a:gd name="connsiteY46" fmla="*/ 109452 h 170820"/>
                <a:gd name="connsiteX47" fmla="*/ 138729 w 170874"/>
                <a:gd name="connsiteY47" fmla="*/ 101740 h 170820"/>
                <a:gd name="connsiteX48" fmla="*/ 139649 w 170874"/>
                <a:gd name="connsiteY48" fmla="*/ 97627 h 170820"/>
                <a:gd name="connsiteX49" fmla="*/ 139595 w 170874"/>
                <a:gd name="connsiteY49" fmla="*/ 72950 h 170820"/>
                <a:gd name="connsiteX50" fmla="*/ 138621 w 170874"/>
                <a:gd name="connsiteY50" fmla="*/ 68837 h 170820"/>
                <a:gd name="connsiteX51" fmla="*/ 157914 w 170874"/>
                <a:gd name="connsiteY51" fmla="*/ 61044 h 170820"/>
                <a:gd name="connsiteX52" fmla="*/ 154450 w 170874"/>
                <a:gd name="connsiteY52" fmla="*/ 52467 h 170820"/>
                <a:gd name="connsiteX53" fmla="*/ 135185 w 170874"/>
                <a:gd name="connsiteY53" fmla="*/ 60205 h 170820"/>
                <a:gd name="connsiteX54" fmla="*/ 133020 w 170874"/>
                <a:gd name="connsiteY54" fmla="*/ 56606 h 170820"/>
                <a:gd name="connsiteX55" fmla="*/ 113998 w 170874"/>
                <a:gd name="connsiteY55" fmla="*/ 37611 h 170820"/>
                <a:gd name="connsiteX56" fmla="*/ 110372 w 170874"/>
                <a:gd name="connsiteY56" fmla="*/ 35447 h 170820"/>
                <a:gd name="connsiteX57" fmla="*/ 118083 w 170874"/>
                <a:gd name="connsiteY57" fmla="*/ 16154 h 170820"/>
                <a:gd name="connsiteX58" fmla="*/ 109506 w 170874"/>
                <a:gd name="connsiteY58" fmla="*/ 12718 h 170820"/>
                <a:gd name="connsiteX59" fmla="*/ 101794 w 170874"/>
                <a:gd name="connsiteY59" fmla="*/ 31956 h 170820"/>
                <a:gd name="connsiteX60" fmla="*/ 97681 w 170874"/>
                <a:gd name="connsiteY60" fmla="*/ 31036 h 170820"/>
                <a:gd name="connsiteX61" fmla="*/ 70785 w 170874"/>
                <a:gd name="connsiteY61" fmla="*/ 31658 h 170820"/>
                <a:gd name="connsiteX62" fmla="*/ 66726 w 170874"/>
                <a:gd name="connsiteY62" fmla="*/ 32795 h 170820"/>
                <a:gd name="connsiteX63" fmla="*/ 58149 w 170874"/>
                <a:gd name="connsiteY63" fmla="*/ 13854 h 170820"/>
                <a:gd name="connsiteX64" fmla="*/ 49707 w 170874"/>
                <a:gd name="connsiteY64" fmla="*/ 17669 h 170820"/>
                <a:gd name="connsiteX65" fmla="*/ 58311 w 170874"/>
                <a:gd name="connsiteY65" fmla="*/ 36583 h 170820"/>
                <a:gd name="connsiteX66" fmla="*/ 54794 w 170874"/>
                <a:gd name="connsiteY66" fmla="*/ 38910 h 170820"/>
                <a:gd name="connsiteX67" fmla="*/ 37693 w 170874"/>
                <a:gd name="connsiteY67" fmla="*/ 56742 h 170820"/>
                <a:gd name="connsiteX68" fmla="*/ 35528 w 170874"/>
                <a:gd name="connsiteY68" fmla="*/ 60368 h 170820"/>
                <a:gd name="connsiteX69" fmla="*/ 16289 w 170874"/>
                <a:gd name="connsiteY69" fmla="*/ 52656 h 170820"/>
                <a:gd name="connsiteX70" fmla="*/ 12853 w 170874"/>
                <a:gd name="connsiteY70" fmla="*/ 61261 h 170820"/>
                <a:gd name="connsiteX71" fmla="*/ 32118 w 170874"/>
                <a:gd name="connsiteY71" fmla="*/ 68972 h 170820"/>
                <a:gd name="connsiteX72" fmla="*/ 31198 w 170874"/>
                <a:gd name="connsiteY72" fmla="*/ 73085 h 170820"/>
                <a:gd name="connsiteX73" fmla="*/ 31280 w 170874"/>
                <a:gd name="connsiteY73" fmla="*/ 97735 h 170820"/>
                <a:gd name="connsiteX74" fmla="*/ 32254 w 170874"/>
                <a:gd name="connsiteY74" fmla="*/ 101848 h 170820"/>
                <a:gd name="connsiteX75" fmla="*/ 12934 w 170874"/>
                <a:gd name="connsiteY75" fmla="*/ 109641 h 170820"/>
                <a:gd name="connsiteX76" fmla="*/ 16425 w 170874"/>
                <a:gd name="connsiteY76" fmla="*/ 118246 h 170820"/>
                <a:gd name="connsiteX77" fmla="*/ 35663 w 170874"/>
                <a:gd name="connsiteY77" fmla="*/ 110480 h 170820"/>
                <a:gd name="connsiteX78" fmla="*/ 37855 w 170874"/>
                <a:gd name="connsiteY78" fmla="*/ 114079 h 170820"/>
                <a:gd name="connsiteX79" fmla="*/ 56931 w 170874"/>
                <a:gd name="connsiteY79" fmla="*/ 133074 h 170820"/>
                <a:gd name="connsiteX80" fmla="*/ 60530 w 170874"/>
                <a:gd name="connsiteY80" fmla="*/ 135239 h 170820"/>
                <a:gd name="connsiteX81" fmla="*/ 52764 w 170874"/>
                <a:gd name="connsiteY81" fmla="*/ 154558 h 1708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</a:cxnLst>
              <a:rect l="l" t="t" r="r" b="b"/>
              <a:pathLst>
                <a:path w="170874" h="170820">
                  <a:moveTo>
                    <a:pt x="66862" y="170821"/>
                  </a:moveTo>
                  <a:lnTo>
                    <a:pt x="39938" y="160105"/>
                  </a:lnTo>
                  <a:lnTo>
                    <a:pt x="48218" y="139351"/>
                  </a:lnTo>
                  <a:cubicBezTo>
                    <a:pt x="41778" y="134914"/>
                    <a:pt x="36150" y="129286"/>
                    <a:pt x="31631" y="122819"/>
                  </a:cubicBezTo>
                  <a:lnTo>
                    <a:pt x="10905" y="131180"/>
                  </a:lnTo>
                  <a:lnTo>
                    <a:pt x="27" y="104284"/>
                  </a:lnTo>
                  <a:lnTo>
                    <a:pt x="20781" y="95923"/>
                  </a:lnTo>
                  <a:cubicBezTo>
                    <a:pt x="19645" y="89104"/>
                    <a:pt x="19645" y="82041"/>
                    <a:pt x="20727" y="75169"/>
                  </a:cubicBezTo>
                  <a:lnTo>
                    <a:pt x="0" y="66862"/>
                  </a:lnTo>
                  <a:lnTo>
                    <a:pt x="10769" y="39938"/>
                  </a:lnTo>
                  <a:lnTo>
                    <a:pt x="31496" y="48245"/>
                  </a:lnTo>
                  <a:cubicBezTo>
                    <a:pt x="35447" y="42482"/>
                    <a:pt x="40263" y="37449"/>
                    <a:pt x="45891" y="33228"/>
                  </a:cubicBezTo>
                  <a:lnTo>
                    <a:pt x="36637" y="12853"/>
                  </a:lnTo>
                  <a:lnTo>
                    <a:pt x="63101" y="920"/>
                  </a:lnTo>
                  <a:lnTo>
                    <a:pt x="72327" y="21268"/>
                  </a:lnTo>
                  <a:cubicBezTo>
                    <a:pt x="79985" y="19699"/>
                    <a:pt x="87967" y="19509"/>
                    <a:pt x="95733" y="20727"/>
                  </a:cubicBezTo>
                  <a:lnTo>
                    <a:pt x="104040" y="0"/>
                  </a:lnTo>
                  <a:lnTo>
                    <a:pt x="130936" y="10769"/>
                  </a:lnTo>
                  <a:lnTo>
                    <a:pt x="122629" y="31523"/>
                  </a:lnTo>
                  <a:cubicBezTo>
                    <a:pt x="129069" y="35961"/>
                    <a:pt x="134697" y="41589"/>
                    <a:pt x="139189" y="48056"/>
                  </a:cubicBezTo>
                  <a:lnTo>
                    <a:pt x="159916" y="39722"/>
                  </a:lnTo>
                  <a:lnTo>
                    <a:pt x="170793" y="66564"/>
                  </a:lnTo>
                  <a:lnTo>
                    <a:pt x="150067" y="74925"/>
                  </a:lnTo>
                  <a:cubicBezTo>
                    <a:pt x="151203" y="81771"/>
                    <a:pt x="151203" y="88806"/>
                    <a:pt x="150121" y="95706"/>
                  </a:cubicBezTo>
                  <a:lnTo>
                    <a:pt x="170875" y="104013"/>
                  </a:lnTo>
                  <a:lnTo>
                    <a:pt x="160051" y="130963"/>
                  </a:lnTo>
                  <a:lnTo>
                    <a:pt x="139324" y="122656"/>
                  </a:lnTo>
                  <a:cubicBezTo>
                    <a:pt x="135374" y="128366"/>
                    <a:pt x="130503" y="133480"/>
                    <a:pt x="124983" y="137647"/>
                  </a:cubicBezTo>
                  <a:lnTo>
                    <a:pt x="134210" y="158022"/>
                  </a:lnTo>
                  <a:lnTo>
                    <a:pt x="107774" y="169982"/>
                  </a:lnTo>
                  <a:lnTo>
                    <a:pt x="98547" y="149607"/>
                  </a:lnTo>
                  <a:cubicBezTo>
                    <a:pt x="90890" y="151176"/>
                    <a:pt x="82934" y="151365"/>
                    <a:pt x="75142" y="150148"/>
                  </a:cubicBezTo>
                  <a:lnTo>
                    <a:pt x="66862" y="170821"/>
                  </a:lnTo>
                  <a:close/>
                  <a:moveTo>
                    <a:pt x="52764" y="154558"/>
                  </a:moveTo>
                  <a:lnTo>
                    <a:pt x="61369" y="157995"/>
                  </a:lnTo>
                  <a:lnTo>
                    <a:pt x="69053" y="138756"/>
                  </a:lnTo>
                  <a:lnTo>
                    <a:pt x="73166" y="139676"/>
                  </a:lnTo>
                  <a:cubicBezTo>
                    <a:pt x="82069" y="141678"/>
                    <a:pt x="91377" y="141462"/>
                    <a:pt x="100062" y="139054"/>
                  </a:cubicBezTo>
                  <a:lnTo>
                    <a:pt x="104121" y="137944"/>
                  </a:lnTo>
                  <a:lnTo>
                    <a:pt x="112699" y="156885"/>
                  </a:lnTo>
                  <a:lnTo>
                    <a:pt x="121141" y="153070"/>
                  </a:lnTo>
                  <a:lnTo>
                    <a:pt x="112563" y="134129"/>
                  </a:lnTo>
                  <a:lnTo>
                    <a:pt x="116081" y="131802"/>
                  </a:lnTo>
                  <a:cubicBezTo>
                    <a:pt x="122981" y="127256"/>
                    <a:pt x="128880" y="121087"/>
                    <a:pt x="133128" y="113971"/>
                  </a:cubicBezTo>
                  <a:lnTo>
                    <a:pt x="135293" y="110345"/>
                  </a:lnTo>
                  <a:lnTo>
                    <a:pt x="154558" y="118056"/>
                  </a:lnTo>
                  <a:lnTo>
                    <a:pt x="158022" y="109452"/>
                  </a:lnTo>
                  <a:lnTo>
                    <a:pt x="138729" y="101740"/>
                  </a:lnTo>
                  <a:lnTo>
                    <a:pt x="139649" y="97627"/>
                  </a:lnTo>
                  <a:cubicBezTo>
                    <a:pt x="141516" y="89401"/>
                    <a:pt x="141489" y="81094"/>
                    <a:pt x="139595" y="72950"/>
                  </a:cubicBezTo>
                  <a:lnTo>
                    <a:pt x="138621" y="68837"/>
                  </a:lnTo>
                  <a:lnTo>
                    <a:pt x="157914" y="61044"/>
                  </a:lnTo>
                  <a:lnTo>
                    <a:pt x="154450" y="52467"/>
                  </a:lnTo>
                  <a:lnTo>
                    <a:pt x="135185" y="60205"/>
                  </a:lnTo>
                  <a:lnTo>
                    <a:pt x="133020" y="56606"/>
                  </a:lnTo>
                  <a:cubicBezTo>
                    <a:pt x="128312" y="48787"/>
                    <a:pt x="121709" y="42211"/>
                    <a:pt x="113998" y="37611"/>
                  </a:cubicBezTo>
                  <a:lnTo>
                    <a:pt x="110372" y="35447"/>
                  </a:lnTo>
                  <a:lnTo>
                    <a:pt x="118083" y="16154"/>
                  </a:lnTo>
                  <a:lnTo>
                    <a:pt x="109506" y="12718"/>
                  </a:lnTo>
                  <a:lnTo>
                    <a:pt x="101794" y="31956"/>
                  </a:lnTo>
                  <a:lnTo>
                    <a:pt x="97681" y="31036"/>
                  </a:lnTo>
                  <a:cubicBezTo>
                    <a:pt x="88779" y="29034"/>
                    <a:pt x="79471" y="29250"/>
                    <a:pt x="70785" y="31658"/>
                  </a:cubicBezTo>
                  <a:lnTo>
                    <a:pt x="66726" y="32795"/>
                  </a:lnTo>
                  <a:lnTo>
                    <a:pt x="58149" y="13854"/>
                  </a:lnTo>
                  <a:lnTo>
                    <a:pt x="49707" y="17669"/>
                  </a:lnTo>
                  <a:lnTo>
                    <a:pt x="58311" y="36583"/>
                  </a:lnTo>
                  <a:lnTo>
                    <a:pt x="54794" y="38910"/>
                  </a:lnTo>
                  <a:cubicBezTo>
                    <a:pt x="47731" y="43537"/>
                    <a:pt x="41995" y="49544"/>
                    <a:pt x="37693" y="56742"/>
                  </a:cubicBezTo>
                  <a:lnTo>
                    <a:pt x="35528" y="60368"/>
                  </a:lnTo>
                  <a:lnTo>
                    <a:pt x="16289" y="52656"/>
                  </a:lnTo>
                  <a:lnTo>
                    <a:pt x="12853" y="61261"/>
                  </a:lnTo>
                  <a:lnTo>
                    <a:pt x="32118" y="68972"/>
                  </a:lnTo>
                  <a:lnTo>
                    <a:pt x="31198" y="73085"/>
                  </a:lnTo>
                  <a:cubicBezTo>
                    <a:pt x="29358" y="81203"/>
                    <a:pt x="29386" y="89726"/>
                    <a:pt x="31280" y="97735"/>
                  </a:cubicBezTo>
                  <a:lnTo>
                    <a:pt x="32254" y="101848"/>
                  </a:lnTo>
                  <a:lnTo>
                    <a:pt x="12934" y="109641"/>
                  </a:lnTo>
                  <a:lnTo>
                    <a:pt x="16425" y="118246"/>
                  </a:lnTo>
                  <a:lnTo>
                    <a:pt x="35663" y="110480"/>
                  </a:lnTo>
                  <a:lnTo>
                    <a:pt x="37855" y="114079"/>
                  </a:lnTo>
                  <a:cubicBezTo>
                    <a:pt x="42590" y="121899"/>
                    <a:pt x="49192" y="128474"/>
                    <a:pt x="56931" y="133074"/>
                  </a:cubicBezTo>
                  <a:lnTo>
                    <a:pt x="60530" y="135239"/>
                  </a:lnTo>
                  <a:lnTo>
                    <a:pt x="52764" y="154558"/>
                  </a:lnTo>
                  <a:close/>
                </a:path>
              </a:pathLst>
            </a:custGeom>
            <a:grpFill/>
            <a:ln w="270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622" name="Freihandform: Form 348">
              <a:extLst>
                <a:ext uri="{FF2B5EF4-FFF2-40B4-BE49-F238E27FC236}">
                  <a16:creationId xmlns:a16="http://schemas.microsoft.com/office/drawing/2014/main" id="{2A9EB562-C160-400F-49AC-EA15280B43BF}"/>
                </a:ext>
              </a:extLst>
            </p:cNvPr>
            <p:cNvSpPr/>
            <p:nvPr/>
          </p:nvSpPr>
          <p:spPr>
            <a:xfrm>
              <a:off x="2793645" y="1977777"/>
              <a:ext cx="66689" cy="66713"/>
            </a:xfrm>
            <a:custGeom>
              <a:avLst/>
              <a:gdLst>
                <a:gd name="connsiteX0" fmla="*/ 33393 w 66689"/>
                <a:gd name="connsiteY0" fmla="*/ 66714 h 66713"/>
                <a:gd name="connsiteX1" fmla="*/ 27007 w 66689"/>
                <a:gd name="connsiteY1" fmla="*/ 66091 h 66713"/>
                <a:gd name="connsiteX2" fmla="*/ 5712 w 66689"/>
                <a:gd name="connsiteY2" fmla="*/ 52021 h 66713"/>
                <a:gd name="connsiteX3" fmla="*/ 625 w 66689"/>
                <a:gd name="connsiteY3" fmla="*/ 27019 h 66713"/>
                <a:gd name="connsiteX4" fmla="*/ 39670 w 66689"/>
                <a:gd name="connsiteY4" fmla="*/ 610 h 66713"/>
                <a:gd name="connsiteX5" fmla="*/ 66079 w 66689"/>
                <a:gd name="connsiteY5" fmla="*/ 39682 h 66713"/>
                <a:gd name="connsiteX6" fmla="*/ 52036 w 66689"/>
                <a:gd name="connsiteY6" fmla="*/ 60977 h 66713"/>
                <a:gd name="connsiteX7" fmla="*/ 33393 w 66689"/>
                <a:gd name="connsiteY7" fmla="*/ 66714 h 66713"/>
                <a:gd name="connsiteX8" fmla="*/ 33339 w 66689"/>
                <a:gd name="connsiteY8" fmla="*/ 9891 h 66713"/>
                <a:gd name="connsiteX9" fmla="*/ 10312 w 66689"/>
                <a:gd name="connsiteY9" fmla="*/ 28913 h 66713"/>
                <a:gd name="connsiteX10" fmla="*/ 13911 w 66689"/>
                <a:gd name="connsiteY10" fmla="*/ 46528 h 66713"/>
                <a:gd name="connsiteX11" fmla="*/ 28901 w 66689"/>
                <a:gd name="connsiteY11" fmla="*/ 56432 h 66713"/>
                <a:gd name="connsiteX12" fmla="*/ 28901 w 66689"/>
                <a:gd name="connsiteY12" fmla="*/ 56432 h 66713"/>
                <a:gd name="connsiteX13" fmla="*/ 46489 w 66689"/>
                <a:gd name="connsiteY13" fmla="*/ 52833 h 66713"/>
                <a:gd name="connsiteX14" fmla="*/ 56392 w 66689"/>
                <a:gd name="connsiteY14" fmla="*/ 37842 h 66713"/>
                <a:gd name="connsiteX15" fmla="*/ 37803 w 66689"/>
                <a:gd name="connsiteY15" fmla="*/ 10351 h 66713"/>
                <a:gd name="connsiteX16" fmla="*/ 33339 w 66689"/>
                <a:gd name="connsiteY16" fmla="*/ 9891 h 667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66689" h="66713">
                  <a:moveTo>
                    <a:pt x="33393" y="66714"/>
                  </a:moveTo>
                  <a:cubicBezTo>
                    <a:pt x="31282" y="66714"/>
                    <a:pt x="29144" y="66524"/>
                    <a:pt x="27007" y="66091"/>
                  </a:cubicBezTo>
                  <a:cubicBezTo>
                    <a:pt x="18267" y="64414"/>
                    <a:pt x="10691" y="59408"/>
                    <a:pt x="5712" y="52021"/>
                  </a:cubicBezTo>
                  <a:cubicBezTo>
                    <a:pt x="733" y="44634"/>
                    <a:pt x="-1080" y="35759"/>
                    <a:pt x="625" y="27019"/>
                  </a:cubicBezTo>
                  <a:cubicBezTo>
                    <a:pt x="4115" y="8971"/>
                    <a:pt x="21622" y="-2881"/>
                    <a:pt x="39670" y="610"/>
                  </a:cubicBezTo>
                  <a:cubicBezTo>
                    <a:pt x="57718" y="4100"/>
                    <a:pt x="69570" y="21607"/>
                    <a:pt x="66079" y="39682"/>
                  </a:cubicBezTo>
                  <a:cubicBezTo>
                    <a:pt x="64402" y="48422"/>
                    <a:pt x="59396" y="55999"/>
                    <a:pt x="52036" y="60977"/>
                  </a:cubicBezTo>
                  <a:cubicBezTo>
                    <a:pt x="46408" y="64766"/>
                    <a:pt x="39968" y="66714"/>
                    <a:pt x="33393" y="66714"/>
                  </a:cubicBezTo>
                  <a:close/>
                  <a:moveTo>
                    <a:pt x="33339" y="9891"/>
                  </a:moveTo>
                  <a:cubicBezTo>
                    <a:pt x="22326" y="9891"/>
                    <a:pt x="12476" y="17711"/>
                    <a:pt x="10312" y="28913"/>
                  </a:cubicBezTo>
                  <a:cubicBezTo>
                    <a:pt x="9121" y="35082"/>
                    <a:pt x="10393" y="41333"/>
                    <a:pt x="13911" y="46528"/>
                  </a:cubicBezTo>
                  <a:cubicBezTo>
                    <a:pt x="17428" y="51723"/>
                    <a:pt x="22731" y="55241"/>
                    <a:pt x="28901" y="56432"/>
                  </a:cubicBezTo>
                  <a:lnTo>
                    <a:pt x="28901" y="56432"/>
                  </a:lnTo>
                  <a:cubicBezTo>
                    <a:pt x="35043" y="57622"/>
                    <a:pt x="41294" y="56350"/>
                    <a:pt x="46489" y="52833"/>
                  </a:cubicBezTo>
                  <a:cubicBezTo>
                    <a:pt x="51684" y="49315"/>
                    <a:pt x="55202" y="43985"/>
                    <a:pt x="56392" y="37842"/>
                  </a:cubicBezTo>
                  <a:cubicBezTo>
                    <a:pt x="58855" y="25125"/>
                    <a:pt x="50521" y="12786"/>
                    <a:pt x="37803" y="10351"/>
                  </a:cubicBezTo>
                  <a:cubicBezTo>
                    <a:pt x="36288" y="10026"/>
                    <a:pt x="34800" y="9891"/>
                    <a:pt x="33339" y="9891"/>
                  </a:cubicBezTo>
                  <a:close/>
                </a:path>
              </a:pathLst>
            </a:custGeom>
            <a:grpFill/>
            <a:ln w="270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</p:grpSp>
      <p:grpSp>
        <p:nvGrpSpPr>
          <p:cNvPr id="616" name="Gruppieren 431">
            <a:extLst>
              <a:ext uri="{FF2B5EF4-FFF2-40B4-BE49-F238E27FC236}">
                <a16:creationId xmlns:a16="http://schemas.microsoft.com/office/drawing/2014/main" id="{670AB352-6637-683B-1987-B3790FBD2076}"/>
              </a:ext>
            </a:extLst>
          </p:cNvPr>
          <p:cNvGrpSpPr/>
          <p:nvPr/>
        </p:nvGrpSpPr>
        <p:grpSpPr>
          <a:xfrm>
            <a:off x="4417552" y="4342763"/>
            <a:ext cx="308897" cy="170195"/>
            <a:chOff x="3904458" y="3415176"/>
            <a:chExt cx="400598" cy="220721"/>
          </a:xfrm>
          <a:solidFill>
            <a:schemeClr val="bg2">
              <a:lumMod val="50000"/>
            </a:schemeClr>
          </a:solidFill>
        </p:grpSpPr>
        <p:sp>
          <p:nvSpPr>
            <p:cNvPr id="617" name="Freihandform: Form 44">
              <a:extLst>
                <a:ext uri="{FF2B5EF4-FFF2-40B4-BE49-F238E27FC236}">
                  <a16:creationId xmlns:a16="http://schemas.microsoft.com/office/drawing/2014/main" id="{746919E7-0CA9-5BFB-1F1F-D5E792B3F251}"/>
                </a:ext>
              </a:extLst>
            </p:cNvPr>
            <p:cNvSpPr/>
            <p:nvPr/>
          </p:nvSpPr>
          <p:spPr>
            <a:xfrm>
              <a:off x="3904458" y="3429188"/>
              <a:ext cx="400598" cy="206709"/>
            </a:xfrm>
            <a:custGeom>
              <a:avLst/>
              <a:gdLst>
                <a:gd name="connsiteX0" fmla="*/ 264929 w 400598"/>
                <a:gd name="connsiteY0" fmla="*/ 206709 h 206709"/>
                <a:gd name="connsiteX1" fmla="*/ 259243 w 400598"/>
                <a:gd name="connsiteY1" fmla="*/ 202927 h 206709"/>
                <a:gd name="connsiteX2" fmla="*/ 245588 w 400598"/>
                <a:gd name="connsiteY2" fmla="*/ 182518 h 206709"/>
                <a:gd name="connsiteX3" fmla="*/ 225277 w 400598"/>
                <a:gd name="connsiteY3" fmla="*/ 168703 h 206709"/>
                <a:gd name="connsiteX4" fmla="*/ 200349 w 400598"/>
                <a:gd name="connsiteY4" fmla="*/ 163557 h 206709"/>
                <a:gd name="connsiteX5" fmla="*/ 200103 w 400598"/>
                <a:gd name="connsiteY5" fmla="*/ 163557 h 206709"/>
                <a:gd name="connsiteX6" fmla="*/ 175408 w 400598"/>
                <a:gd name="connsiteY6" fmla="*/ 168494 h 206709"/>
                <a:gd name="connsiteX7" fmla="*/ 154998 w 400598"/>
                <a:gd name="connsiteY7" fmla="*/ 182137 h 206709"/>
                <a:gd name="connsiteX8" fmla="*/ 141392 w 400598"/>
                <a:gd name="connsiteY8" fmla="*/ 201957 h 206709"/>
                <a:gd name="connsiteX9" fmla="*/ 137598 w 400598"/>
                <a:gd name="connsiteY9" fmla="*/ 205973 h 206709"/>
                <a:gd name="connsiteX10" fmla="*/ 129898 w 400598"/>
                <a:gd name="connsiteY10" fmla="*/ 202682 h 206709"/>
                <a:gd name="connsiteX11" fmla="*/ 116181 w 400598"/>
                <a:gd name="connsiteY11" fmla="*/ 182321 h 206709"/>
                <a:gd name="connsiteX12" fmla="*/ 95821 w 400598"/>
                <a:gd name="connsiteY12" fmla="*/ 168605 h 206709"/>
                <a:gd name="connsiteX13" fmla="*/ 45940 w 400598"/>
                <a:gd name="connsiteY13" fmla="*/ 168605 h 206709"/>
                <a:gd name="connsiteX14" fmla="*/ 25579 w 400598"/>
                <a:gd name="connsiteY14" fmla="*/ 182321 h 206709"/>
                <a:gd name="connsiteX15" fmla="*/ 11838 w 400598"/>
                <a:gd name="connsiteY15" fmla="*/ 202694 h 206709"/>
                <a:gd name="connsiteX16" fmla="*/ 4937 w 400598"/>
                <a:gd name="connsiteY16" fmla="*/ 206329 h 206709"/>
                <a:gd name="connsiteX17" fmla="*/ 0 w 400598"/>
                <a:gd name="connsiteY17" fmla="*/ 200287 h 206709"/>
                <a:gd name="connsiteX18" fmla="*/ 200299 w 400598"/>
                <a:gd name="connsiteY18" fmla="*/ 0 h 206709"/>
                <a:gd name="connsiteX19" fmla="*/ 400599 w 400598"/>
                <a:gd name="connsiteY19" fmla="*/ 200287 h 206709"/>
                <a:gd name="connsiteX20" fmla="*/ 395662 w 400598"/>
                <a:gd name="connsiteY20" fmla="*/ 206329 h 206709"/>
                <a:gd name="connsiteX21" fmla="*/ 388761 w 400598"/>
                <a:gd name="connsiteY21" fmla="*/ 202694 h 206709"/>
                <a:gd name="connsiteX22" fmla="*/ 375019 w 400598"/>
                <a:gd name="connsiteY22" fmla="*/ 182321 h 206709"/>
                <a:gd name="connsiteX23" fmla="*/ 354659 w 400598"/>
                <a:gd name="connsiteY23" fmla="*/ 168605 h 206709"/>
                <a:gd name="connsiteX24" fmla="*/ 304778 w 400598"/>
                <a:gd name="connsiteY24" fmla="*/ 168605 h 206709"/>
                <a:gd name="connsiteX25" fmla="*/ 284418 w 400598"/>
                <a:gd name="connsiteY25" fmla="*/ 182321 h 206709"/>
                <a:gd name="connsiteX26" fmla="*/ 270787 w 400598"/>
                <a:gd name="connsiteY26" fmla="*/ 202473 h 206709"/>
                <a:gd name="connsiteX27" fmla="*/ 270787 w 400598"/>
                <a:gd name="connsiteY27" fmla="*/ 202497 h 206709"/>
                <a:gd name="connsiteX28" fmla="*/ 265163 w 400598"/>
                <a:gd name="connsiteY28" fmla="*/ 206709 h 206709"/>
                <a:gd name="connsiteX29" fmla="*/ 264929 w 400598"/>
                <a:gd name="connsiteY29" fmla="*/ 206709 h 206709"/>
                <a:gd name="connsiteX30" fmla="*/ 200103 w 400598"/>
                <a:gd name="connsiteY30" fmla="*/ 151228 h 206709"/>
                <a:gd name="connsiteX31" fmla="*/ 200410 w 400598"/>
                <a:gd name="connsiteY31" fmla="*/ 151228 h 206709"/>
                <a:gd name="connsiteX32" fmla="*/ 230128 w 400598"/>
                <a:gd name="connsiteY32" fmla="*/ 157356 h 206709"/>
                <a:gd name="connsiteX33" fmla="*/ 254331 w 400598"/>
                <a:gd name="connsiteY33" fmla="*/ 173824 h 206709"/>
                <a:gd name="connsiteX34" fmla="*/ 264917 w 400598"/>
                <a:gd name="connsiteY34" fmla="*/ 187147 h 206709"/>
                <a:gd name="connsiteX35" fmla="*/ 275699 w 400598"/>
                <a:gd name="connsiteY35" fmla="*/ 173615 h 206709"/>
                <a:gd name="connsiteX36" fmla="*/ 299988 w 400598"/>
                <a:gd name="connsiteY36" fmla="*/ 157246 h 206709"/>
                <a:gd name="connsiteX37" fmla="*/ 359461 w 400598"/>
                <a:gd name="connsiteY37" fmla="*/ 157246 h 206709"/>
                <a:gd name="connsiteX38" fmla="*/ 383750 w 400598"/>
                <a:gd name="connsiteY38" fmla="*/ 173615 h 206709"/>
                <a:gd name="connsiteX39" fmla="*/ 386820 w 400598"/>
                <a:gd name="connsiteY39" fmla="*/ 176881 h 206709"/>
                <a:gd name="connsiteX40" fmla="*/ 200299 w 400598"/>
                <a:gd name="connsiteY40" fmla="*/ 12341 h 206709"/>
                <a:gd name="connsiteX41" fmla="*/ 13778 w 400598"/>
                <a:gd name="connsiteY41" fmla="*/ 176881 h 206709"/>
                <a:gd name="connsiteX42" fmla="*/ 16848 w 400598"/>
                <a:gd name="connsiteY42" fmla="*/ 173615 h 206709"/>
                <a:gd name="connsiteX43" fmla="*/ 41138 w 400598"/>
                <a:gd name="connsiteY43" fmla="*/ 157246 h 206709"/>
                <a:gd name="connsiteX44" fmla="*/ 100598 w 400598"/>
                <a:gd name="connsiteY44" fmla="*/ 157246 h 206709"/>
                <a:gd name="connsiteX45" fmla="*/ 124888 w 400598"/>
                <a:gd name="connsiteY45" fmla="*/ 173615 h 206709"/>
                <a:gd name="connsiteX46" fmla="*/ 135473 w 400598"/>
                <a:gd name="connsiteY46" fmla="*/ 186853 h 206709"/>
                <a:gd name="connsiteX47" fmla="*/ 146292 w 400598"/>
                <a:gd name="connsiteY47" fmla="*/ 173418 h 206709"/>
                <a:gd name="connsiteX48" fmla="*/ 170643 w 400598"/>
                <a:gd name="connsiteY48" fmla="*/ 157147 h 206709"/>
                <a:gd name="connsiteX49" fmla="*/ 200103 w 400598"/>
                <a:gd name="connsiteY49" fmla="*/ 151228 h 2067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</a:cxnLst>
              <a:rect l="l" t="t" r="r" b="b"/>
              <a:pathLst>
                <a:path w="400598" h="206709">
                  <a:moveTo>
                    <a:pt x="264929" y="206709"/>
                  </a:moveTo>
                  <a:cubicBezTo>
                    <a:pt x="262448" y="206709"/>
                    <a:pt x="260214" y="205223"/>
                    <a:pt x="259243" y="202927"/>
                  </a:cubicBezTo>
                  <a:cubicBezTo>
                    <a:pt x="256026" y="195264"/>
                    <a:pt x="251446" y="188388"/>
                    <a:pt x="245588" y="182518"/>
                  </a:cubicBezTo>
                  <a:cubicBezTo>
                    <a:pt x="239694" y="176587"/>
                    <a:pt x="232866" y="171945"/>
                    <a:pt x="225277" y="168703"/>
                  </a:cubicBezTo>
                  <a:cubicBezTo>
                    <a:pt x="217418" y="165326"/>
                    <a:pt x="209018" y="163607"/>
                    <a:pt x="200349" y="163557"/>
                  </a:cubicBezTo>
                  <a:cubicBezTo>
                    <a:pt x="200275" y="163557"/>
                    <a:pt x="200189" y="163557"/>
                    <a:pt x="200103" y="163557"/>
                  </a:cubicBezTo>
                  <a:cubicBezTo>
                    <a:pt x="191544" y="163557"/>
                    <a:pt x="183218" y="165215"/>
                    <a:pt x="175408" y="168494"/>
                  </a:cubicBezTo>
                  <a:cubicBezTo>
                    <a:pt x="167770" y="171687"/>
                    <a:pt x="160893" y="176280"/>
                    <a:pt x="154998" y="182137"/>
                  </a:cubicBezTo>
                  <a:cubicBezTo>
                    <a:pt x="149202" y="187896"/>
                    <a:pt x="144634" y="194552"/>
                    <a:pt x="141392" y="201957"/>
                  </a:cubicBezTo>
                  <a:cubicBezTo>
                    <a:pt x="140840" y="203774"/>
                    <a:pt x="139476" y="205309"/>
                    <a:pt x="137598" y="205973"/>
                  </a:cubicBezTo>
                  <a:cubicBezTo>
                    <a:pt x="134577" y="207053"/>
                    <a:pt x="131187" y="205690"/>
                    <a:pt x="129898" y="202682"/>
                  </a:cubicBezTo>
                  <a:cubicBezTo>
                    <a:pt x="126681" y="195068"/>
                    <a:pt x="122076" y="188216"/>
                    <a:pt x="116181" y="182321"/>
                  </a:cubicBezTo>
                  <a:cubicBezTo>
                    <a:pt x="110287" y="176427"/>
                    <a:pt x="103422" y="171822"/>
                    <a:pt x="95821" y="168605"/>
                  </a:cubicBezTo>
                  <a:cubicBezTo>
                    <a:pt x="79968" y="161912"/>
                    <a:pt x="61793" y="161912"/>
                    <a:pt x="45940" y="168605"/>
                  </a:cubicBezTo>
                  <a:cubicBezTo>
                    <a:pt x="38326" y="171822"/>
                    <a:pt x="31474" y="176427"/>
                    <a:pt x="25579" y="182321"/>
                  </a:cubicBezTo>
                  <a:cubicBezTo>
                    <a:pt x="19697" y="188216"/>
                    <a:pt x="15080" y="195068"/>
                    <a:pt x="11838" y="202694"/>
                  </a:cubicBezTo>
                  <a:cubicBezTo>
                    <a:pt x="10696" y="205395"/>
                    <a:pt x="7786" y="206906"/>
                    <a:pt x="4937" y="206329"/>
                  </a:cubicBezTo>
                  <a:cubicBezTo>
                    <a:pt x="2063" y="205739"/>
                    <a:pt x="0" y="203210"/>
                    <a:pt x="0" y="200287"/>
                  </a:cubicBezTo>
                  <a:cubicBezTo>
                    <a:pt x="0" y="89841"/>
                    <a:pt x="89865" y="0"/>
                    <a:pt x="200299" y="0"/>
                  </a:cubicBezTo>
                  <a:cubicBezTo>
                    <a:pt x="310733" y="0"/>
                    <a:pt x="400599" y="89853"/>
                    <a:pt x="400599" y="200287"/>
                  </a:cubicBezTo>
                  <a:cubicBezTo>
                    <a:pt x="400599" y="203210"/>
                    <a:pt x="398536" y="205739"/>
                    <a:pt x="395662" y="206329"/>
                  </a:cubicBezTo>
                  <a:cubicBezTo>
                    <a:pt x="392862" y="206943"/>
                    <a:pt x="389903" y="205395"/>
                    <a:pt x="388761" y="202694"/>
                  </a:cubicBezTo>
                  <a:cubicBezTo>
                    <a:pt x="385519" y="195056"/>
                    <a:pt x="380902" y="188203"/>
                    <a:pt x="375019" y="182321"/>
                  </a:cubicBezTo>
                  <a:cubicBezTo>
                    <a:pt x="369113" y="176427"/>
                    <a:pt x="362273" y="171822"/>
                    <a:pt x="354659" y="168605"/>
                  </a:cubicBezTo>
                  <a:cubicBezTo>
                    <a:pt x="338806" y="161912"/>
                    <a:pt x="320631" y="161912"/>
                    <a:pt x="304778" y="168605"/>
                  </a:cubicBezTo>
                  <a:cubicBezTo>
                    <a:pt x="297164" y="171822"/>
                    <a:pt x="290312" y="176427"/>
                    <a:pt x="284418" y="182321"/>
                  </a:cubicBezTo>
                  <a:cubicBezTo>
                    <a:pt x="278585" y="188167"/>
                    <a:pt x="274004" y="194945"/>
                    <a:pt x="270787" y="202473"/>
                  </a:cubicBezTo>
                  <a:lnTo>
                    <a:pt x="270787" y="202497"/>
                  </a:lnTo>
                  <a:cubicBezTo>
                    <a:pt x="269964" y="204929"/>
                    <a:pt x="267729" y="206611"/>
                    <a:pt x="265163" y="206709"/>
                  </a:cubicBezTo>
                  <a:cubicBezTo>
                    <a:pt x="265089" y="206709"/>
                    <a:pt x="265003" y="206709"/>
                    <a:pt x="264929" y="206709"/>
                  </a:cubicBezTo>
                  <a:close/>
                  <a:moveTo>
                    <a:pt x="200103" y="151228"/>
                  </a:moveTo>
                  <a:cubicBezTo>
                    <a:pt x="200213" y="151228"/>
                    <a:pt x="200312" y="151228"/>
                    <a:pt x="200410" y="151228"/>
                  </a:cubicBezTo>
                  <a:cubicBezTo>
                    <a:pt x="210737" y="151277"/>
                    <a:pt x="220733" y="153353"/>
                    <a:pt x="230128" y="157356"/>
                  </a:cubicBezTo>
                  <a:cubicBezTo>
                    <a:pt x="239166" y="161224"/>
                    <a:pt x="247320" y="166763"/>
                    <a:pt x="254331" y="173824"/>
                  </a:cubicBezTo>
                  <a:cubicBezTo>
                    <a:pt x="258384" y="177876"/>
                    <a:pt x="261908" y="182334"/>
                    <a:pt x="264917" y="187147"/>
                  </a:cubicBezTo>
                  <a:cubicBezTo>
                    <a:pt x="267962" y="182272"/>
                    <a:pt x="271560" y="177741"/>
                    <a:pt x="275699" y="173615"/>
                  </a:cubicBezTo>
                  <a:cubicBezTo>
                    <a:pt x="282735" y="166591"/>
                    <a:pt x="290901" y="161089"/>
                    <a:pt x="299988" y="157246"/>
                  </a:cubicBezTo>
                  <a:cubicBezTo>
                    <a:pt x="318875" y="149276"/>
                    <a:pt x="340574" y="149276"/>
                    <a:pt x="359461" y="157246"/>
                  </a:cubicBezTo>
                  <a:cubicBezTo>
                    <a:pt x="368548" y="161089"/>
                    <a:pt x="376714" y="166591"/>
                    <a:pt x="383750" y="173615"/>
                  </a:cubicBezTo>
                  <a:cubicBezTo>
                    <a:pt x="384807" y="174671"/>
                    <a:pt x="385838" y="175764"/>
                    <a:pt x="386820" y="176881"/>
                  </a:cubicBezTo>
                  <a:cubicBezTo>
                    <a:pt x="375265" y="84253"/>
                    <a:pt x="296022" y="12341"/>
                    <a:pt x="200299" y="12341"/>
                  </a:cubicBezTo>
                  <a:cubicBezTo>
                    <a:pt x="104577" y="12341"/>
                    <a:pt x="25346" y="84253"/>
                    <a:pt x="13778" y="176881"/>
                  </a:cubicBezTo>
                  <a:cubicBezTo>
                    <a:pt x="14761" y="175776"/>
                    <a:pt x="15792" y="174683"/>
                    <a:pt x="16848" y="173615"/>
                  </a:cubicBezTo>
                  <a:cubicBezTo>
                    <a:pt x="23885" y="166591"/>
                    <a:pt x="32051" y="161089"/>
                    <a:pt x="41138" y="157246"/>
                  </a:cubicBezTo>
                  <a:cubicBezTo>
                    <a:pt x="60025" y="149276"/>
                    <a:pt x="81724" y="149276"/>
                    <a:pt x="100598" y="157246"/>
                  </a:cubicBezTo>
                  <a:cubicBezTo>
                    <a:pt x="109685" y="161089"/>
                    <a:pt x="117851" y="166591"/>
                    <a:pt x="124888" y="173615"/>
                  </a:cubicBezTo>
                  <a:cubicBezTo>
                    <a:pt x="128940" y="177655"/>
                    <a:pt x="132477" y="182088"/>
                    <a:pt x="135473" y="186853"/>
                  </a:cubicBezTo>
                  <a:cubicBezTo>
                    <a:pt x="138543" y="182014"/>
                    <a:pt x="142153" y="177508"/>
                    <a:pt x="146292" y="173418"/>
                  </a:cubicBezTo>
                  <a:cubicBezTo>
                    <a:pt x="153341" y="166419"/>
                    <a:pt x="161519" y="160942"/>
                    <a:pt x="170643" y="157147"/>
                  </a:cubicBezTo>
                  <a:cubicBezTo>
                    <a:pt x="179976" y="153218"/>
                    <a:pt x="189898" y="151228"/>
                    <a:pt x="200103" y="151228"/>
                  </a:cubicBezTo>
                  <a:close/>
                </a:path>
              </a:pathLst>
            </a:custGeom>
            <a:grpFill/>
            <a:ln w="12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618" name="Freihandform: Form 45">
              <a:extLst>
                <a:ext uri="{FF2B5EF4-FFF2-40B4-BE49-F238E27FC236}">
                  <a16:creationId xmlns:a16="http://schemas.microsoft.com/office/drawing/2014/main" id="{728E1C71-A854-25DB-0C5C-15030E5D6CF4}"/>
                </a:ext>
              </a:extLst>
            </p:cNvPr>
            <p:cNvSpPr/>
            <p:nvPr/>
          </p:nvSpPr>
          <p:spPr>
            <a:xfrm>
              <a:off x="4114471" y="3431644"/>
              <a:ext cx="63698" cy="198960"/>
            </a:xfrm>
            <a:custGeom>
              <a:avLst/>
              <a:gdLst>
                <a:gd name="connsiteX0" fmla="*/ 61056 w 63698"/>
                <a:gd name="connsiteY0" fmla="*/ 198961 h 198960"/>
                <a:gd name="connsiteX1" fmla="*/ 48936 w 63698"/>
                <a:gd name="connsiteY1" fmla="*/ 196726 h 198960"/>
                <a:gd name="connsiteX2" fmla="*/ 0 w 63698"/>
                <a:gd name="connsiteY2" fmla="*/ 7442 h 198960"/>
                <a:gd name="connsiteX3" fmla="*/ 9824 w 63698"/>
                <a:gd name="connsiteY3" fmla="*/ 0 h 198960"/>
                <a:gd name="connsiteX4" fmla="*/ 61056 w 63698"/>
                <a:gd name="connsiteY4" fmla="*/ 198961 h 1989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698" h="198960">
                  <a:moveTo>
                    <a:pt x="61056" y="198961"/>
                  </a:moveTo>
                  <a:lnTo>
                    <a:pt x="48936" y="196726"/>
                  </a:lnTo>
                  <a:cubicBezTo>
                    <a:pt x="49120" y="195731"/>
                    <a:pt x="66582" y="95452"/>
                    <a:pt x="0" y="7442"/>
                  </a:cubicBezTo>
                  <a:lnTo>
                    <a:pt x="9824" y="0"/>
                  </a:lnTo>
                  <a:cubicBezTo>
                    <a:pt x="79808" y="92481"/>
                    <a:pt x="61867" y="194663"/>
                    <a:pt x="61056" y="198961"/>
                  </a:cubicBezTo>
                  <a:close/>
                </a:path>
              </a:pathLst>
            </a:custGeom>
            <a:grpFill/>
            <a:ln w="12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619" name="Freihandform: Form 46">
              <a:extLst>
                <a:ext uri="{FF2B5EF4-FFF2-40B4-BE49-F238E27FC236}">
                  <a16:creationId xmlns:a16="http://schemas.microsoft.com/office/drawing/2014/main" id="{F9551FDD-9B75-6981-9C45-3D344962FAB1}"/>
                </a:ext>
              </a:extLst>
            </p:cNvPr>
            <p:cNvSpPr/>
            <p:nvPr/>
          </p:nvSpPr>
          <p:spPr>
            <a:xfrm>
              <a:off x="4031271" y="3431386"/>
              <a:ext cx="63686" cy="198960"/>
            </a:xfrm>
            <a:custGeom>
              <a:avLst/>
              <a:gdLst>
                <a:gd name="connsiteX0" fmla="*/ 2643 w 63686"/>
                <a:gd name="connsiteY0" fmla="*/ 198961 h 198960"/>
                <a:gd name="connsiteX1" fmla="*/ 53863 w 63686"/>
                <a:gd name="connsiteY1" fmla="*/ 0 h 198960"/>
                <a:gd name="connsiteX2" fmla="*/ 63687 w 63686"/>
                <a:gd name="connsiteY2" fmla="*/ 7442 h 198960"/>
                <a:gd name="connsiteX3" fmla="*/ 14763 w 63686"/>
                <a:gd name="connsiteY3" fmla="*/ 196726 h 198960"/>
                <a:gd name="connsiteX4" fmla="*/ 2643 w 63686"/>
                <a:gd name="connsiteY4" fmla="*/ 198961 h 1989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686" h="198960">
                  <a:moveTo>
                    <a:pt x="2643" y="198961"/>
                  </a:moveTo>
                  <a:cubicBezTo>
                    <a:pt x="1832" y="194663"/>
                    <a:pt x="-16109" y="92481"/>
                    <a:pt x="53863" y="0"/>
                  </a:cubicBezTo>
                  <a:lnTo>
                    <a:pt x="63687" y="7442"/>
                  </a:lnTo>
                  <a:cubicBezTo>
                    <a:pt x="-3018" y="95624"/>
                    <a:pt x="14579" y="195731"/>
                    <a:pt x="14763" y="196726"/>
                  </a:cubicBezTo>
                  <a:lnTo>
                    <a:pt x="2643" y="198961"/>
                  </a:lnTo>
                  <a:close/>
                </a:path>
              </a:pathLst>
            </a:custGeom>
            <a:grpFill/>
            <a:ln w="12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620" name="Freihandform: Form 48">
              <a:extLst>
                <a:ext uri="{FF2B5EF4-FFF2-40B4-BE49-F238E27FC236}">
                  <a16:creationId xmlns:a16="http://schemas.microsoft.com/office/drawing/2014/main" id="{F9D42904-12C4-9408-3FFE-2EE219965235}"/>
                </a:ext>
              </a:extLst>
            </p:cNvPr>
            <p:cNvSpPr/>
            <p:nvPr/>
          </p:nvSpPr>
          <p:spPr>
            <a:xfrm>
              <a:off x="4098593" y="3415176"/>
              <a:ext cx="12329" cy="26340"/>
            </a:xfrm>
            <a:custGeom>
              <a:avLst/>
              <a:gdLst>
                <a:gd name="connsiteX0" fmla="*/ 6165 w 12329"/>
                <a:gd name="connsiteY0" fmla="*/ 26341 h 26340"/>
                <a:gd name="connsiteX1" fmla="*/ 0 w 12329"/>
                <a:gd name="connsiteY1" fmla="*/ 20176 h 26340"/>
                <a:gd name="connsiteX2" fmla="*/ 0 w 12329"/>
                <a:gd name="connsiteY2" fmla="*/ 6165 h 26340"/>
                <a:gd name="connsiteX3" fmla="*/ 6165 w 12329"/>
                <a:gd name="connsiteY3" fmla="*/ 0 h 26340"/>
                <a:gd name="connsiteX4" fmla="*/ 12329 w 12329"/>
                <a:gd name="connsiteY4" fmla="*/ 6165 h 26340"/>
                <a:gd name="connsiteX5" fmla="*/ 12329 w 12329"/>
                <a:gd name="connsiteY5" fmla="*/ 20176 h 26340"/>
                <a:gd name="connsiteX6" fmla="*/ 6165 w 12329"/>
                <a:gd name="connsiteY6" fmla="*/ 26341 h 263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2329" h="26340">
                  <a:moveTo>
                    <a:pt x="6165" y="26341"/>
                  </a:moveTo>
                  <a:cubicBezTo>
                    <a:pt x="2751" y="26341"/>
                    <a:pt x="0" y="23578"/>
                    <a:pt x="0" y="20176"/>
                  </a:cubicBezTo>
                  <a:lnTo>
                    <a:pt x="0" y="6165"/>
                  </a:lnTo>
                  <a:cubicBezTo>
                    <a:pt x="0" y="2751"/>
                    <a:pt x="2763" y="0"/>
                    <a:pt x="6165" y="0"/>
                  </a:cubicBezTo>
                  <a:cubicBezTo>
                    <a:pt x="9566" y="0"/>
                    <a:pt x="12329" y="2763"/>
                    <a:pt x="12329" y="6165"/>
                  </a:cubicBezTo>
                  <a:lnTo>
                    <a:pt x="12329" y="20176"/>
                  </a:lnTo>
                  <a:cubicBezTo>
                    <a:pt x="12329" y="23590"/>
                    <a:pt x="9566" y="26341"/>
                    <a:pt x="6165" y="26341"/>
                  </a:cubicBezTo>
                  <a:close/>
                </a:path>
              </a:pathLst>
            </a:custGeom>
            <a:grpFill/>
            <a:ln w="12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</p:grpSp>
      <p:grpSp>
        <p:nvGrpSpPr>
          <p:cNvPr id="6" name="Group 5">
            <a:extLst>
              <a:ext uri="{FF2B5EF4-FFF2-40B4-BE49-F238E27FC236}">
                <a16:creationId xmlns:a16="http://schemas.microsoft.com/office/drawing/2014/main" id="{01F0B642-77FD-7F34-E9A1-BFCA8B4FAD1A}"/>
              </a:ext>
            </a:extLst>
          </p:cNvPr>
          <p:cNvGrpSpPr/>
          <p:nvPr/>
        </p:nvGrpSpPr>
        <p:grpSpPr>
          <a:xfrm>
            <a:off x="7674795" y="4342764"/>
            <a:ext cx="149318" cy="370800"/>
            <a:chOff x="7674795" y="4342764"/>
            <a:chExt cx="149318" cy="370800"/>
          </a:xfrm>
        </p:grpSpPr>
        <p:sp>
          <p:nvSpPr>
            <p:cNvPr id="624" name="Freeform: Shape 623">
              <a:extLst>
                <a:ext uri="{FF2B5EF4-FFF2-40B4-BE49-F238E27FC236}">
                  <a16:creationId xmlns:a16="http://schemas.microsoft.com/office/drawing/2014/main" id="{8CD83433-4479-1497-CEB1-DA0EEBD9F79D}"/>
                </a:ext>
              </a:extLst>
            </p:cNvPr>
            <p:cNvSpPr/>
            <p:nvPr/>
          </p:nvSpPr>
          <p:spPr>
            <a:xfrm>
              <a:off x="7674795" y="4342764"/>
              <a:ext cx="66795" cy="66774"/>
            </a:xfrm>
            <a:custGeom>
              <a:avLst/>
              <a:gdLst>
                <a:gd name="connsiteX0" fmla="*/ 44196 w 303371"/>
                <a:gd name="connsiteY0" fmla="*/ 44196 h 303276"/>
                <a:gd name="connsiteX1" fmla="*/ 44196 w 303371"/>
                <a:gd name="connsiteY1" fmla="*/ 258985 h 303276"/>
                <a:gd name="connsiteX2" fmla="*/ 258985 w 303371"/>
                <a:gd name="connsiteY2" fmla="*/ 258985 h 303276"/>
                <a:gd name="connsiteX3" fmla="*/ 258985 w 303371"/>
                <a:gd name="connsiteY3" fmla="*/ 44196 h 303276"/>
                <a:gd name="connsiteX4" fmla="*/ 22098 w 303371"/>
                <a:gd name="connsiteY4" fmla="*/ 0 h 303276"/>
                <a:gd name="connsiteX5" fmla="*/ 281178 w 303371"/>
                <a:gd name="connsiteY5" fmla="*/ 0 h 303276"/>
                <a:gd name="connsiteX6" fmla="*/ 303371 w 303371"/>
                <a:gd name="connsiteY6" fmla="*/ 22098 h 303276"/>
                <a:gd name="connsiteX7" fmla="*/ 303371 w 303371"/>
                <a:gd name="connsiteY7" fmla="*/ 281178 h 303276"/>
                <a:gd name="connsiteX8" fmla="*/ 281178 w 303371"/>
                <a:gd name="connsiteY8" fmla="*/ 303276 h 303276"/>
                <a:gd name="connsiteX9" fmla="*/ 22098 w 303371"/>
                <a:gd name="connsiteY9" fmla="*/ 303276 h 303276"/>
                <a:gd name="connsiteX10" fmla="*/ 0 w 303371"/>
                <a:gd name="connsiteY10" fmla="*/ 281178 h 303276"/>
                <a:gd name="connsiteX11" fmla="*/ 0 w 303371"/>
                <a:gd name="connsiteY11" fmla="*/ 22098 h 303276"/>
                <a:gd name="connsiteX12" fmla="*/ 22098 w 303371"/>
                <a:gd name="connsiteY12" fmla="*/ 0 h 3032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03371" h="303276">
                  <a:moveTo>
                    <a:pt x="44196" y="44196"/>
                  </a:moveTo>
                  <a:lnTo>
                    <a:pt x="44196" y="258985"/>
                  </a:lnTo>
                  <a:lnTo>
                    <a:pt x="258985" y="258985"/>
                  </a:lnTo>
                  <a:lnTo>
                    <a:pt x="258985" y="44196"/>
                  </a:lnTo>
                  <a:close/>
                  <a:moveTo>
                    <a:pt x="22098" y="0"/>
                  </a:moveTo>
                  <a:lnTo>
                    <a:pt x="281178" y="0"/>
                  </a:lnTo>
                  <a:cubicBezTo>
                    <a:pt x="293399" y="0"/>
                    <a:pt x="303324" y="9877"/>
                    <a:pt x="303371" y="22098"/>
                  </a:cubicBezTo>
                  <a:lnTo>
                    <a:pt x="303371" y="281178"/>
                  </a:lnTo>
                  <a:cubicBezTo>
                    <a:pt x="303314" y="293399"/>
                    <a:pt x="293399" y="303276"/>
                    <a:pt x="281178" y="303276"/>
                  </a:cubicBezTo>
                  <a:lnTo>
                    <a:pt x="22098" y="303276"/>
                  </a:lnTo>
                  <a:cubicBezTo>
                    <a:pt x="9897" y="303276"/>
                    <a:pt x="0" y="293379"/>
                    <a:pt x="0" y="281178"/>
                  </a:cubicBezTo>
                  <a:lnTo>
                    <a:pt x="0" y="22098"/>
                  </a:lnTo>
                  <a:cubicBezTo>
                    <a:pt x="0" y="9896"/>
                    <a:pt x="9897" y="0"/>
                    <a:pt x="22098" y="0"/>
                  </a:cubicBez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625" name="Freeform: Shape 624">
              <a:extLst>
                <a:ext uri="{FF2B5EF4-FFF2-40B4-BE49-F238E27FC236}">
                  <a16:creationId xmlns:a16="http://schemas.microsoft.com/office/drawing/2014/main" id="{7724343B-069C-E0FA-7866-195F483388F3}"/>
                </a:ext>
              </a:extLst>
            </p:cNvPr>
            <p:cNvSpPr/>
            <p:nvPr/>
          </p:nvSpPr>
          <p:spPr>
            <a:xfrm>
              <a:off x="7674795" y="4443910"/>
              <a:ext cx="66795" cy="67068"/>
            </a:xfrm>
            <a:custGeom>
              <a:avLst/>
              <a:gdLst>
                <a:gd name="connsiteX0" fmla="*/ 44197 w 303371"/>
                <a:gd name="connsiteY0" fmla="*/ 44482 h 304610"/>
                <a:gd name="connsiteX1" fmla="*/ 44197 w 303371"/>
                <a:gd name="connsiteY1" fmla="*/ 260128 h 304610"/>
                <a:gd name="connsiteX2" fmla="*/ 258985 w 303371"/>
                <a:gd name="connsiteY2" fmla="*/ 260128 h 304610"/>
                <a:gd name="connsiteX3" fmla="*/ 258985 w 303371"/>
                <a:gd name="connsiteY3" fmla="*/ 44482 h 304610"/>
                <a:gd name="connsiteX4" fmla="*/ 22098 w 303371"/>
                <a:gd name="connsiteY4" fmla="*/ 0 h 304610"/>
                <a:gd name="connsiteX5" fmla="*/ 281179 w 303371"/>
                <a:gd name="connsiteY5" fmla="*/ 0 h 304610"/>
                <a:gd name="connsiteX6" fmla="*/ 303371 w 303371"/>
                <a:gd name="connsiteY6" fmla="*/ 22289 h 304610"/>
                <a:gd name="connsiteX7" fmla="*/ 303371 w 303371"/>
                <a:gd name="connsiteY7" fmla="*/ 282607 h 304610"/>
                <a:gd name="connsiteX8" fmla="*/ 281179 w 303371"/>
                <a:gd name="connsiteY8" fmla="*/ 304610 h 304610"/>
                <a:gd name="connsiteX9" fmla="*/ 22098 w 303371"/>
                <a:gd name="connsiteY9" fmla="*/ 304610 h 304610"/>
                <a:gd name="connsiteX10" fmla="*/ 0 w 303371"/>
                <a:gd name="connsiteY10" fmla="*/ 282416 h 304610"/>
                <a:gd name="connsiteX11" fmla="*/ 0 w 303371"/>
                <a:gd name="connsiteY11" fmla="*/ 22289 h 304610"/>
                <a:gd name="connsiteX12" fmla="*/ 22098 w 303371"/>
                <a:gd name="connsiteY12" fmla="*/ 0 h 3046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03371" h="304610">
                  <a:moveTo>
                    <a:pt x="44197" y="44482"/>
                  </a:moveTo>
                  <a:lnTo>
                    <a:pt x="44197" y="260128"/>
                  </a:lnTo>
                  <a:lnTo>
                    <a:pt x="258985" y="260128"/>
                  </a:lnTo>
                  <a:lnTo>
                    <a:pt x="258985" y="44482"/>
                  </a:lnTo>
                  <a:close/>
                  <a:moveTo>
                    <a:pt x="22098" y="0"/>
                  </a:moveTo>
                  <a:lnTo>
                    <a:pt x="281179" y="0"/>
                  </a:lnTo>
                  <a:cubicBezTo>
                    <a:pt x="293446" y="48"/>
                    <a:pt x="303371" y="10020"/>
                    <a:pt x="303371" y="22289"/>
                  </a:cubicBezTo>
                  <a:lnTo>
                    <a:pt x="303371" y="282607"/>
                  </a:lnTo>
                  <a:cubicBezTo>
                    <a:pt x="303219" y="294770"/>
                    <a:pt x="293342" y="304562"/>
                    <a:pt x="281179" y="304610"/>
                  </a:cubicBezTo>
                  <a:lnTo>
                    <a:pt x="22098" y="304610"/>
                  </a:lnTo>
                  <a:cubicBezTo>
                    <a:pt x="9878" y="304562"/>
                    <a:pt x="0" y="294637"/>
                    <a:pt x="0" y="282416"/>
                  </a:cubicBezTo>
                  <a:lnTo>
                    <a:pt x="0" y="22289"/>
                  </a:lnTo>
                  <a:cubicBezTo>
                    <a:pt x="-57" y="10030"/>
                    <a:pt x="9840" y="57"/>
                    <a:pt x="22098" y="0"/>
                  </a:cubicBez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626" name="Freeform: Shape 625">
              <a:extLst>
                <a:ext uri="{FF2B5EF4-FFF2-40B4-BE49-F238E27FC236}">
                  <a16:creationId xmlns:a16="http://schemas.microsoft.com/office/drawing/2014/main" id="{19D6EA1C-9762-2572-00D5-6E454348106B}"/>
                </a:ext>
              </a:extLst>
            </p:cNvPr>
            <p:cNvSpPr/>
            <p:nvPr/>
          </p:nvSpPr>
          <p:spPr>
            <a:xfrm>
              <a:off x="7674795" y="4545287"/>
              <a:ext cx="66795" cy="66837"/>
            </a:xfrm>
            <a:custGeom>
              <a:avLst/>
              <a:gdLst>
                <a:gd name="connsiteX0" fmla="*/ 44196 w 303371"/>
                <a:gd name="connsiteY0" fmla="*/ 44481 h 303562"/>
                <a:gd name="connsiteX1" fmla="*/ 44196 w 303371"/>
                <a:gd name="connsiteY1" fmla="*/ 259270 h 303562"/>
                <a:gd name="connsiteX2" fmla="*/ 258985 w 303371"/>
                <a:gd name="connsiteY2" fmla="*/ 259270 h 303562"/>
                <a:gd name="connsiteX3" fmla="*/ 258985 w 303371"/>
                <a:gd name="connsiteY3" fmla="*/ 44481 h 303562"/>
                <a:gd name="connsiteX4" fmla="*/ 22098 w 303371"/>
                <a:gd name="connsiteY4" fmla="*/ 0 h 303562"/>
                <a:gd name="connsiteX5" fmla="*/ 281178 w 303371"/>
                <a:gd name="connsiteY5" fmla="*/ 0 h 303562"/>
                <a:gd name="connsiteX6" fmla="*/ 303371 w 303371"/>
                <a:gd name="connsiteY6" fmla="*/ 22193 h 303562"/>
                <a:gd name="connsiteX7" fmla="*/ 303371 w 303371"/>
                <a:gd name="connsiteY7" fmla="*/ 281273 h 303562"/>
                <a:gd name="connsiteX8" fmla="*/ 281273 w 303371"/>
                <a:gd name="connsiteY8" fmla="*/ 303562 h 303562"/>
                <a:gd name="connsiteX9" fmla="*/ 281178 w 303371"/>
                <a:gd name="connsiteY9" fmla="*/ 303562 h 303562"/>
                <a:gd name="connsiteX10" fmla="*/ 22098 w 303371"/>
                <a:gd name="connsiteY10" fmla="*/ 303562 h 303562"/>
                <a:gd name="connsiteX11" fmla="*/ 0 w 303371"/>
                <a:gd name="connsiteY11" fmla="*/ 281464 h 303562"/>
                <a:gd name="connsiteX12" fmla="*/ 0 w 303371"/>
                <a:gd name="connsiteY12" fmla="*/ 22193 h 303562"/>
                <a:gd name="connsiteX13" fmla="*/ 22098 w 303371"/>
                <a:gd name="connsiteY13" fmla="*/ 0 h 3035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03371" h="303562">
                  <a:moveTo>
                    <a:pt x="44196" y="44481"/>
                  </a:moveTo>
                  <a:lnTo>
                    <a:pt x="44196" y="259270"/>
                  </a:lnTo>
                  <a:lnTo>
                    <a:pt x="258985" y="259270"/>
                  </a:lnTo>
                  <a:lnTo>
                    <a:pt x="258985" y="44481"/>
                  </a:lnTo>
                  <a:close/>
                  <a:moveTo>
                    <a:pt x="22098" y="0"/>
                  </a:moveTo>
                  <a:lnTo>
                    <a:pt x="281178" y="0"/>
                  </a:lnTo>
                  <a:cubicBezTo>
                    <a:pt x="293418" y="47"/>
                    <a:pt x="303324" y="9953"/>
                    <a:pt x="303371" y="22193"/>
                  </a:cubicBezTo>
                  <a:lnTo>
                    <a:pt x="303371" y="281273"/>
                  </a:lnTo>
                  <a:cubicBezTo>
                    <a:pt x="303419" y="293532"/>
                    <a:pt x="293532" y="303504"/>
                    <a:pt x="281273" y="303562"/>
                  </a:cubicBezTo>
                  <a:cubicBezTo>
                    <a:pt x="281245" y="303562"/>
                    <a:pt x="281207" y="303562"/>
                    <a:pt x="281178" y="303562"/>
                  </a:cubicBezTo>
                  <a:lnTo>
                    <a:pt x="22098" y="303562"/>
                  </a:lnTo>
                  <a:cubicBezTo>
                    <a:pt x="9897" y="303562"/>
                    <a:pt x="0" y="293665"/>
                    <a:pt x="0" y="281464"/>
                  </a:cubicBezTo>
                  <a:lnTo>
                    <a:pt x="0" y="22193"/>
                  </a:lnTo>
                  <a:cubicBezTo>
                    <a:pt x="0" y="9973"/>
                    <a:pt x="9877" y="57"/>
                    <a:pt x="22098" y="0"/>
                  </a:cubicBez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627" name="Freeform: Shape 626">
              <a:extLst>
                <a:ext uri="{FF2B5EF4-FFF2-40B4-BE49-F238E27FC236}">
                  <a16:creationId xmlns:a16="http://schemas.microsoft.com/office/drawing/2014/main" id="{E717F23D-D5B8-7414-0F5F-B3A675074B06}"/>
                </a:ext>
              </a:extLst>
            </p:cNvPr>
            <p:cNvSpPr/>
            <p:nvPr/>
          </p:nvSpPr>
          <p:spPr>
            <a:xfrm>
              <a:off x="7674795" y="4646496"/>
              <a:ext cx="66795" cy="67068"/>
            </a:xfrm>
            <a:custGeom>
              <a:avLst/>
              <a:gdLst>
                <a:gd name="connsiteX0" fmla="*/ 44196 w 303371"/>
                <a:gd name="connsiteY0" fmla="*/ 44482 h 304610"/>
                <a:gd name="connsiteX1" fmla="*/ 44196 w 303371"/>
                <a:gd name="connsiteY1" fmla="*/ 260128 h 304610"/>
                <a:gd name="connsiteX2" fmla="*/ 258985 w 303371"/>
                <a:gd name="connsiteY2" fmla="*/ 260128 h 304610"/>
                <a:gd name="connsiteX3" fmla="*/ 258985 w 303371"/>
                <a:gd name="connsiteY3" fmla="*/ 44482 h 304610"/>
                <a:gd name="connsiteX4" fmla="*/ 22098 w 303371"/>
                <a:gd name="connsiteY4" fmla="*/ 0 h 304610"/>
                <a:gd name="connsiteX5" fmla="*/ 281178 w 303371"/>
                <a:gd name="connsiteY5" fmla="*/ 0 h 304610"/>
                <a:gd name="connsiteX6" fmla="*/ 303371 w 303371"/>
                <a:gd name="connsiteY6" fmla="*/ 22193 h 304610"/>
                <a:gd name="connsiteX7" fmla="*/ 303371 w 303371"/>
                <a:gd name="connsiteY7" fmla="*/ 282416 h 304610"/>
                <a:gd name="connsiteX8" fmla="*/ 281178 w 303371"/>
                <a:gd name="connsiteY8" fmla="*/ 304610 h 304610"/>
                <a:gd name="connsiteX9" fmla="*/ 22098 w 303371"/>
                <a:gd name="connsiteY9" fmla="*/ 304610 h 304610"/>
                <a:gd name="connsiteX10" fmla="*/ 0 w 303371"/>
                <a:gd name="connsiteY10" fmla="*/ 282416 h 304610"/>
                <a:gd name="connsiteX11" fmla="*/ 0 w 303371"/>
                <a:gd name="connsiteY11" fmla="*/ 22193 h 304610"/>
                <a:gd name="connsiteX12" fmla="*/ 22098 w 303371"/>
                <a:gd name="connsiteY12" fmla="*/ 0 h 3046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03371" h="304610">
                  <a:moveTo>
                    <a:pt x="44196" y="44482"/>
                  </a:moveTo>
                  <a:lnTo>
                    <a:pt x="44196" y="260128"/>
                  </a:lnTo>
                  <a:lnTo>
                    <a:pt x="258985" y="260128"/>
                  </a:lnTo>
                  <a:lnTo>
                    <a:pt x="258985" y="44482"/>
                  </a:lnTo>
                  <a:close/>
                  <a:moveTo>
                    <a:pt x="22098" y="0"/>
                  </a:moveTo>
                  <a:lnTo>
                    <a:pt x="281178" y="0"/>
                  </a:lnTo>
                  <a:cubicBezTo>
                    <a:pt x="293418" y="48"/>
                    <a:pt x="303324" y="9954"/>
                    <a:pt x="303371" y="22193"/>
                  </a:cubicBezTo>
                  <a:lnTo>
                    <a:pt x="303371" y="282416"/>
                  </a:lnTo>
                  <a:cubicBezTo>
                    <a:pt x="303314" y="294656"/>
                    <a:pt x="293418" y="304562"/>
                    <a:pt x="281178" y="304610"/>
                  </a:cubicBezTo>
                  <a:lnTo>
                    <a:pt x="22098" y="304610"/>
                  </a:lnTo>
                  <a:cubicBezTo>
                    <a:pt x="9877" y="304562"/>
                    <a:pt x="0" y="294637"/>
                    <a:pt x="0" y="282416"/>
                  </a:cubicBezTo>
                  <a:lnTo>
                    <a:pt x="0" y="22193"/>
                  </a:lnTo>
                  <a:cubicBezTo>
                    <a:pt x="0" y="9973"/>
                    <a:pt x="9877" y="57"/>
                    <a:pt x="22098" y="0"/>
                  </a:cubicBez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628" name="Freeform: Shape 627">
              <a:extLst>
                <a:ext uri="{FF2B5EF4-FFF2-40B4-BE49-F238E27FC236}">
                  <a16:creationId xmlns:a16="http://schemas.microsoft.com/office/drawing/2014/main" id="{36FBB13B-F8CF-DDE1-F81B-0F92BD8CA175}"/>
                </a:ext>
              </a:extLst>
            </p:cNvPr>
            <p:cNvSpPr/>
            <p:nvPr/>
          </p:nvSpPr>
          <p:spPr>
            <a:xfrm>
              <a:off x="7757318" y="4595934"/>
              <a:ext cx="66795" cy="66795"/>
            </a:xfrm>
            <a:custGeom>
              <a:avLst/>
              <a:gdLst>
                <a:gd name="connsiteX0" fmla="*/ 44292 w 303372"/>
                <a:gd name="connsiteY0" fmla="*/ 44196 h 303371"/>
                <a:gd name="connsiteX1" fmla="*/ 44292 w 303372"/>
                <a:gd name="connsiteY1" fmla="*/ 258889 h 303371"/>
                <a:gd name="connsiteX2" fmla="*/ 259080 w 303372"/>
                <a:gd name="connsiteY2" fmla="*/ 258889 h 303371"/>
                <a:gd name="connsiteX3" fmla="*/ 259080 w 303372"/>
                <a:gd name="connsiteY3" fmla="*/ 44196 h 303371"/>
                <a:gd name="connsiteX4" fmla="*/ 22194 w 303372"/>
                <a:gd name="connsiteY4" fmla="*/ 0 h 303371"/>
                <a:gd name="connsiteX5" fmla="*/ 281274 w 303372"/>
                <a:gd name="connsiteY5" fmla="*/ 0 h 303371"/>
                <a:gd name="connsiteX6" fmla="*/ 303372 w 303372"/>
                <a:gd name="connsiteY6" fmla="*/ 22098 h 303371"/>
                <a:gd name="connsiteX7" fmla="*/ 303372 w 303372"/>
                <a:gd name="connsiteY7" fmla="*/ 281178 h 303371"/>
                <a:gd name="connsiteX8" fmla="*/ 281274 w 303372"/>
                <a:gd name="connsiteY8" fmla="*/ 303371 h 303371"/>
                <a:gd name="connsiteX9" fmla="*/ 22194 w 303372"/>
                <a:gd name="connsiteY9" fmla="*/ 303371 h 303371"/>
                <a:gd name="connsiteX10" fmla="*/ 0 w 303372"/>
                <a:gd name="connsiteY10" fmla="*/ 281178 h 303371"/>
                <a:gd name="connsiteX11" fmla="*/ 0 w 303372"/>
                <a:gd name="connsiteY11" fmla="*/ 22098 h 303371"/>
                <a:gd name="connsiteX12" fmla="*/ 22194 w 303372"/>
                <a:gd name="connsiteY12" fmla="*/ 0 h 3033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03372" h="303371">
                  <a:moveTo>
                    <a:pt x="44292" y="44196"/>
                  </a:moveTo>
                  <a:lnTo>
                    <a:pt x="44292" y="258889"/>
                  </a:lnTo>
                  <a:lnTo>
                    <a:pt x="259080" y="258889"/>
                  </a:lnTo>
                  <a:lnTo>
                    <a:pt x="259080" y="44196"/>
                  </a:lnTo>
                  <a:close/>
                  <a:moveTo>
                    <a:pt x="22194" y="0"/>
                  </a:moveTo>
                  <a:lnTo>
                    <a:pt x="281274" y="0"/>
                  </a:lnTo>
                  <a:cubicBezTo>
                    <a:pt x="293475" y="0"/>
                    <a:pt x="303372" y="9896"/>
                    <a:pt x="303372" y="22098"/>
                  </a:cubicBezTo>
                  <a:lnTo>
                    <a:pt x="303372" y="281178"/>
                  </a:lnTo>
                  <a:cubicBezTo>
                    <a:pt x="303372" y="293398"/>
                    <a:pt x="293494" y="303314"/>
                    <a:pt x="281274" y="303371"/>
                  </a:cubicBezTo>
                  <a:lnTo>
                    <a:pt x="22194" y="303371"/>
                  </a:lnTo>
                  <a:cubicBezTo>
                    <a:pt x="9954" y="303324"/>
                    <a:pt x="48" y="293417"/>
                    <a:pt x="0" y="281178"/>
                  </a:cubicBezTo>
                  <a:lnTo>
                    <a:pt x="0" y="22098"/>
                  </a:lnTo>
                  <a:cubicBezTo>
                    <a:pt x="48" y="9877"/>
                    <a:pt x="9973" y="0"/>
                    <a:pt x="22194" y="0"/>
                  </a:cubicBez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629" name="Freeform: Shape 628">
              <a:extLst>
                <a:ext uri="{FF2B5EF4-FFF2-40B4-BE49-F238E27FC236}">
                  <a16:creationId xmlns:a16="http://schemas.microsoft.com/office/drawing/2014/main" id="{670E7240-7E87-7A44-4160-7EA1943566DE}"/>
                </a:ext>
              </a:extLst>
            </p:cNvPr>
            <p:cNvSpPr/>
            <p:nvPr/>
          </p:nvSpPr>
          <p:spPr>
            <a:xfrm>
              <a:off x="7757318" y="4494767"/>
              <a:ext cx="66795" cy="66774"/>
            </a:xfrm>
            <a:custGeom>
              <a:avLst/>
              <a:gdLst>
                <a:gd name="connsiteX0" fmla="*/ 44292 w 303372"/>
                <a:gd name="connsiteY0" fmla="*/ 44196 h 303276"/>
                <a:gd name="connsiteX1" fmla="*/ 44292 w 303372"/>
                <a:gd name="connsiteY1" fmla="*/ 258794 h 303276"/>
                <a:gd name="connsiteX2" fmla="*/ 259080 w 303372"/>
                <a:gd name="connsiteY2" fmla="*/ 258794 h 303276"/>
                <a:gd name="connsiteX3" fmla="*/ 259080 w 303372"/>
                <a:gd name="connsiteY3" fmla="*/ 44196 h 303276"/>
                <a:gd name="connsiteX4" fmla="*/ 22194 w 303372"/>
                <a:gd name="connsiteY4" fmla="*/ 0 h 303276"/>
                <a:gd name="connsiteX5" fmla="*/ 281274 w 303372"/>
                <a:gd name="connsiteY5" fmla="*/ 0 h 303276"/>
                <a:gd name="connsiteX6" fmla="*/ 303372 w 303372"/>
                <a:gd name="connsiteY6" fmla="*/ 22098 h 303276"/>
                <a:gd name="connsiteX7" fmla="*/ 303372 w 303372"/>
                <a:gd name="connsiteY7" fmla="*/ 281178 h 303276"/>
                <a:gd name="connsiteX8" fmla="*/ 281274 w 303372"/>
                <a:gd name="connsiteY8" fmla="*/ 303276 h 303276"/>
                <a:gd name="connsiteX9" fmla="*/ 22194 w 303372"/>
                <a:gd name="connsiteY9" fmla="*/ 303276 h 303276"/>
                <a:gd name="connsiteX10" fmla="*/ 0 w 303372"/>
                <a:gd name="connsiteY10" fmla="*/ 281178 h 303276"/>
                <a:gd name="connsiteX11" fmla="*/ 0 w 303372"/>
                <a:gd name="connsiteY11" fmla="*/ 22098 h 303276"/>
                <a:gd name="connsiteX12" fmla="*/ 22194 w 303372"/>
                <a:gd name="connsiteY12" fmla="*/ 0 h 3032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03372" h="303276">
                  <a:moveTo>
                    <a:pt x="44292" y="44196"/>
                  </a:moveTo>
                  <a:lnTo>
                    <a:pt x="44292" y="258794"/>
                  </a:lnTo>
                  <a:lnTo>
                    <a:pt x="259080" y="258794"/>
                  </a:lnTo>
                  <a:lnTo>
                    <a:pt x="259080" y="44196"/>
                  </a:lnTo>
                  <a:close/>
                  <a:moveTo>
                    <a:pt x="22194" y="0"/>
                  </a:moveTo>
                  <a:lnTo>
                    <a:pt x="281274" y="0"/>
                  </a:lnTo>
                  <a:cubicBezTo>
                    <a:pt x="293475" y="0"/>
                    <a:pt x="303372" y="9896"/>
                    <a:pt x="303372" y="22098"/>
                  </a:cubicBezTo>
                  <a:lnTo>
                    <a:pt x="303372" y="281178"/>
                  </a:lnTo>
                  <a:cubicBezTo>
                    <a:pt x="303372" y="293380"/>
                    <a:pt x="293475" y="303276"/>
                    <a:pt x="281274" y="303276"/>
                  </a:cubicBezTo>
                  <a:lnTo>
                    <a:pt x="22194" y="303276"/>
                  </a:lnTo>
                  <a:cubicBezTo>
                    <a:pt x="9973" y="303276"/>
                    <a:pt x="48" y="293399"/>
                    <a:pt x="0" y="281178"/>
                  </a:cubicBezTo>
                  <a:lnTo>
                    <a:pt x="0" y="22098"/>
                  </a:lnTo>
                  <a:cubicBezTo>
                    <a:pt x="48" y="9877"/>
                    <a:pt x="9973" y="0"/>
                    <a:pt x="22194" y="0"/>
                  </a:cubicBez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630" name="Freeform: Shape 629">
              <a:extLst>
                <a:ext uri="{FF2B5EF4-FFF2-40B4-BE49-F238E27FC236}">
                  <a16:creationId xmlns:a16="http://schemas.microsoft.com/office/drawing/2014/main" id="{5157F943-2D47-B34B-137F-412158292D69}"/>
                </a:ext>
              </a:extLst>
            </p:cNvPr>
            <p:cNvSpPr/>
            <p:nvPr/>
          </p:nvSpPr>
          <p:spPr>
            <a:xfrm>
              <a:off x="7757318" y="4393327"/>
              <a:ext cx="66795" cy="66795"/>
            </a:xfrm>
            <a:custGeom>
              <a:avLst/>
              <a:gdLst>
                <a:gd name="connsiteX0" fmla="*/ 44292 w 303372"/>
                <a:gd name="connsiteY0" fmla="*/ 44291 h 303371"/>
                <a:gd name="connsiteX1" fmla="*/ 44292 w 303372"/>
                <a:gd name="connsiteY1" fmla="*/ 259080 h 303371"/>
                <a:gd name="connsiteX2" fmla="*/ 259080 w 303372"/>
                <a:gd name="connsiteY2" fmla="*/ 259080 h 303371"/>
                <a:gd name="connsiteX3" fmla="*/ 259080 w 303372"/>
                <a:gd name="connsiteY3" fmla="*/ 44291 h 303371"/>
                <a:gd name="connsiteX4" fmla="*/ 22194 w 303372"/>
                <a:gd name="connsiteY4" fmla="*/ 0 h 303371"/>
                <a:gd name="connsiteX5" fmla="*/ 281274 w 303372"/>
                <a:gd name="connsiteY5" fmla="*/ 0 h 303371"/>
                <a:gd name="connsiteX6" fmla="*/ 303372 w 303372"/>
                <a:gd name="connsiteY6" fmla="*/ 22193 h 303371"/>
                <a:gd name="connsiteX7" fmla="*/ 303372 w 303372"/>
                <a:gd name="connsiteY7" fmla="*/ 281273 h 303371"/>
                <a:gd name="connsiteX8" fmla="*/ 281274 w 303372"/>
                <a:gd name="connsiteY8" fmla="*/ 303371 h 303371"/>
                <a:gd name="connsiteX9" fmla="*/ 22194 w 303372"/>
                <a:gd name="connsiteY9" fmla="*/ 303371 h 303371"/>
                <a:gd name="connsiteX10" fmla="*/ 0 w 303372"/>
                <a:gd name="connsiteY10" fmla="*/ 281273 h 303371"/>
                <a:gd name="connsiteX11" fmla="*/ 0 w 303372"/>
                <a:gd name="connsiteY11" fmla="*/ 22193 h 303371"/>
                <a:gd name="connsiteX12" fmla="*/ 22194 w 303372"/>
                <a:gd name="connsiteY12" fmla="*/ 0 h 3033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03372" h="303371">
                  <a:moveTo>
                    <a:pt x="44292" y="44291"/>
                  </a:moveTo>
                  <a:lnTo>
                    <a:pt x="44292" y="259080"/>
                  </a:lnTo>
                  <a:lnTo>
                    <a:pt x="259080" y="259080"/>
                  </a:lnTo>
                  <a:lnTo>
                    <a:pt x="259080" y="44291"/>
                  </a:lnTo>
                  <a:close/>
                  <a:moveTo>
                    <a:pt x="22194" y="0"/>
                  </a:moveTo>
                  <a:lnTo>
                    <a:pt x="281274" y="0"/>
                  </a:lnTo>
                  <a:cubicBezTo>
                    <a:pt x="293494" y="48"/>
                    <a:pt x="303372" y="9973"/>
                    <a:pt x="303372" y="22193"/>
                  </a:cubicBezTo>
                  <a:lnTo>
                    <a:pt x="303372" y="281273"/>
                  </a:lnTo>
                  <a:cubicBezTo>
                    <a:pt x="303372" y="293475"/>
                    <a:pt x="293475" y="303371"/>
                    <a:pt x="281274" y="303371"/>
                  </a:cubicBezTo>
                  <a:lnTo>
                    <a:pt x="22194" y="303371"/>
                  </a:lnTo>
                  <a:cubicBezTo>
                    <a:pt x="9973" y="303371"/>
                    <a:pt x="48" y="293494"/>
                    <a:pt x="0" y="281273"/>
                  </a:cubicBezTo>
                  <a:lnTo>
                    <a:pt x="0" y="22193"/>
                  </a:lnTo>
                  <a:cubicBezTo>
                    <a:pt x="48" y="9954"/>
                    <a:pt x="9954" y="48"/>
                    <a:pt x="22194" y="0"/>
                  </a:cubicBez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</p:grpSp>
      <p:sp>
        <p:nvSpPr>
          <p:cNvPr id="631" name="Freeform: Shape 630">
            <a:extLst>
              <a:ext uri="{FF2B5EF4-FFF2-40B4-BE49-F238E27FC236}">
                <a16:creationId xmlns:a16="http://schemas.microsoft.com/office/drawing/2014/main" id="{36FC69C9-3C2D-BB35-62CD-FD9B12A91311}"/>
              </a:ext>
            </a:extLst>
          </p:cNvPr>
          <p:cNvSpPr/>
          <p:nvPr/>
        </p:nvSpPr>
        <p:spPr>
          <a:xfrm>
            <a:off x="7477472" y="4344001"/>
            <a:ext cx="185432" cy="369060"/>
          </a:xfrm>
          <a:custGeom>
            <a:avLst/>
            <a:gdLst>
              <a:gd name="connsiteX0" fmla="*/ 836200 w 842201"/>
              <a:gd name="connsiteY0" fmla="*/ 512826 h 1676210"/>
              <a:gd name="connsiteX1" fmla="*/ 842201 w 842201"/>
              <a:gd name="connsiteY1" fmla="*/ 512826 h 1676210"/>
              <a:gd name="connsiteX2" fmla="*/ 842201 w 842201"/>
              <a:gd name="connsiteY2" fmla="*/ 561213 h 1676210"/>
              <a:gd name="connsiteX3" fmla="*/ 836390 w 842201"/>
              <a:gd name="connsiteY3" fmla="*/ 561213 h 1676210"/>
              <a:gd name="connsiteX4" fmla="*/ 575977 w 842201"/>
              <a:gd name="connsiteY4" fmla="*/ 852392 h 1676210"/>
              <a:gd name="connsiteX5" fmla="*/ 836390 w 842201"/>
              <a:gd name="connsiteY5" fmla="*/ 1112806 h 1676210"/>
              <a:gd name="connsiteX6" fmla="*/ 842201 w 842201"/>
              <a:gd name="connsiteY6" fmla="*/ 1112806 h 1676210"/>
              <a:gd name="connsiteX7" fmla="*/ 842201 w 842201"/>
              <a:gd name="connsiteY7" fmla="*/ 1161383 h 1676210"/>
              <a:gd name="connsiteX8" fmla="*/ 836200 w 842201"/>
              <a:gd name="connsiteY8" fmla="*/ 1161383 h 1676210"/>
              <a:gd name="connsiteX9" fmla="*/ 537404 w 842201"/>
              <a:gd name="connsiteY9" fmla="*/ 963331 h 1676210"/>
              <a:gd name="connsiteX10" fmla="*/ 523516 w 842201"/>
              <a:gd name="connsiteY10" fmla="*/ 918589 h 1676210"/>
              <a:gd name="connsiteX11" fmla="*/ 519611 w 842201"/>
              <a:gd name="connsiteY11" fmla="*/ 906738 h 1676210"/>
              <a:gd name="connsiteX12" fmla="*/ 519472 w 842201"/>
              <a:gd name="connsiteY12" fmla="*/ 905562 h 1676210"/>
              <a:gd name="connsiteX13" fmla="*/ 518509 w 842201"/>
              <a:gd name="connsiteY13" fmla="*/ 902460 h 1676210"/>
              <a:gd name="connsiteX14" fmla="*/ 515075 w 842201"/>
              <a:gd name="connsiteY14" fmla="*/ 868395 h 1676210"/>
              <a:gd name="connsiteX15" fmla="*/ 512036 w 842201"/>
              <a:gd name="connsiteY15" fmla="*/ 842705 h 1676210"/>
              <a:gd name="connsiteX16" fmla="*/ 512240 w 842201"/>
              <a:gd name="connsiteY16" fmla="*/ 840265 h 1676210"/>
              <a:gd name="connsiteX17" fmla="*/ 511921 w 842201"/>
              <a:gd name="connsiteY17" fmla="*/ 837105 h 1676210"/>
              <a:gd name="connsiteX18" fmla="*/ 515286 w 842201"/>
              <a:gd name="connsiteY18" fmla="*/ 803733 h 1676210"/>
              <a:gd name="connsiteX19" fmla="*/ 517394 w 842201"/>
              <a:gd name="connsiteY19" fmla="*/ 778448 h 1676210"/>
              <a:gd name="connsiteX20" fmla="*/ 518067 w 842201"/>
              <a:gd name="connsiteY20" fmla="*/ 776137 h 1676210"/>
              <a:gd name="connsiteX21" fmla="*/ 518510 w 842201"/>
              <a:gd name="connsiteY21" fmla="*/ 771750 h 1676210"/>
              <a:gd name="connsiteX22" fmla="*/ 532273 w 842201"/>
              <a:gd name="connsiteY22" fmla="*/ 727412 h 1676210"/>
              <a:gd name="connsiteX23" fmla="*/ 534906 w 842201"/>
              <a:gd name="connsiteY23" fmla="*/ 718383 h 1676210"/>
              <a:gd name="connsiteX24" fmla="*/ 535328 w 842201"/>
              <a:gd name="connsiteY24" fmla="*/ 717572 h 1676210"/>
              <a:gd name="connsiteX25" fmla="*/ 537405 w 842201"/>
              <a:gd name="connsiteY25" fmla="*/ 710879 h 1676210"/>
              <a:gd name="connsiteX26" fmla="*/ 836200 w 842201"/>
              <a:gd name="connsiteY26" fmla="*/ 512826 h 1676210"/>
              <a:gd name="connsiteX27" fmla="*/ 813055 w 842201"/>
              <a:gd name="connsiteY27" fmla="*/ 0 h 1676210"/>
              <a:gd name="connsiteX28" fmla="*/ 822580 w 842201"/>
              <a:gd name="connsiteY28" fmla="*/ 0 h 1676210"/>
              <a:gd name="connsiteX29" fmla="*/ 822580 w 842201"/>
              <a:gd name="connsiteY29" fmla="*/ 48387 h 1676210"/>
              <a:gd name="connsiteX30" fmla="*/ 813055 w 842201"/>
              <a:gd name="connsiteY30" fmla="*/ 48387 h 1676210"/>
              <a:gd name="connsiteX31" fmla="*/ 734854 w 842201"/>
              <a:gd name="connsiteY31" fmla="*/ 126778 h 1676210"/>
              <a:gd name="connsiteX32" fmla="*/ 734854 w 842201"/>
              <a:gd name="connsiteY32" fmla="*/ 263271 h 1676210"/>
              <a:gd name="connsiteX33" fmla="*/ 715804 w 842201"/>
              <a:gd name="connsiteY33" fmla="*/ 286893 h 1676210"/>
              <a:gd name="connsiteX34" fmla="*/ 535401 w 842201"/>
              <a:gd name="connsiteY34" fmla="*/ 361569 h 1676210"/>
              <a:gd name="connsiteX35" fmla="*/ 506254 w 842201"/>
              <a:gd name="connsiteY35" fmla="*/ 358616 h 1676210"/>
              <a:gd name="connsiteX36" fmla="*/ 405384 w 842201"/>
              <a:gd name="connsiteY36" fmla="*/ 257651 h 1676210"/>
              <a:gd name="connsiteX37" fmla="*/ 294418 w 842201"/>
              <a:gd name="connsiteY37" fmla="*/ 257651 h 1676210"/>
              <a:gd name="connsiteX38" fmla="*/ 258223 w 842201"/>
              <a:gd name="connsiteY38" fmla="*/ 294037 h 1676210"/>
              <a:gd name="connsiteX39" fmla="*/ 258223 w 842201"/>
              <a:gd name="connsiteY39" fmla="*/ 404812 h 1676210"/>
              <a:gd name="connsiteX40" fmla="*/ 359093 w 842201"/>
              <a:gd name="connsiteY40" fmla="*/ 505587 h 1676210"/>
              <a:gd name="connsiteX41" fmla="*/ 362427 w 842201"/>
              <a:gd name="connsiteY41" fmla="*/ 534733 h 1676210"/>
              <a:gd name="connsiteX42" fmla="*/ 287751 w 842201"/>
              <a:gd name="connsiteY42" fmla="*/ 715232 h 1676210"/>
              <a:gd name="connsiteX43" fmla="*/ 264129 w 842201"/>
              <a:gd name="connsiteY43" fmla="*/ 734282 h 1676210"/>
              <a:gd name="connsiteX44" fmla="*/ 127349 w 842201"/>
              <a:gd name="connsiteY44" fmla="*/ 734282 h 1676210"/>
              <a:gd name="connsiteX45" fmla="*/ 49054 w 842201"/>
              <a:gd name="connsiteY45" fmla="*/ 812578 h 1676210"/>
              <a:gd name="connsiteX46" fmla="*/ 49054 w 842201"/>
              <a:gd name="connsiteY46" fmla="*/ 863918 h 1676210"/>
              <a:gd name="connsiteX47" fmla="*/ 127540 w 842201"/>
              <a:gd name="connsiteY47" fmla="*/ 942308 h 1676210"/>
              <a:gd name="connsiteX48" fmla="*/ 264224 w 842201"/>
              <a:gd name="connsiteY48" fmla="*/ 942308 h 1676210"/>
              <a:gd name="connsiteX49" fmla="*/ 287846 w 842201"/>
              <a:gd name="connsiteY49" fmla="*/ 961358 h 1676210"/>
              <a:gd name="connsiteX50" fmla="*/ 362427 w 842201"/>
              <a:gd name="connsiteY50" fmla="*/ 1142333 h 1676210"/>
              <a:gd name="connsiteX51" fmla="*/ 359379 w 842201"/>
              <a:gd name="connsiteY51" fmla="*/ 1171480 h 1676210"/>
              <a:gd name="connsiteX52" fmla="*/ 258604 w 842201"/>
              <a:gd name="connsiteY52" fmla="*/ 1271778 h 1676210"/>
              <a:gd name="connsiteX53" fmla="*/ 258604 w 842201"/>
              <a:gd name="connsiteY53" fmla="*/ 1382839 h 1676210"/>
              <a:gd name="connsiteX54" fmla="*/ 295085 w 842201"/>
              <a:gd name="connsiteY54" fmla="*/ 1419225 h 1676210"/>
              <a:gd name="connsiteX55" fmla="*/ 405861 w 842201"/>
              <a:gd name="connsiteY55" fmla="*/ 1419225 h 1676210"/>
              <a:gd name="connsiteX56" fmla="*/ 506254 w 842201"/>
              <a:gd name="connsiteY56" fmla="*/ 1318260 h 1676210"/>
              <a:gd name="connsiteX57" fmla="*/ 534829 w 842201"/>
              <a:gd name="connsiteY57" fmla="*/ 1314640 h 1676210"/>
              <a:gd name="connsiteX58" fmla="*/ 715804 w 842201"/>
              <a:gd name="connsiteY58" fmla="*/ 1389602 h 1676210"/>
              <a:gd name="connsiteX59" fmla="*/ 734854 w 842201"/>
              <a:gd name="connsiteY59" fmla="*/ 1413129 h 1676210"/>
              <a:gd name="connsiteX60" fmla="*/ 734854 w 842201"/>
              <a:gd name="connsiteY60" fmla="*/ 1549718 h 1676210"/>
              <a:gd name="connsiteX61" fmla="*/ 813055 w 842201"/>
              <a:gd name="connsiteY61" fmla="*/ 1628013 h 1676210"/>
              <a:gd name="connsiteX62" fmla="*/ 822580 w 842201"/>
              <a:gd name="connsiteY62" fmla="*/ 1628013 h 1676210"/>
              <a:gd name="connsiteX63" fmla="*/ 822865 w 842201"/>
              <a:gd name="connsiteY63" fmla="*/ 1676210 h 1676210"/>
              <a:gd name="connsiteX64" fmla="*/ 813340 w 842201"/>
              <a:gd name="connsiteY64" fmla="*/ 1676210 h 1676210"/>
              <a:gd name="connsiteX65" fmla="*/ 686753 w 842201"/>
              <a:gd name="connsiteY65" fmla="*/ 1549718 h 1676210"/>
              <a:gd name="connsiteX66" fmla="*/ 686753 w 842201"/>
              <a:gd name="connsiteY66" fmla="*/ 1432370 h 1676210"/>
              <a:gd name="connsiteX67" fmla="*/ 672942 w 842201"/>
              <a:gd name="connsiteY67" fmla="*/ 1428560 h 1676210"/>
              <a:gd name="connsiteX68" fmla="*/ 539592 w 842201"/>
              <a:gd name="connsiteY68" fmla="*/ 1372933 h 1676210"/>
              <a:gd name="connsiteX69" fmla="*/ 527114 w 842201"/>
              <a:gd name="connsiteY69" fmla="*/ 1365885 h 1676210"/>
              <a:gd name="connsiteX70" fmla="*/ 439103 w 842201"/>
              <a:gd name="connsiteY70" fmla="*/ 1454277 h 1676210"/>
              <a:gd name="connsiteX71" fmla="*/ 259747 w 842201"/>
              <a:gd name="connsiteY71" fmla="*/ 1454277 h 1676210"/>
              <a:gd name="connsiteX72" fmla="*/ 223362 w 842201"/>
              <a:gd name="connsiteY72" fmla="*/ 1417701 h 1676210"/>
              <a:gd name="connsiteX73" fmla="*/ 222866 w 842201"/>
              <a:gd name="connsiteY73" fmla="*/ 1239221 h 1676210"/>
              <a:gd name="connsiteX74" fmla="*/ 223362 w 842201"/>
              <a:gd name="connsiteY74" fmla="*/ 1238726 h 1676210"/>
              <a:gd name="connsiteX75" fmla="*/ 310420 w 842201"/>
              <a:gd name="connsiteY75" fmla="*/ 1151668 h 1676210"/>
              <a:gd name="connsiteX76" fmla="*/ 303467 w 842201"/>
              <a:gd name="connsiteY76" fmla="*/ 1139095 h 1676210"/>
              <a:gd name="connsiteX77" fmla="*/ 247746 w 842201"/>
              <a:gd name="connsiteY77" fmla="*/ 1004792 h 1676210"/>
              <a:gd name="connsiteX78" fmla="*/ 243936 w 842201"/>
              <a:gd name="connsiteY78" fmla="*/ 991171 h 1676210"/>
              <a:gd name="connsiteX79" fmla="*/ 126683 w 842201"/>
              <a:gd name="connsiteY79" fmla="*/ 991171 h 1676210"/>
              <a:gd name="connsiteX80" fmla="*/ 0 w 842201"/>
              <a:gd name="connsiteY80" fmla="*/ 864489 h 1676210"/>
              <a:gd name="connsiteX81" fmla="*/ 0 w 842201"/>
              <a:gd name="connsiteY81" fmla="*/ 813054 h 1676210"/>
              <a:gd name="connsiteX82" fmla="*/ 126683 w 842201"/>
              <a:gd name="connsiteY82" fmla="*/ 686371 h 1676210"/>
              <a:gd name="connsiteX83" fmla="*/ 243936 w 842201"/>
              <a:gd name="connsiteY83" fmla="*/ 686371 h 1676210"/>
              <a:gd name="connsiteX84" fmla="*/ 247746 w 842201"/>
              <a:gd name="connsiteY84" fmla="*/ 672751 h 1676210"/>
              <a:gd name="connsiteX85" fmla="*/ 303467 w 842201"/>
              <a:gd name="connsiteY85" fmla="*/ 538353 h 1676210"/>
              <a:gd name="connsiteX86" fmla="*/ 310420 w 842201"/>
              <a:gd name="connsiteY86" fmla="*/ 525875 h 1676210"/>
              <a:gd name="connsiteX87" fmla="*/ 223266 w 842201"/>
              <a:gd name="connsiteY87" fmla="*/ 438817 h 1676210"/>
              <a:gd name="connsiteX88" fmla="*/ 222990 w 842201"/>
              <a:gd name="connsiteY88" fmla="*/ 259928 h 1676210"/>
              <a:gd name="connsiteX89" fmla="*/ 223266 w 842201"/>
              <a:gd name="connsiteY89" fmla="*/ 259652 h 1676210"/>
              <a:gd name="connsiteX90" fmla="*/ 259462 w 842201"/>
              <a:gd name="connsiteY90" fmla="*/ 223456 h 1676210"/>
              <a:gd name="connsiteX91" fmla="*/ 438722 w 842201"/>
              <a:gd name="connsiteY91" fmla="*/ 223456 h 1676210"/>
              <a:gd name="connsiteX92" fmla="*/ 525780 w 842201"/>
              <a:gd name="connsiteY92" fmla="*/ 310610 h 1676210"/>
              <a:gd name="connsiteX93" fmla="*/ 538353 w 842201"/>
              <a:gd name="connsiteY93" fmla="*/ 303657 h 1676210"/>
              <a:gd name="connsiteX94" fmla="*/ 672846 w 842201"/>
              <a:gd name="connsiteY94" fmla="*/ 248031 h 1676210"/>
              <a:gd name="connsiteX95" fmla="*/ 686467 w 842201"/>
              <a:gd name="connsiteY95" fmla="*/ 244126 h 1676210"/>
              <a:gd name="connsiteX96" fmla="*/ 686467 w 842201"/>
              <a:gd name="connsiteY96" fmla="*/ 126778 h 1676210"/>
              <a:gd name="connsiteX97" fmla="*/ 813055 w 842201"/>
              <a:gd name="connsiteY97" fmla="*/ 0 h 16762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</a:cxnLst>
            <a:rect l="l" t="t" r="r" b="b"/>
            <a:pathLst>
              <a:path w="842201" h="1676210">
                <a:moveTo>
                  <a:pt x="836200" y="512826"/>
                </a:moveTo>
                <a:lnTo>
                  <a:pt x="842201" y="512826"/>
                </a:lnTo>
                <a:lnTo>
                  <a:pt x="842201" y="561213"/>
                </a:lnTo>
                <a:lnTo>
                  <a:pt x="836390" y="561213"/>
                </a:lnTo>
                <a:cubicBezTo>
                  <a:pt x="684076" y="569709"/>
                  <a:pt x="567481" y="700078"/>
                  <a:pt x="575977" y="852392"/>
                </a:cubicBezTo>
                <a:cubicBezTo>
                  <a:pt x="583807" y="992838"/>
                  <a:pt x="695944" y="1104976"/>
                  <a:pt x="836390" y="1112806"/>
                </a:cubicBezTo>
                <a:lnTo>
                  <a:pt x="842201" y="1112806"/>
                </a:lnTo>
                <a:lnTo>
                  <a:pt x="842201" y="1161383"/>
                </a:lnTo>
                <a:lnTo>
                  <a:pt x="836200" y="1161383"/>
                </a:lnTo>
                <a:cubicBezTo>
                  <a:pt x="701876" y="1161383"/>
                  <a:pt x="586631" y="1079719"/>
                  <a:pt x="537404" y="963331"/>
                </a:cubicBezTo>
                <a:lnTo>
                  <a:pt x="523516" y="918589"/>
                </a:lnTo>
                <a:lnTo>
                  <a:pt x="519611" y="906738"/>
                </a:lnTo>
                <a:lnTo>
                  <a:pt x="519472" y="905562"/>
                </a:lnTo>
                <a:lnTo>
                  <a:pt x="518509" y="902460"/>
                </a:lnTo>
                <a:lnTo>
                  <a:pt x="515075" y="868395"/>
                </a:lnTo>
                <a:lnTo>
                  <a:pt x="512036" y="842705"/>
                </a:lnTo>
                <a:lnTo>
                  <a:pt x="512240" y="840265"/>
                </a:lnTo>
                <a:lnTo>
                  <a:pt x="511921" y="837105"/>
                </a:lnTo>
                <a:lnTo>
                  <a:pt x="515286" y="803733"/>
                </a:lnTo>
                <a:lnTo>
                  <a:pt x="517394" y="778448"/>
                </a:lnTo>
                <a:lnTo>
                  <a:pt x="518067" y="776137"/>
                </a:lnTo>
                <a:lnTo>
                  <a:pt x="518510" y="771750"/>
                </a:lnTo>
                <a:lnTo>
                  <a:pt x="532273" y="727412"/>
                </a:lnTo>
                <a:lnTo>
                  <a:pt x="534906" y="718383"/>
                </a:lnTo>
                <a:lnTo>
                  <a:pt x="535328" y="717572"/>
                </a:lnTo>
                <a:lnTo>
                  <a:pt x="537405" y="710879"/>
                </a:lnTo>
                <a:cubicBezTo>
                  <a:pt x="586635" y="594490"/>
                  <a:pt x="701884" y="512826"/>
                  <a:pt x="836200" y="512826"/>
                </a:cubicBezTo>
                <a:close/>
                <a:moveTo>
                  <a:pt x="813055" y="0"/>
                </a:moveTo>
                <a:lnTo>
                  <a:pt x="822580" y="0"/>
                </a:lnTo>
                <a:lnTo>
                  <a:pt x="822580" y="48387"/>
                </a:lnTo>
                <a:lnTo>
                  <a:pt x="813055" y="48387"/>
                </a:lnTo>
                <a:cubicBezTo>
                  <a:pt x="769878" y="48596"/>
                  <a:pt x="734959" y="83601"/>
                  <a:pt x="734854" y="126778"/>
                </a:cubicBezTo>
                <a:lnTo>
                  <a:pt x="734854" y="263271"/>
                </a:lnTo>
                <a:cubicBezTo>
                  <a:pt x="734959" y="274682"/>
                  <a:pt x="726977" y="284578"/>
                  <a:pt x="715804" y="286893"/>
                </a:cubicBezTo>
                <a:cubicBezTo>
                  <a:pt x="651787" y="301123"/>
                  <a:pt x="590741" y="326393"/>
                  <a:pt x="535401" y="361569"/>
                </a:cubicBezTo>
                <a:cubicBezTo>
                  <a:pt x="526066" y="366989"/>
                  <a:pt x="514312" y="365798"/>
                  <a:pt x="506254" y="358616"/>
                </a:cubicBezTo>
                <a:lnTo>
                  <a:pt x="405384" y="257651"/>
                </a:lnTo>
                <a:cubicBezTo>
                  <a:pt x="374590" y="227381"/>
                  <a:pt x="325212" y="227381"/>
                  <a:pt x="294418" y="257651"/>
                </a:cubicBezTo>
                <a:lnTo>
                  <a:pt x="258223" y="294037"/>
                </a:lnTo>
                <a:cubicBezTo>
                  <a:pt x="227924" y="324745"/>
                  <a:pt x="227924" y="374104"/>
                  <a:pt x="258223" y="404812"/>
                </a:cubicBezTo>
                <a:lnTo>
                  <a:pt x="359093" y="505587"/>
                </a:lnTo>
                <a:cubicBezTo>
                  <a:pt x="366484" y="513512"/>
                  <a:pt x="367837" y="525342"/>
                  <a:pt x="362427" y="534733"/>
                </a:cubicBezTo>
                <a:cubicBezTo>
                  <a:pt x="327070" y="590017"/>
                  <a:pt x="301781" y="651129"/>
                  <a:pt x="287751" y="715232"/>
                </a:cubicBezTo>
                <a:cubicBezTo>
                  <a:pt x="285236" y="726281"/>
                  <a:pt x="275464" y="734168"/>
                  <a:pt x="264129" y="734282"/>
                </a:cubicBezTo>
                <a:lnTo>
                  <a:pt x="127349" y="734282"/>
                </a:lnTo>
                <a:cubicBezTo>
                  <a:pt x="84221" y="734539"/>
                  <a:pt x="49311" y="769448"/>
                  <a:pt x="49054" y="812578"/>
                </a:cubicBezTo>
                <a:lnTo>
                  <a:pt x="49054" y="863918"/>
                </a:lnTo>
                <a:cubicBezTo>
                  <a:pt x="49159" y="907209"/>
                  <a:pt x="84249" y="942260"/>
                  <a:pt x="127540" y="942308"/>
                </a:cubicBezTo>
                <a:lnTo>
                  <a:pt x="264224" y="942308"/>
                </a:lnTo>
                <a:cubicBezTo>
                  <a:pt x="275625" y="942242"/>
                  <a:pt x="285493" y="950204"/>
                  <a:pt x="287846" y="961358"/>
                </a:cubicBezTo>
                <a:cubicBezTo>
                  <a:pt x="301810" y="1025614"/>
                  <a:pt x="327060" y="1086888"/>
                  <a:pt x="362427" y="1142333"/>
                </a:cubicBezTo>
                <a:cubicBezTo>
                  <a:pt x="367913" y="1151668"/>
                  <a:pt x="366684" y="1163488"/>
                  <a:pt x="359379" y="1171480"/>
                </a:cubicBezTo>
                <a:lnTo>
                  <a:pt x="258604" y="1271778"/>
                </a:lnTo>
                <a:cubicBezTo>
                  <a:pt x="228324" y="1302610"/>
                  <a:pt x="228324" y="1352007"/>
                  <a:pt x="258604" y="1382839"/>
                </a:cubicBezTo>
                <a:lnTo>
                  <a:pt x="295085" y="1419225"/>
                </a:lnTo>
                <a:cubicBezTo>
                  <a:pt x="325965" y="1449114"/>
                  <a:pt x="374990" y="1449114"/>
                  <a:pt x="405861" y="1419225"/>
                </a:cubicBezTo>
                <a:lnTo>
                  <a:pt x="506254" y="1318260"/>
                </a:lnTo>
                <a:cubicBezTo>
                  <a:pt x="514103" y="1311230"/>
                  <a:pt x="525476" y="1309792"/>
                  <a:pt x="534829" y="1314640"/>
                </a:cubicBezTo>
                <a:cubicBezTo>
                  <a:pt x="590274" y="1350093"/>
                  <a:pt x="651539" y="1375467"/>
                  <a:pt x="715804" y="1389602"/>
                </a:cubicBezTo>
                <a:cubicBezTo>
                  <a:pt x="726863" y="1392041"/>
                  <a:pt x="734769" y="1401804"/>
                  <a:pt x="734854" y="1413129"/>
                </a:cubicBezTo>
                <a:lnTo>
                  <a:pt x="734854" y="1549718"/>
                </a:lnTo>
                <a:cubicBezTo>
                  <a:pt x="734959" y="1592875"/>
                  <a:pt x="769897" y="1627860"/>
                  <a:pt x="813055" y="1628013"/>
                </a:cubicBezTo>
                <a:lnTo>
                  <a:pt x="822580" y="1628013"/>
                </a:lnTo>
                <a:lnTo>
                  <a:pt x="822865" y="1676210"/>
                </a:lnTo>
                <a:lnTo>
                  <a:pt x="813340" y="1676210"/>
                </a:lnTo>
                <a:cubicBezTo>
                  <a:pt x="743484" y="1676162"/>
                  <a:pt x="686858" y="1619574"/>
                  <a:pt x="686753" y="1549718"/>
                </a:cubicBezTo>
                <a:lnTo>
                  <a:pt x="686753" y="1432370"/>
                </a:lnTo>
                <a:lnTo>
                  <a:pt x="672942" y="1428560"/>
                </a:lnTo>
                <a:cubicBezTo>
                  <a:pt x="626450" y="1415367"/>
                  <a:pt x="581683" y="1396689"/>
                  <a:pt x="539592" y="1372933"/>
                </a:cubicBezTo>
                <a:lnTo>
                  <a:pt x="527114" y="1365885"/>
                </a:lnTo>
                <a:lnTo>
                  <a:pt x="439103" y="1454277"/>
                </a:lnTo>
                <a:cubicBezTo>
                  <a:pt x="388754" y="1501778"/>
                  <a:pt x="310096" y="1501778"/>
                  <a:pt x="259747" y="1454277"/>
                </a:cubicBezTo>
                <a:lnTo>
                  <a:pt x="223362" y="1417701"/>
                </a:lnTo>
                <a:cubicBezTo>
                  <a:pt x="173937" y="1368552"/>
                  <a:pt x="173717" y="1288637"/>
                  <a:pt x="222866" y="1239221"/>
                </a:cubicBezTo>
                <a:cubicBezTo>
                  <a:pt x="223028" y="1239050"/>
                  <a:pt x="223200" y="1238888"/>
                  <a:pt x="223362" y="1238726"/>
                </a:cubicBezTo>
                <a:lnTo>
                  <a:pt x="310420" y="1151668"/>
                </a:lnTo>
                <a:lnTo>
                  <a:pt x="303467" y="1139095"/>
                </a:lnTo>
                <a:cubicBezTo>
                  <a:pt x="279502" y="1096766"/>
                  <a:pt x="260785" y="1051665"/>
                  <a:pt x="247746" y="1004792"/>
                </a:cubicBezTo>
                <a:lnTo>
                  <a:pt x="243936" y="991171"/>
                </a:lnTo>
                <a:lnTo>
                  <a:pt x="126683" y="991171"/>
                </a:lnTo>
                <a:cubicBezTo>
                  <a:pt x="56808" y="990962"/>
                  <a:pt x="210" y="934364"/>
                  <a:pt x="0" y="864489"/>
                </a:cubicBezTo>
                <a:lnTo>
                  <a:pt x="0" y="813054"/>
                </a:lnTo>
                <a:cubicBezTo>
                  <a:pt x="210" y="743178"/>
                  <a:pt x="56808" y="686581"/>
                  <a:pt x="126683" y="686371"/>
                </a:cubicBezTo>
                <a:lnTo>
                  <a:pt x="243936" y="686371"/>
                </a:lnTo>
                <a:lnTo>
                  <a:pt x="247746" y="672751"/>
                </a:lnTo>
                <a:cubicBezTo>
                  <a:pt x="260842" y="625869"/>
                  <a:pt x="279549" y="580749"/>
                  <a:pt x="303467" y="538353"/>
                </a:cubicBezTo>
                <a:lnTo>
                  <a:pt x="310420" y="525875"/>
                </a:lnTo>
                <a:lnTo>
                  <a:pt x="223266" y="438817"/>
                </a:lnTo>
                <a:cubicBezTo>
                  <a:pt x="173794" y="389496"/>
                  <a:pt x="173670" y="309410"/>
                  <a:pt x="222990" y="259928"/>
                </a:cubicBezTo>
                <a:cubicBezTo>
                  <a:pt x="223076" y="259842"/>
                  <a:pt x="223171" y="259747"/>
                  <a:pt x="223266" y="259652"/>
                </a:cubicBezTo>
                <a:lnTo>
                  <a:pt x="259462" y="223456"/>
                </a:lnTo>
                <a:cubicBezTo>
                  <a:pt x="309763" y="175917"/>
                  <a:pt x="388421" y="175917"/>
                  <a:pt x="438722" y="223456"/>
                </a:cubicBezTo>
                <a:lnTo>
                  <a:pt x="525780" y="310610"/>
                </a:lnTo>
                <a:lnTo>
                  <a:pt x="538353" y="303657"/>
                </a:lnTo>
                <a:cubicBezTo>
                  <a:pt x="580835" y="279873"/>
                  <a:pt x="625974" y="261204"/>
                  <a:pt x="672846" y="248031"/>
                </a:cubicBezTo>
                <a:lnTo>
                  <a:pt x="686467" y="244126"/>
                </a:lnTo>
                <a:lnTo>
                  <a:pt x="686467" y="126778"/>
                </a:lnTo>
                <a:cubicBezTo>
                  <a:pt x="686619" y="56902"/>
                  <a:pt x="743179" y="257"/>
                  <a:pt x="813055" y="0"/>
                </a:cubicBezTo>
                <a:close/>
              </a:path>
            </a:pathLst>
          </a:custGeom>
          <a:solidFill>
            <a:schemeClr val="bg2">
              <a:lumMod val="50000"/>
            </a:scheme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995516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1A6A978A-E65B-DC67-6740-5ABB58A2C05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789339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5" imgH="426" progId="TCLayout.ActiveDocument.1">
                  <p:embed/>
                </p:oleObj>
              </mc:Choice>
              <mc:Fallback>
                <p:oleObj name="think-cell Folie" r:id="rId4" imgW="425" imgH="42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1A6A978A-E65B-DC67-6740-5ABB58A2C05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6BBEB53-973A-69D6-041B-57D44C4055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GB" noProof="0" dirty="0"/>
              <a:t>Munich Re Group – Company Presentation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FDFE70A-A851-830B-B70B-96D334E362F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5420651-90FE-4BE4-92BC-F930EBA0AD92}" type="datetime4">
              <a:rPr lang="en-GB" noProof="0" smtClean="0"/>
              <a:pPr/>
              <a:t>14 March 2024</a:t>
            </a:fld>
            <a:endParaRPr lang="en-GB" noProof="0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22DF4CD-80EB-9199-B899-9FA2E996762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94909C6-CC71-4962-A18E-AF0515723D95}" type="slidenum">
              <a:rPr lang="en-GB" noProof="0" smtClean="0"/>
              <a:pPr/>
              <a:t>3</a:t>
            </a:fld>
            <a:endParaRPr lang="en-GB" noProof="0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108A6CCA-BB9F-76AC-65A3-74B18AD4E3B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2000" y="252000"/>
            <a:ext cx="6748875" cy="576000"/>
          </a:xfrm>
        </p:spPr>
        <p:txBody>
          <a:bodyPr vert="horz"/>
          <a:lstStyle/>
          <a:p>
            <a:r>
              <a:rPr lang="en-GB" dirty="0">
                <a:solidFill>
                  <a:schemeClr val="bg2"/>
                </a:solidFill>
              </a:rPr>
              <a:t>Munich Re Group</a:t>
            </a:r>
            <a:br>
              <a:rPr lang="en-GB" dirty="0"/>
            </a:br>
            <a:r>
              <a:rPr lang="en-GB" sz="1400" dirty="0">
                <a:solidFill>
                  <a:schemeClr val="tx2"/>
                </a:solidFill>
              </a:rPr>
              <a:t>Strong business fields under one roof</a:t>
            </a:r>
            <a:endParaRPr lang="en-GB" sz="1600" dirty="0">
              <a:solidFill>
                <a:schemeClr val="tx2"/>
              </a:solidFill>
            </a:endParaRPr>
          </a:p>
        </p:txBody>
      </p:sp>
      <p:pic>
        <p:nvPicPr>
          <p:cNvPr id="35" name="Grafik 28">
            <a:extLst>
              <a:ext uri="{FF2B5EF4-FFF2-40B4-BE49-F238E27FC236}">
                <a16:creationId xmlns:a16="http://schemas.microsoft.com/office/drawing/2014/main" id="{0F35601A-8D80-999B-B08C-2FF71B698083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659114" y="3067475"/>
            <a:ext cx="200112" cy="196506"/>
          </a:xfrm>
          <a:prstGeom prst="rect">
            <a:avLst/>
          </a:prstGeom>
        </p:spPr>
      </p:pic>
      <p:pic>
        <p:nvPicPr>
          <p:cNvPr id="36" name="Picture 35">
            <a:extLst>
              <a:ext uri="{FF2B5EF4-FFF2-40B4-BE49-F238E27FC236}">
                <a16:creationId xmlns:a16="http://schemas.microsoft.com/office/drawing/2014/main" id="{2D3D6F9F-8C40-8CBA-048B-B641EA79E0A2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r="43941"/>
          <a:stretch/>
        </p:blipFill>
        <p:spPr>
          <a:xfrm>
            <a:off x="3916320" y="3092825"/>
            <a:ext cx="486621" cy="145805"/>
          </a:xfrm>
          <a:prstGeom prst="rect">
            <a:avLst/>
          </a:prstGeom>
        </p:spPr>
      </p:pic>
      <p:pic>
        <p:nvPicPr>
          <p:cNvPr id="37" name="Picture 36" descr="A close up of a logo&#10;&#10;Description automatically generated">
            <a:extLst>
              <a:ext uri="{FF2B5EF4-FFF2-40B4-BE49-F238E27FC236}">
                <a16:creationId xmlns:a16="http://schemas.microsoft.com/office/drawing/2014/main" id="{34C77593-2485-4AFF-B7F7-4D2F6B30A9F1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905283" y="3100952"/>
            <a:ext cx="511608" cy="129551"/>
          </a:xfrm>
          <a:prstGeom prst="rect">
            <a:avLst/>
          </a:prstGeom>
        </p:spPr>
      </p:pic>
      <p:pic>
        <p:nvPicPr>
          <p:cNvPr id="38" name="Picture 37">
            <a:extLst>
              <a:ext uri="{FF2B5EF4-FFF2-40B4-BE49-F238E27FC236}">
                <a16:creationId xmlns:a16="http://schemas.microsoft.com/office/drawing/2014/main" id="{C126E034-7A9E-5782-4AB7-57122C212913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5115398" y="3099192"/>
            <a:ext cx="533713" cy="133072"/>
          </a:xfrm>
          <a:prstGeom prst="rect">
            <a:avLst/>
          </a:prstGeom>
        </p:spPr>
      </p:pic>
      <p:pic>
        <p:nvPicPr>
          <p:cNvPr id="39" name="Picture 38" descr="A picture containing text, sign, clipart&#10;&#10;Description automatically generated">
            <a:extLst>
              <a:ext uri="{FF2B5EF4-FFF2-40B4-BE49-F238E27FC236}">
                <a16:creationId xmlns:a16="http://schemas.microsoft.com/office/drawing/2014/main" id="{AF081010-3408-9F54-311A-22DA00BA0C6F}"/>
              </a:ext>
            </a:extLst>
          </p:cNvPr>
          <p:cNvPicPr>
            <a:picLocks noChangeAspect="1"/>
          </p:cNvPicPr>
          <p:nvPr/>
        </p:nvPicPr>
        <p:blipFill rotWithShape="1">
          <a:blip r:embed="rId10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10578" t="16874" r="10578" b="17438"/>
          <a:stretch/>
        </p:blipFill>
        <p:spPr>
          <a:xfrm>
            <a:off x="6673063" y="3071238"/>
            <a:ext cx="360627" cy="188982"/>
          </a:xfrm>
          <a:prstGeom prst="rect">
            <a:avLst/>
          </a:prstGeom>
        </p:spPr>
      </p:pic>
      <p:pic>
        <p:nvPicPr>
          <p:cNvPr id="41" name="Grafik 54">
            <a:extLst>
              <a:ext uri="{FF2B5EF4-FFF2-40B4-BE49-F238E27FC236}">
                <a16:creationId xmlns:a16="http://schemas.microsoft.com/office/drawing/2014/main" id="{0AD9102D-9D45-DC52-384E-E54AC5A76F7E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16320" y="4259587"/>
            <a:ext cx="474841" cy="141433"/>
          </a:xfrm>
          <a:prstGeom prst="rect">
            <a:avLst/>
          </a:prstGeom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E6C05AB3-F406-5DE3-BE82-FAA837033893}"/>
              </a:ext>
            </a:extLst>
          </p:cNvPr>
          <p:cNvSpPr/>
          <p:nvPr/>
        </p:nvSpPr>
        <p:spPr>
          <a:xfrm>
            <a:off x="2364994" y="1471460"/>
            <a:ext cx="1378969" cy="1059391"/>
          </a:xfrm>
          <a:prstGeom prst="rect">
            <a:avLst/>
          </a:prstGeom>
          <a:solidFill>
            <a:schemeClr val="accent1">
              <a:alpha val="10000"/>
            </a:schemeClr>
          </a:solidFill>
          <a:ln w="9525" cap="flat" cmpd="sng" algn="ctr">
            <a:noFill/>
            <a:prstDash val="solid"/>
            <a:miter lim="800000"/>
          </a:ln>
          <a:effectLst/>
        </p:spPr>
        <p:txBody>
          <a:bodyPr wrap="square" lIns="108000" tIns="144000" rIns="108000" bIns="144000" rtlCol="0" anchor="ctr" anchorCtr="0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t>Reinsurance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D6D26AD6-B099-DE64-682E-2079D04D7292}"/>
              </a:ext>
            </a:extLst>
          </p:cNvPr>
          <p:cNvSpPr/>
          <p:nvPr/>
        </p:nvSpPr>
        <p:spPr>
          <a:xfrm>
            <a:off x="2364995" y="2636034"/>
            <a:ext cx="1378967" cy="1059391"/>
          </a:xfrm>
          <a:prstGeom prst="rect">
            <a:avLst/>
          </a:prstGeom>
          <a:solidFill>
            <a:srgbClr val="BF1528">
              <a:alpha val="10000"/>
            </a:srgbClr>
          </a:solidFill>
          <a:ln w="9525" cap="flat" cmpd="sng" algn="ctr">
            <a:noFill/>
            <a:prstDash val="solid"/>
            <a:miter lim="800000"/>
          </a:ln>
          <a:effectLst/>
        </p:spPr>
        <p:txBody>
          <a:bodyPr wrap="square" lIns="108000" tIns="144000" rIns="108000" bIns="144000" rtlCol="0" anchor="ctr" anchorCtr="0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 dirty="0">
                <a:ln>
                  <a:noFill/>
                </a:ln>
                <a:solidFill>
                  <a:srgbClr val="BF1528"/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t>Primary</a:t>
            </a:r>
            <a:br>
              <a:rPr kumimoji="0" lang="en-GB" sz="1400" b="0" i="0" u="none" strike="noStrike" kern="0" cap="none" spc="0" normalizeH="0" baseline="0" noProof="0" dirty="0">
                <a:ln>
                  <a:noFill/>
                </a:ln>
                <a:solidFill>
                  <a:srgbClr val="BF1528"/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</a:br>
            <a:r>
              <a:rPr kumimoji="0" lang="en-GB" sz="1400" b="0" i="0" u="none" strike="noStrike" kern="0" cap="none" spc="0" normalizeH="0" baseline="0" noProof="0" dirty="0">
                <a:ln>
                  <a:noFill/>
                </a:ln>
                <a:solidFill>
                  <a:srgbClr val="BF1528"/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t>insurance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08391C42-583F-26C0-2D31-D1DA1F624126}"/>
              </a:ext>
            </a:extLst>
          </p:cNvPr>
          <p:cNvSpPr/>
          <p:nvPr/>
        </p:nvSpPr>
        <p:spPr>
          <a:xfrm>
            <a:off x="2364993" y="3800608"/>
            <a:ext cx="1378967" cy="1059391"/>
          </a:xfrm>
          <a:prstGeom prst="rect">
            <a:avLst/>
          </a:prstGeom>
          <a:solidFill>
            <a:srgbClr val="9CB40D">
              <a:alpha val="10000"/>
            </a:srgbClr>
          </a:solidFill>
          <a:ln w="9525" cap="flat" cmpd="sng" algn="ctr">
            <a:noFill/>
            <a:prstDash val="solid"/>
            <a:miter lim="800000"/>
          </a:ln>
          <a:effectLst/>
        </p:spPr>
        <p:txBody>
          <a:bodyPr wrap="square" lIns="108000" tIns="144000" rIns="108000" bIns="144000" rtlCol="0" anchor="ctr" anchorCtr="0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 dirty="0">
                <a:ln>
                  <a:noFill/>
                </a:ln>
                <a:solidFill>
                  <a:srgbClr val="9CB40D"/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t>Asset</a:t>
            </a:r>
            <a:br>
              <a:rPr kumimoji="0" lang="en-GB" sz="1400" b="0" i="0" u="none" strike="noStrike" kern="0" cap="none" spc="0" normalizeH="0" baseline="0" noProof="0" dirty="0">
                <a:ln>
                  <a:noFill/>
                </a:ln>
                <a:solidFill>
                  <a:srgbClr val="9CB40D"/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</a:br>
            <a:r>
              <a:rPr kumimoji="0" lang="en-GB" sz="1400" b="0" i="0" u="none" strike="noStrike" kern="0" cap="none" spc="0" normalizeH="0" baseline="0" noProof="0" dirty="0">
                <a:ln>
                  <a:noFill/>
                </a:ln>
                <a:solidFill>
                  <a:srgbClr val="9CB40D"/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t>Management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D0343470-6A86-91FD-C941-E3E98EB443F7}"/>
              </a:ext>
            </a:extLst>
          </p:cNvPr>
          <p:cNvCxnSpPr>
            <a:cxnSpLocks/>
          </p:cNvCxnSpPr>
          <p:nvPr/>
        </p:nvCxnSpPr>
        <p:spPr>
          <a:xfrm>
            <a:off x="3743963" y="1471460"/>
            <a:ext cx="0" cy="1059391"/>
          </a:xfrm>
          <a:prstGeom prst="line">
            <a:avLst/>
          </a:prstGeom>
          <a:noFill/>
          <a:ln w="19050" cap="flat" cmpd="sng" algn="ctr">
            <a:solidFill>
              <a:schemeClr val="accent1"/>
            </a:solidFill>
            <a:prstDash val="solid"/>
            <a:miter lim="800000"/>
          </a:ln>
          <a:effectLst/>
        </p:spPr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FA0CA955-3CE1-1B70-C409-F1A913778C0A}"/>
              </a:ext>
            </a:extLst>
          </p:cNvPr>
          <p:cNvCxnSpPr>
            <a:cxnSpLocks/>
          </p:cNvCxnSpPr>
          <p:nvPr/>
        </p:nvCxnSpPr>
        <p:spPr>
          <a:xfrm>
            <a:off x="3743963" y="2636034"/>
            <a:ext cx="0" cy="1059391"/>
          </a:xfrm>
          <a:prstGeom prst="line">
            <a:avLst/>
          </a:prstGeom>
          <a:noFill/>
          <a:ln w="19050" cap="flat" cmpd="sng" algn="ctr">
            <a:solidFill>
              <a:srgbClr val="BF1528"/>
            </a:solidFill>
            <a:prstDash val="solid"/>
            <a:miter lim="800000"/>
          </a:ln>
          <a:effectLst/>
        </p:spPr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5D3E3804-A33E-A738-7C4A-76F0D2276057}"/>
              </a:ext>
            </a:extLst>
          </p:cNvPr>
          <p:cNvCxnSpPr>
            <a:cxnSpLocks/>
          </p:cNvCxnSpPr>
          <p:nvPr/>
        </p:nvCxnSpPr>
        <p:spPr>
          <a:xfrm>
            <a:off x="3743963" y="3800608"/>
            <a:ext cx="0" cy="1059391"/>
          </a:xfrm>
          <a:prstGeom prst="line">
            <a:avLst/>
          </a:prstGeom>
          <a:noFill/>
          <a:ln w="19050" cap="flat" cmpd="sng" algn="ctr">
            <a:solidFill>
              <a:srgbClr val="9CB40D"/>
            </a:solidFill>
            <a:prstDash val="solid"/>
            <a:miter lim="800000"/>
          </a:ln>
          <a:effectLst/>
        </p:spPr>
      </p:cxnSp>
      <p:sp>
        <p:nvSpPr>
          <p:cNvPr id="19" name="Rectangle 9">
            <a:extLst>
              <a:ext uri="{FF2B5EF4-FFF2-40B4-BE49-F238E27FC236}">
                <a16:creationId xmlns:a16="http://schemas.microsoft.com/office/drawing/2014/main" id="{93A6D21E-B799-AF2F-C357-157D2934BFC9}"/>
              </a:ext>
            </a:extLst>
          </p:cNvPr>
          <p:cNvSpPr/>
          <p:nvPr/>
        </p:nvSpPr>
        <p:spPr>
          <a:xfrm>
            <a:off x="3017044" y="1241792"/>
            <a:ext cx="726916" cy="133545"/>
          </a:xfrm>
          <a:custGeom>
            <a:avLst/>
            <a:gdLst>
              <a:gd name="connsiteX0" fmla="*/ 0 w 2539463"/>
              <a:gd name="connsiteY0" fmla="*/ 0 h 112892"/>
              <a:gd name="connsiteX1" fmla="*/ 2539463 w 2539463"/>
              <a:gd name="connsiteY1" fmla="*/ 0 h 112892"/>
              <a:gd name="connsiteX2" fmla="*/ 2539463 w 2539463"/>
              <a:gd name="connsiteY2" fmla="*/ 112892 h 112892"/>
              <a:gd name="connsiteX3" fmla="*/ 0 w 2539463"/>
              <a:gd name="connsiteY3" fmla="*/ 112892 h 112892"/>
              <a:gd name="connsiteX4" fmla="*/ 0 w 2539463"/>
              <a:gd name="connsiteY4" fmla="*/ 0 h 112892"/>
              <a:gd name="connsiteX0" fmla="*/ 0 w 2539463"/>
              <a:gd name="connsiteY0" fmla="*/ 112892 h 204332"/>
              <a:gd name="connsiteX1" fmla="*/ 0 w 2539463"/>
              <a:gd name="connsiteY1" fmla="*/ 0 h 204332"/>
              <a:gd name="connsiteX2" fmla="*/ 2539463 w 2539463"/>
              <a:gd name="connsiteY2" fmla="*/ 0 h 204332"/>
              <a:gd name="connsiteX3" fmla="*/ 2539463 w 2539463"/>
              <a:gd name="connsiteY3" fmla="*/ 112892 h 204332"/>
              <a:gd name="connsiteX4" fmla="*/ 91440 w 2539463"/>
              <a:gd name="connsiteY4" fmla="*/ 204332 h 204332"/>
              <a:gd name="connsiteX0" fmla="*/ 0 w 2539463"/>
              <a:gd name="connsiteY0" fmla="*/ 112892 h 112892"/>
              <a:gd name="connsiteX1" fmla="*/ 0 w 2539463"/>
              <a:gd name="connsiteY1" fmla="*/ 0 h 112892"/>
              <a:gd name="connsiteX2" fmla="*/ 2539463 w 2539463"/>
              <a:gd name="connsiteY2" fmla="*/ 0 h 112892"/>
              <a:gd name="connsiteX3" fmla="*/ 2539463 w 2539463"/>
              <a:gd name="connsiteY3" fmla="*/ 112892 h 112892"/>
              <a:gd name="connsiteX0" fmla="*/ 0 w 2539463"/>
              <a:gd name="connsiteY0" fmla="*/ 0 h 112892"/>
              <a:gd name="connsiteX1" fmla="*/ 2539463 w 2539463"/>
              <a:gd name="connsiteY1" fmla="*/ 0 h 112892"/>
              <a:gd name="connsiteX2" fmla="*/ 2539463 w 2539463"/>
              <a:gd name="connsiteY2" fmla="*/ 112892 h 1128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539463" h="112892">
                <a:moveTo>
                  <a:pt x="0" y="0"/>
                </a:moveTo>
                <a:lnTo>
                  <a:pt x="2539463" y="0"/>
                </a:lnTo>
                <a:lnTo>
                  <a:pt x="2539463" y="112892"/>
                </a:lnTo>
              </a:path>
            </a:pathLst>
          </a:custGeom>
          <a:noFill/>
          <a:ln w="19050" cap="flat" cmpd="sng" algn="ctr">
            <a:solidFill>
              <a:schemeClr val="bg2"/>
            </a:solidFill>
            <a:prstDash val="solid"/>
            <a:miter lim="800000"/>
          </a:ln>
          <a:effectLst/>
        </p:spPr>
        <p:txBody>
          <a:bodyPr rtlCol="0" anchor="ctr" anchorCtr="0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Arial Unicode MS"/>
              <a:cs typeface="Arial"/>
            </a:endParaRPr>
          </a:p>
        </p:txBody>
      </p:sp>
      <p:sp>
        <p:nvSpPr>
          <p:cNvPr id="20" name="Textfeld 21">
            <a:extLst>
              <a:ext uri="{FF2B5EF4-FFF2-40B4-BE49-F238E27FC236}">
                <a16:creationId xmlns:a16="http://schemas.microsoft.com/office/drawing/2014/main" id="{A587CE04-38C2-E64D-2B8C-ACE2C028E489}"/>
              </a:ext>
            </a:extLst>
          </p:cNvPr>
          <p:cNvSpPr txBox="1"/>
          <p:nvPr/>
        </p:nvSpPr>
        <p:spPr>
          <a:xfrm>
            <a:off x="2364994" y="1115999"/>
            <a:ext cx="570669" cy="251586"/>
          </a:xfrm>
          <a:prstGeom prst="rect">
            <a:avLst/>
          </a:prstGeom>
          <a:noFill/>
          <a:effectLst/>
        </p:spPr>
        <p:txBody>
          <a:bodyPr wrap="none" lIns="0" tIns="0" rIns="0" bIns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0" i="0" u="none" strike="noStrike" kern="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</a:rPr>
              <a:t>Group</a:t>
            </a:r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52736384-3722-C084-C6AA-ABF0B37BDEBF}"/>
              </a:ext>
            </a:extLst>
          </p:cNvPr>
          <p:cNvCxnSpPr>
            <a:cxnSpLocks/>
          </p:cNvCxnSpPr>
          <p:nvPr/>
        </p:nvCxnSpPr>
        <p:spPr>
          <a:xfrm>
            <a:off x="2364993" y="2583443"/>
            <a:ext cx="6758381" cy="0"/>
          </a:xfrm>
          <a:prstGeom prst="line">
            <a:avLst/>
          </a:prstGeom>
          <a:noFill/>
          <a:ln w="6350" cap="flat" cmpd="sng" algn="ctr">
            <a:solidFill>
              <a:srgbClr val="4D4E53">
                <a:lumMod val="40000"/>
                <a:lumOff val="60000"/>
              </a:srgbClr>
            </a:solidFill>
            <a:prstDash val="solid"/>
            <a:miter lim="800000"/>
          </a:ln>
          <a:effectLst/>
        </p:spPr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9CB7EA18-93D1-B8F5-8001-5A1A21FCD739}"/>
              </a:ext>
            </a:extLst>
          </p:cNvPr>
          <p:cNvCxnSpPr>
            <a:cxnSpLocks/>
          </p:cNvCxnSpPr>
          <p:nvPr/>
        </p:nvCxnSpPr>
        <p:spPr>
          <a:xfrm>
            <a:off x="2364993" y="3748017"/>
            <a:ext cx="6758381" cy="0"/>
          </a:xfrm>
          <a:prstGeom prst="line">
            <a:avLst/>
          </a:prstGeom>
          <a:noFill/>
          <a:ln w="6350" cap="flat" cmpd="sng" algn="ctr">
            <a:solidFill>
              <a:srgbClr val="4D4E53">
                <a:lumMod val="40000"/>
                <a:lumOff val="60000"/>
              </a:srgbClr>
            </a:solidFill>
            <a:prstDash val="solid"/>
            <a:miter lim="800000"/>
          </a:ln>
          <a:effectLst/>
        </p:spPr>
      </p:cxnSp>
      <p:sp>
        <p:nvSpPr>
          <p:cNvPr id="42" name="TextBox 41">
            <a:extLst>
              <a:ext uri="{FF2B5EF4-FFF2-40B4-BE49-F238E27FC236}">
                <a16:creationId xmlns:a16="http://schemas.microsoft.com/office/drawing/2014/main" id="{BE276CDA-432B-3BDE-B7E3-187488A87368}"/>
              </a:ext>
            </a:extLst>
          </p:cNvPr>
          <p:cNvSpPr txBox="1"/>
          <p:nvPr/>
        </p:nvSpPr>
        <p:spPr>
          <a:xfrm>
            <a:off x="0" y="1115999"/>
            <a:ext cx="2259972" cy="4027498"/>
          </a:xfrm>
          <a:prstGeom prst="rect">
            <a:avLst/>
          </a:prstGeom>
          <a:solidFill>
            <a:schemeClr val="bg2">
              <a:alpha val="10000"/>
            </a:schemeClr>
          </a:solidFill>
          <a:effectLst/>
        </p:spPr>
        <p:txBody>
          <a:bodyPr wrap="square" lIns="252000" tIns="108000" rIns="108000" bIns="108000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</a:rPr>
              <a:t>Munich Re Group </a:t>
            </a:r>
            <a:br>
              <a:rPr kumimoji="0" lang="en-GB" sz="1400" b="0" i="0" u="none" strike="noStrike" kern="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</a:rPr>
            </a:br>
            <a:r>
              <a:rPr kumimoji="0" lang="en-GB" sz="1400" b="0" i="0" u="none" strike="noStrike" kern="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</a:rPr>
              <a:t>exists of well-known brands standing for extraordinary expertise in reinsurance, </a:t>
            </a:r>
            <a:br>
              <a:rPr kumimoji="0" lang="en-GB" sz="1400" b="0" i="0" u="none" strike="noStrike" kern="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</a:rPr>
            </a:br>
            <a:r>
              <a:rPr kumimoji="0" lang="en-GB" sz="1400" b="0" i="0" u="none" strike="noStrike" kern="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</a:rPr>
              <a:t>primary insurance and asset management.</a:t>
            </a:r>
          </a:p>
        </p:txBody>
      </p:sp>
      <p:pic>
        <p:nvPicPr>
          <p:cNvPr id="24" name="Picture 23">
            <a:extLst>
              <a:ext uri="{FF2B5EF4-FFF2-40B4-BE49-F238E27FC236}">
                <a16:creationId xmlns:a16="http://schemas.microsoft.com/office/drawing/2014/main" id="{C5A870F1-0920-3693-A5E2-74A27A285280}"/>
              </a:ext>
            </a:extLst>
          </p:cNvPr>
          <p:cNvPicPr>
            <a:picLocks noChangeAspect="1"/>
          </p:cNvPicPr>
          <p:nvPr/>
        </p:nvPicPr>
        <p:blipFill>
          <a:blip r:embed="rId1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t="13818" b="13115"/>
          <a:stretch>
            <a:fillRect/>
          </a:stretch>
        </p:blipFill>
        <p:spPr>
          <a:xfrm>
            <a:off x="5007616" y="1725637"/>
            <a:ext cx="314762" cy="198294"/>
          </a:xfrm>
          <a:custGeom>
            <a:avLst/>
            <a:gdLst>
              <a:gd name="connsiteX0" fmla="*/ 0 w 418545"/>
              <a:gd name="connsiteY0" fmla="*/ 0 h 263675"/>
              <a:gd name="connsiteX1" fmla="*/ 418545 w 418545"/>
              <a:gd name="connsiteY1" fmla="*/ 0 h 263675"/>
              <a:gd name="connsiteX2" fmla="*/ 418545 w 418545"/>
              <a:gd name="connsiteY2" fmla="*/ 263675 h 263675"/>
              <a:gd name="connsiteX3" fmla="*/ 0 w 418545"/>
              <a:gd name="connsiteY3" fmla="*/ 263675 h 2636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18545" h="263675">
                <a:moveTo>
                  <a:pt x="0" y="0"/>
                </a:moveTo>
                <a:lnTo>
                  <a:pt x="418545" y="0"/>
                </a:lnTo>
                <a:lnTo>
                  <a:pt x="418545" y="263675"/>
                </a:lnTo>
                <a:lnTo>
                  <a:pt x="0" y="263675"/>
                </a:lnTo>
                <a:close/>
              </a:path>
            </a:pathLst>
          </a:custGeom>
        </p:spPr>
      </p:pic>
      <p:pic>
        <p:nvPicPr>
          <p:cNvPr id="25" name="Grafik 45">
            <a:extLst>
              <a:ext uri="{FF2B5EF4-FFF2-40B4-BE49-F238E27FC236}">
                <a16:creationId xmlns:a16="http://schemas.microsoft.com/office/drawing/2014/main" id="{A8706743-CFD3-B01C-43C6-3770F26FF05D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37382" y="1736693"/>
            <a:ext cx="629705" cy="176183"/>
          </a:xfrm>
          <a:prstGeom prst="rect">
            <a:avLst/>
          </a:prstGeom>
          <a:ln>
            <a:noFill/>
          </a:ln>
        </p:spPr>
      </p:pic>
      <p:pic>
        <p:nvPicPr>
          <p:cNvPr id="26" name="Grafik 46">
            <a:extLst>
              <a:ext uri="{FF2B5EF4-FFF2-40B4-BE49-F238E27FC236}">
                <a16:creationId xmlns:a16="http://schemas.microsoft.com/office/drawing/2014/main" id="{6EF767A7-BCB9-58AE-E94E-57FD6DF0A0AE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82091" y="1736693"/>
            <a:ext cx="451592" cy="176183"/>
          </a:xfrm>
          <a:prstGeom prst="rect">
            <a:avLst/>
          </a:prstGeom>
        </p:spPr>
      </p:pic>
      <p:sp>
        <p:nvSpPr>
          <p:cNvPr id="27" name="Graphic 10">
            <a:extLst>
              <a:ext uri="{FF2B5EF4-FFF2-40B4-BE49-F238E27FC236}">
                <a16:creationId xmlns:a16="http://schemas.microsoft.com/office/drawing/2014/main" id="{095D8B3E-6A93-3A90-EF25-99DFF74506F6}"/>
              </a:ext>
            </a:extLst>
          </p:cNvPr>
          <p:cNvSpPr>
            <a:spLocks noChangeAspect="1"/>
          </p:cNvSpPr>
          <p:nvPr/>
        </p:nvSpPr>
        <p:spPr>
          <a:xfrm>
            <a:off x="7348687" y="1755693"/>
            <a:ext cx="419752" cy="138183"/>
          </a:xfrm>
          <a:custGeom>
            <a:avLst/>
            <a:gdLst>
              <a:gd name="connsiteX0" fmla="*/ 1403350 w 1451027"/>
              <a:gd name="connsiteY0" fmla="*/ 308596 h 477678"/>
              <a:gd name="connsiteX1" fmla="*/ 1408748 w 1451027"/>
              <a:gd name="connsiteY1" fmla="*/ 308596 h 477678"/>
              <a:gd name="connsiteX2" fmla="*/ 1408748 w 1451027"/>
              <a:gd name="connsiteY2" fmla="*/ 285207 h 477678"/>
              <a:gd name="connsiteX3" fmla="*/ 1417743 w 1451027"/>
              <a:gd name="connsiteY3" fmla="*/ 285207 h 477678"/>
              <a:gd name="connsiteX4" fmla="*/ 1417743 w 1451027"/>
              <a:gd name="connsiteY4" fmla="*/ 280709 h 477678"/>
              <a:gd name="connsiteX5" fmla="*/ 1395254 w 1451027"/>
              <a:gd name="connsiteY5" fmla="*/ 280709 h 477678"/>
              <a:gd name="connsiteX6" fmla="*/ 1395254 w 1451027"/>
              <a:gd name="connsiteY6" fmla="*/ 285207 h 477678"/>
              <a:gd name="connsiteX7" fmla="*/ 1404250 w 1451027"/>
              <a:gd name="connsiteY7" fmla="*/ 285207 h 477678"/>
              <a:gd name="connsiteX8" fmla="*/ 1404250 w 1451027"/>
              <a:gd name="connsiteY8" fmla="*/ 308596 h 477678"/>
              <a:gd name="connsiteX9" fmla="*/ 1403350 w 1451027"/>
              <a:gd name="connsiteY9" fmla="*/ 308596 h 477678"/>
              <a:gd name="connsiteX10" fmla="*/ 1422241 w 1451027"/>
              <a:gd name="connsiteY10" fmla="*/ 308596 h 477678"/>
              <a:gd name="connsiteX11" fmla="*/ 1426739 w 1451027"/>
              <a:gd name="connsiteY11" fmla="*/ 308596 h 477678"/>
              <a:gd name="connsiteX12" fmla="*/ 1426739 w 1451027"/>
              <a:gd name="connsiteY12" fmla="*/ 287006 h 477678"/>
              <a:gd name="connsiteX13" fmla="*/ 1426739 w 1451027"/>
              <a:gd name="connsiteY13" fmla="*/ 287006 h 477678"/>
              <a:gd name="connsiteX14" fmla="*/ 1428538 w 1451027"/>
              <a:gd name="connsiteY14" fmla="*/ 292404 h 477678"/>
              <a:gd name="connsiteX15" fmla="*/ 1433936 w 1451027"/>
              <a:gd name="connsiteY15" fmla="*/ 308596 h 477678"/>
              <a:gd name="connsiteX16" fmla="*/ 1438434 w 1451027"/>
              <a:gd name="connsiteY16" fmla="*/ 308596 h 477678"/>
              <a:gd name="connsiteX17" fmla="*/ 1443831 w 1451027"/>
              <a:gd name="connsiteY17" fmla="*/ 292404 h 477678"/>
              <a:gd name="connsiteX18" fmla="*/ 1445630 w 1451027"/>
              <a:gd name="connsiteY18" fmla="*/ 287006 h 477678"/>
              <a:gd name="connsiteX19" fmla="*/ 1445630 w 1451027"/>
              <a:gd name="connsiteY19" fmla="*/ 287006 h 477678"/>
              <a:gd name="connsiteX20" fmla="*/ 1445630 w 1451027"/>
              <a:gd name="connsiteY20" fmla="*/ 308596 h 477678"/>
              <a:gd name="connsiteX21" fmla="*/ 1451028 w 1451027"/>
              <a:gd name="connsiteY21" fmla="*/ 308596 h 477678"/>
              <a:gd name="connsiteX22" fmla="*/ 1451028 w 1451027"/>
              <a:gd name="connsiteY22" fmla="*/ 280709 h 477678"/>
              <a:gd name="connsiteX23" fmla="*/ 1442932 w 1451027"/>
              <a:gd name="connsiteY23" fmla="*/ 280709 h 477678"/>
              <a:gd name="connsiteX24" fmla="*/ 1437534 w 1451027"/>
              <a:gd name="connsiteY24" fmla="*/ 296902 h 477678"/>
              <a:gd name="connsiteX25" fmla="*/ 1436635 w 1451027"/>
              <a:gd name="connsiteY25" fmla="*/ 301399 h 477678"/>
              <a:gd name="connsiteX26" fmla="*/ 1436635 w 1451027"/>
              <a:gd name="connsiteY26" fmla="*/ 301399 h 477678"/>
              <a:gd name="connsiteX27" fmla="*/ 1435735 w 1451027"/>
              <a:gd name="connsiteY27" fmla="*/ 296902 h 477678"/>
              <a:gd name="connsiteX28" fmla="*/ 1430338 w 1451027"/>
              <a:gd name="connsiteY28" fmla="*/ 280709 h 477678"/>
              <a:gd name="connsiteX29" fmla="*/ 1422241 w 1451027"/>
              <a:gd name="connsiteY29" fmla="*/ 280709 h 477678"/>
              <a:gd name="connsiteX30" fmla="*/ 1422241 w 1451027"/>
              <a:gd name="connsiteY30" fmla="*/ 308596 h 477678"/>
              <a:gd name="connsiteX31" fmla="*/ 1370965 w 1451027"/>
              <a:gd name="connsiteY31" fmla="*/ 330186 h 477678"/>
              <a:gd name="connsiteX32" fmla="*/ 1305296 w 1451027"/>
              <a:gd name="connsiteY32" fmla="*/ 274412 h 477678"/>
              <a:gd name="connsiteX33" fmla="*/ 1238726 w 1451027"/>
              <a:gd name="connsiteY33" fmla="*/ 329287 h 477678"/>
              <a:gd name="connsiteX34" fmla="*/ 1290902 w 1451027"/>
              <a:gd name="connsiteY34" fmla="*/ 383262 h 477678"/>
              <a:gd name="connsiteX35" fmla="*/ 1318789 w 1451027"/>
              <a:gd name="connsiteY35" fmla="*/ 387759 h 477678"/>
              <a:gd name="connsiteX36" fmla="*/ 1352074 w 1451027"/>
              <a:gd name="connsiteY36" fmla="*/ 421044 h 477678"/>
              <a:gd name="connsiteX37" fmla="*/ 1305296 w 1451027"/>
              <a:gd name="connsiteY37" fmla="*/ 458827 h 477678"/>
              <a:gd name="connsiteX38" fmla="*/ 1255818 w 1451027"/>
              <a:gd name="connsiteY38" fmla="*/ 418345 h 477678"/>
              <a:gd name="connsiteX39" fmla="*/ 1230630 w 1451027"/>
              <a:gd name="connsiteY39" fmla="*/ 418345 h 477678"/>
              <a:gd name="connsiteX40" fmla="*/ 1304396 w 1451027"/>
              <a:gd name="connsiteY40" fmla="*/ 477718 h 477678"/>
              <a:gd name="connsiteX41" fmla="*/ 1376363 w 1451027"/>
              <a:gd name="connsiteY41" fmla="*/ 418345 h 477678"/>
              <a:gd name="connsiteX42" fmla="*/ 1324187 w 1451027"/>
              <a:gd name="connsiteY42" fmla="*/ 364370 h 477678"/>
              <a:gd name="connsiteX43" fmla="*/ 1296300 w 1451027"/>
              <a:gd name="connsiteY43" fmla="*/ 359872 h 477678"/>
              <a:gd name="connsiteX44" fmla="*/ 1263015 w 1451027"/>
              <a:gd name="connsiteY44" fmla="*/ 327487 h 477678"/>
              <a:gd name="connsiteX45" fmla="*/ 1304396 w 1451027"/>
              <a:gd name="connsiteY45" fmla="*/ 293303 h 477678"/>
              <a:gd name="connsiteX46" fmla="*/ 1345777 w 1451027"/>
              <a:gd name="connsiteY46" fmla="*/ 330186 h 477678"/>
              <a:gd name="connsiteX47" fmla="*/ 1370965 w 1451027"/>
              <a:gd name="connsiteY47" fmla="*/ 330186 h 477678"/>
              <a:gd name="connsiteX48" fmla="*/ 1089395 w 1451027"/>
              <a:gd name="connsiteY48" fmla="*/ 371567 h 477678"/>
              <a:gd name="connsiteX49" fmla="*/ 1089395 w 1451027"/>
              <a:gd name="connsiteY49" fmla="*/ 296902 h 477678"/>
              <a:gd name="connsiteX50" fmla="*/ 1136174 w 1451027"/>
              <a:gd name="connsiteY50" fmla="*/ 296902 h 477678"/>
              <a:gd name="connsiteX51" fmla="*/ 1175755 w 1451027"/>
              <a:gd name="connsiteY51" fmla="*/ 332885 h 477678"/>
              <a:gd name="connsiteX52" fmla="*/ 1135274 w 1451027"/>
              <a:gd name="connsiteY52" fmla="*/ 371567 h 477678"/>
              <a:gd name="connsiteX53" fmla="*/ 1089395 w 1451027"/>
              <a:gd name="connsiteY53" fmla="*/ 371567 h 477678"/>
              <a:gd name="connsiteX54" fmla="*/ 1173956 w 1451027"/>
              <a:gd name="connsiteY54" fmla="*/ 475019 h 477678"/>
              <a:gd name="connsiteX55" fmla="*/ 1201843 w 1451027"/>
              <a:gd name="connsiteY55" fmla="*/ 475019 h 477678"/>
              <a:gd name="connsiteX56" fmla="*/ 1157764 w 1451027"/>
              <a:gd name="connsiteY56" fmla="*/ 387759 h 477678"/>
              <a:gd name="connsiteX57" fmla="*/ 1157764 w 1451027"/>
              <a:gd name="connsiteY57" fmla="*/ 386860 h 477678"/>
              <a:gd name="connsiteX58" fmla="*/ 1200044 w 1451027"/>
              <a:gd name="connsiteY58" fmla="*/ 331985 h 477678"/>
              <a:gd name="connsiteX59" fmla="*/ 1174856 w 1451027"/>
              <a:gd name="connsiteY59" fmla="*/ 285207 h 477678"/>
              <a:gd name="connsiteX60" fmla="*/ 1137073 w 1451027"/>
              <a:gd name="connsiteY60" fmla="*/ 276211 h 477678"/>
              <a:gd name="connsiteX61" fmla="*/ 1065107 w 1451027"/>
              <a:gd name="connsiteY61" fmla="*/ 276211 h 477678"/>
              <a:gd name="connsiteX62" fmla="*/ 1065107 w 1451027"/>
              <a:gd name="connsiteY62" fmla="*/ 474119 h 477678"/>
              <a:gd name="connsiteX63" fmla="*/ 1089395 w 1451027"/>
              <a:gd name="connsiteY63" fmla="*/ 474119 h 477678"/>
              <a:gd name="connsiteX64" fmla="*/ 1089395 w 1451027"/>
              <a:gd name="connsiteY64" fmla="*/ 390458 h 477678"/>
              <a:gd name="connsiteX65" fmla="*/ 1133475 w 1451027"/>
              <a:gd name="connsiteY65" fmla="*/ 390458 h 477678"/>
              <a:gd name="connsiteX66" fmla="*/ 1173956 w 1451027"/>
              <a:gd name="connsiteY66" fmla="*/ 475019 h 477678"/>
              <a:gd name="connsiteX67" fmla="*/ 892387 w 1451027"/>
              <a:gd name="connsiteY67" fmla="*/ 475019 h 477678"/>
              <a:gd name="connsiteX68" fmla="*/ 1020128 w 1451027"/>
              <a:gd name="connsiteY68" fmla="*/ 475019 h 477678"/>
              <a:gd name="connsiteX69" fmla="*/ 1020128 w 1451027"/>
              <a:gd name="connsiteY69" fmla="*/ 453429 h 477678"/>
              <a:gd name="connsiteX70" fmla="*/ 916675 w 1451027"/>
              <a:gd name="connsiteY70" fmla="*/ 453429 h 477678"/>
              <a:gd name="connsiteX71" fmla="*/ 916675 w 1451027"/>
              <a:gd name="connsiteY71" fmla="*/ 385960 h 477678"/>
              <a:gd name="connsiteX72" fmla="*/ 1011132 w 1451027"/>
              <a:gd name="connsiteY72" fmla="*/ 385960 h 477678"/>
              <a:gd name="connsiteX73" fmla="*/ 1011132 w 1451027"/>
              <a:gd name="connsiteY73" fmla="*/ 365270 h 477678"/>
              <a:gd name="connsiteX74" fmla="*/ 916675 w 1451027"/>
              <a:gd name="connsiteY74" fmla="*/ 365270 h 477678"/>
              <a:gd name="connsiteX75" fmla="*/ 916675 w 1451027"/>
              <a:gd name="connsiteY75" fmla="*/ 299600 h 477678"/>
              <a:gd name="connsiteX76" fmla="*/ 1019228 w 1451027"/>
              <a:gd name="connsiteY76" fmla="*/ 299600 h 477678"/>
              <a:gd name="connsiteX77" fmla="*/ 1019228 w 1451027"/>
              <a:gd name="connsiteY77" fmla="*/ 278010 h 477678"/>
              <a:gd name="connsiteX78" fmla="*/ 893286 w 1451027"/>
              <a:gd name="connsiteY78" fmla="*/ 278010 h 477678"/>
              <a:gd name="connsiteX79" fmla="*/ 893286 w 1451027"/>
              <a:gd name="connsiteY79" fmla="*/ 475019 h 477678"/>
              <a:gd name="connsiteX80" fmla="*/ 892387 w 1451027"/>
              <a:gd name="connsiteY80" fmla="*/ 475019 h 477678"/>
              <a:gd name="connsiteX81" fmla="*/ 689980 w 1451027"/>
              <a:gd name="connsiteY81" fmla="*/ 475019 h 477678"/>
              <a:gd name="connsiteX82" fmla="*/ 713370 w 1451027"/>
              <a:gd name="connsiteY82" fmla="*/ 475019 h 477678"/>
              <a:gd name="connsiteX83" fmla="*/ 713370 w 1451027"/>
              <a:gd name="connsiteY83" fmla="*/ 309496 h 477678"/>
              <a:gd name="connsiteX84" fmla="*/ 714269 w 1451027"/>
              <a:gd name="connsiteY84" fmla="*/ 309496 h 477678"/>
              <a:gd name="connsiteX85" fmla="*/ 724165 w 1451027"/>
              <a:gd name="connsiteY85" fmla="*/ 328387 h 477678"/>
              <a:gd name="connsiteX86" fmla="*/ 811424 w 1451027"/>
              <a:gd name="connsiteY86" fmla="*/ 475019 h 477678"/>
              <a:gd name="connsiteX87" fmla="*/ 842010 w 1451027"/>
              <a:gd name="connsiteY87" fmla="*/ 475019 h 477678"/>
              <a:gd name="connsiteX88" fmla="*/ 842010 w 1451027"/>
              <a:gd name="connsiteY88" fmla="*/ 277111 h 477678"/>
              <a:gd name="connsiteX89" fmla="*/ 819520 w 1451027"/>
              <a:gd name="connsiteY89" fmla="*/ 277111 h 477678"/>
              <a:gd name="connsiteX90" fmla="*/ 819520 w 1451027"/>
              <a:gd name="connsiteY90" fmla="*/ 443534 h 477678"/>
              <a:gd name="connsiteX91" fmla="*/ 818621 w 1451027"/>
              <a:gd name="connsiteY91" fmla="*/ 443534 h 477678"/>
              <a:gd name="connsiteX92" fmla="*/ 808725 w 1451027"/>
              <a:gd name="connsiteY92" fmla="*/ 423743 h 477678"/>
              <a:gd name="connsiteX93" fmla="*/ 720566 w 1451027"/>
              <a:gd name="connsiteY93" fmla="*/ 277111 h 477678"/>
              <a:gd name="connsiteX94" fmla="*/ 689980 w 1451027"/>
              <a:gd name="connsiteY94" fmla="*/ 277111 h 477678"/>
              <a:gd name="connsiteX95" fmla="*/ 689980 w 1451027"/>
              <a:gd name="connsiteY95" fmla="*/ 475019 h 477678"/>
              <a:gd name="connsiteX96" fmla="*/ 566738 w 1451027"/>
              <a:gd name="connsiteY96" fmla="*/ 475019 h 477678"/>
              <a:gd name="connsiteX97" fmla="*/ 591026 w 1451027"/>
              <a:gd name="connsiteY97" fmla="*/ 475019 h 477678"/>
              <a:gd name="connsiteX98" fmla="*/ 591026 w 1451027"/>
              <a:gd name="connsiteY98" fmla="*/ 298701 h 477678"/>
              <a:gd name="connsiteX99" fmla="*/ 659395 w 1451027"/>
              <a:gd name="connsiteY99" fmla="*/ 298701 h 477678"/>
              <a:gd name="connsiteX100" fmla="*/ 659395 w 1451027"/>
              <a:gd name="connsiteY100" fmla="*/ 278010 h 477678"/>
              <a:gd name="connsiteX101" fmla="*/ 498369 w 1451027"/>
              <a:gd name="connsiteY101" fmla="*/ 278010 h 477678"/>
              <a:gd name="connsiteX102" fmla="*/ 498369 w 1451027"/>
              <a:gd name="connsiteY102" fmla="*/ 298701 h 477678"/>
              <a:gd name="connsiteX103" fmla="*/ 566738 w 1451027"/>
              <a:gd name="connsiteY103" fmla="*/ 298701 h 477678"/>
              <a:gd name="connsiteX104" fmla="*/ 566738 w 1451027"/>
              <a:gd name="connsiteY104" fmla="*/ 475019 h 477678"/>
              <a:gd name="connsiteX105" fmla="*/ 363432 w 1451027"/>
              <a:gd name="connsiteY105" fmla="*/ 371567 h 477678"/>
              <a:gd name="connsiteX106" fmla="*/ 363432 w 1451027"/>
              <a:gd name="connsiteY106" fmla="*/ 296902 h 477678"/>
              <a:gd name="connsiteX107" fmla="*/ 410210 w 1451027"/>
              <a:gd name="connsiteY107" fmla="*/ 296902 h 477678"/>
              <a:gd name="connsiteX108" fmla="*/ 449792 w 1451027"/>
              <a:gd name="connsiteY108" fmla="*/ 332885 h 477678"/>
              <a:gd name="connsiteX109" fmla="*/ 409310 w 1451027"/>
              <a:gd name="connsiteY109" fmla="*/ 371567 h 477678"/>
              <a:gd name="connsiteX110" fmla="*/ 363432 w 1451027"/>
              <a:gd name="connsiteY110" fmla="*/ 371567 h 477678"/>
              <a:gd name="connsiteX111" fmla="*/ 448892 w 1451027"/>
              <a:gd name="connsiteY111" fmla="*/ 475019 h 477678"/>
              <a:gd name="connsiteX112" fmla="*/ 476779 w 1451027"/>
              <a:gd name="connsiteY112" fmla="*/ 475019 h 477678"/>
              <a:gd name="connsiteX113" fmla="*/ 432700 w 1451027"/>
              <a:gd name="connsiteY113" fmla="*/ 387759 h 477678"/>
              <a:gd name="connsiteX114" fmla="*/ 432700 w 1451027"/>
              <a:gd name="connsiteY114" fmla="*/ 386860 h 477678"/>
              <a:gd name="connsiteX115" fmla="*/ 474980 w 1451027"/>
              <a:gd name="connsiteY115" fmla="*/ 331985 h 477678"/>
              <a:gd name="connsiteX116" fmla="*/ 449792 w 1451027"/>
              <a:gd name="connsiteY116" fmla="*/ 285207 h 477678"/>
              <a:gd name="connsiteX117" fmla="*/ 412009 w 1451027"/>
              <a:gd name="connsiteY117" fmla="*/ 276211 h 477678"/>
              <a:gd name="connsiteX118" fmla="*/ 340043 w 1451027"/>
              <a:gd name="connsiteY118" fmla="*/ 276211 h 477678"/>
              <a:gd name="connsiteX119" fmla="*/ 340043 w 1451027"/>
              <a:gd name="connsiteY119" fmla="*/ 474119 h 477678"/>
              <a:gd name="connsiteX120" fmla="*/ 364331 w 1451027"/>
              <a:gd name="connsiteY120" fmla="*/ 474119 h 477678"/>
              <a:gd name="connsiteX121" fmla="*/ 364331 w 1451027"/>
              <a:gd name="connsiteY121" fmla="*/ 390458 h 477678"/>
              <a:gd name="connsiteX122" fmla="*/ 408411 w 1451027"/>
              <a:gd name="connsiteY122" fmla="*/ 390458 h 477678"/>
              <a:gd name="connsiteX123" fmla="*/ 448892 w 1451027"/>
              <a:gd name="connsiteY123" fmla="*/ 475019 h 477678"/>
              <a:gd name="connsiteX124" fmla="*/ 211402 w 1451027"/>
              <a:gd name="connsiteY124" fmla="*/ 325688 h 477678"/>
              <a:gd name="connsiteX125" fmla="*/ 219498 w 1451027"/>
              <a:gd name="connsiteY125" fmla="*/ 301399 h 477678"/>
              <a:gd name="connsiteX126" fmla="*/ 220398 w 1451027"/>
              <a:gd name="connsiteY126" fmla="*/ 301399 h 477678"/>
              <a:gd name="connsiteX127" fmla="*/ 228494 w 1451027"/>
              <a:gd name="connsiteY127" fmla="*/ 325688 h 477678"/>
              <a:gd name="connsiteX128" fmla="*/ 252783 w 1451027"/>
              <a:gd name="connsiteY128" fmla="*/ 396755 h 477678"/>
              <a:gd name="connsiteX129" fmla="*/ 187113 w 1451027"/>
              <a:gd name="connsiteY129" fmla="*/ 396755 h 477678"/>
              <a:gd name="connsiteX130" fmla="*/ 211402 w 1451027"/>
              <a:gd name="connsiteY130" fmla="*/ 325688 h 477678"/>
              <a:gd name="connsiteX131" fmla="*/ 135837 w 1451027"/>
              <a:gd name="connsiteY131" fmla="*/ 475019 h 477678"/>
              <a:gd name="connsiteX132" fmla="*/ 160126 w 1451027"/>
              <a:gd name="connsiteY132" fmla="*/ 475019 h 477678"/>
              <a:gd name="connsiteX133" fmla="*/ 180816 w 1451027"/>
              <a:gd name="connsiteY133" fmla="*/ 416546 h 477678"/>
              <a:gd name="connsiteX134" fmla="*/ 259980 w 1451027"/>
              <a:gd name="connsiteY134" fmla="*/ 416546 h 477678"/>
              <a:gd name="connsiteX135" fmla="*/ 280670 w 1451027"/>
              <a:gd name="connsiteY135" fmla="*/ 475019 h 477678"/>
              <a:gd name="connsiteX136" fmla="*/ 305858 w 1451027"/>
              <a:gd name="connsiteY136" fmla="*/ 475019 h 477678"/>
              <a:gd name="connsiteX137" fmla="*/ 234791 w 1451027"/>
              <a:gd name="connsiteY137" fmla="*/ 277111 h 477678"/>
              <a:gd name="connsiteX138" fmla="*/ 206005 w 1451027"/>
              <a:gd name="connsiteY138" fmla="*/ 277111 h 477678"/>
              <a:gd name="connsiteX139" fmla="*/ 135837 w 1451027"/>
              <a:gd name="connsiteY139" fmla="*/ 475019 h 477678"/>
              <a:gd name="connsiteX140" fmla="*/ 24289 w 1451027"/>
              <a:gd name="connsiteY140" fmla="*/ 380563 h 477678"/>
              <a:gd name="connsiteX141" fmla="*/ 24289 w 1451027"/>
              <a:gd name="connsiteY141" fmla="*/ 296902 h 477678"/>
              <a:gd name="connsiteX142" fmla="*/ 58473 w 1451027"/>
              <a:gd name="connsiteY142" fmla="*/ 296902 h 477678"/>
              <a:gd name="connsiteX143" fmla="*/ 102553 w 1451027"/>
              <a:gd name="connsiteY143" fmla="*/ 338282 h 477678"/>
              <a:gd name="connsiteX144" fmla="*/ 57573 w 1451027"/>
              <a:gd name="connsiteY144" fmla="*/ 380563 h 477678"/>
              <a:gd name="connsiteX145" fmla="*/ 24289 w 1451027"/>
              <a:gd name="connsiteY145" fmla="*/ 380563 h 477678"/>
              <a:gd name="connsiteX146" fmla="*/ 57573 w 1451027"/>
              <a:gd name="connsiteY146" fmla="*/ 399454 h 477678"/>
              <a:gd name="connsiteX147" fmla="*/ 127741 w 1451027"/>
              <a:gd name="connsiteY147" fmla="*/ 338282 h 477678"/>
              <a:gd name="connsiteX148" fmla="*/ 59372 w 1451027"/>
              <a:gd name="connsiteY148" fmla="*/ 278010 h 477678"/>
              <a:gd name="connsiteX149" fmla="*/ 0 w 1451027"/>
              <a:gd name="connsiteY149" fmla="*/ 278010 h 477678"/>
              <a:gd name="connsiteX150" fmla="*/ 0 w 1451027"/>
              <a:gd name="connsiteY150" fmla="*/ 475919 h 477678"/>
              <a:gd name="connsiteX151" fmla="*/ 24289 w 1451027"/>
              <a:gd name="connsiteY151" fmla="*/ 475919 h 477678"/>
              <a:gd name="connsiteX152" fmla="*/ 24289 w 1451027"/>
              <a:gd name="connsiteY152" fmla="*/ 400354 h 477678"/>
              <a:gd name="connsiteX153" fmla="*/ 57573 w 1451027"/>
              <a:gd name="connsiteY153" fmla="*/ 400354 h 477678"/>
              <a:gd name="connsiteX154" fmla="*/ 57573 w 1451027"/>
              <a:gd name="connsiteY154" fmla="*/ 399454 h 477678"/>
              <a:gd name="connsiteX155" fmla="*/ 901383 w 1451027"/>
              <a:gd name="connsiteY155" fmla="*/ 199747 h 477678"/>
              <a:gd name="connsiteX156" fmla="*/ 1023726 w 1451027"/>
              <a:gd name="connsiteY156" fmla="*/ 199747 h 477678"/>
              <a:gd name="connsiteX157" fmla="*/ 1023726 w 1451027"/>
              <a:gd name="connsiteY157" fmla="*/ 178157 h 477678"/>
              <a:gd name="connsiteX158" fmla="*/ 925671 w 1451027"/>
              <a:gd name="connsiteY158" fmla="*/ 178157 h 477678"/>
              <a:gd name="connsiteX159" fmla="*/ 925671 w 1451027"/>
              <a:gd name="connsiteY159" fmla="*/ 2738 h 477678"/>
              <a:gd name="connsiteX160" fmla="*/ 901383 w 1451027"/>
              <a:gd name="connsiteY160" fmla="*/ 2738 h 477678"/>
              <a:gd name="connsiteX161" fmla="*/ 901383 w 1451027"/>
              <a:gd name="connsiteY161" fmla="*/ 199747 h 477678"/>
              <a:gd name="connsiteX162" fmla="*/ 772742 w 1451027"/>
              <a:gd name="connsiteY162" fmla="*/ 51315 h 477678"/>
              <a:gd name="connsiteX163" fmla="*/ 780838 w 1451027"/>
              <a:gd name="connsiteY163" fmla="*/ 27027 h 477678"/>
              <a:gd name="connsiteX164" fmla="*/ 781738 w 1451027"/>
              <a:gd name="connsiteY164" fmla="*/ 27027 h 477678"/>
              <a:gd name="connsiteX165" fmla="*/ 789834 w 1451027"/>
              <a:gd name="connsiteY165" fmla="*/ 51315 h 477678"/>
              <a:gd name="connsiteX166" fmla="*/ 814123 w 1451027"/>
              <a:gd name="connsiteY166" fmla="*/ 122382 h 477678"/>
              <a:gd name="connsiteX167" fmla="*/ 748453 w 1451027"/>
              <a:gd name="connsiteY167" fmla="*/ 122382 h 477678"/>
              <a:gd name="connsiteX168" fmla="*/ 772742 w 1451027"/>
              <a:gd name="connsiteY168" fmla="*/ 51315 h 477678"/>
              <a:gd name="connsiteX169" fmla="*/ 697177 w 1451027"/>
              <a:gd name="connsiteY169" fmla="*/ 199747 h 477678"/>
              <a:gd name="connsiteX170" fmla="*/ 721466 w 1451027"/>
              <a:gd name="connsiteY170" fmla="*/ 199747 h 477678"/>
              <a:gd name="connsiteX171" fmla="*/ 742156 w 1451027"/>
              <a:gd name="connsiteY171" fmla="*/ 141274 h 477678"/>
              <a:gd name="connsiteX172" fmla="*/ 821320 w 1451027"/>
              <a:gd name="connsiteY172" fmla="*/ 141274 h 477678"/>
              <a:gd name="connsiteX173" fmla="*/ 842010 w 1451027"/>
              <a:gd name="connsiteY173" fmla="*/ 199747 h 477678"/>
              <a:gd name="connsiteX174" fmla="*/ 867198 w 1451027"/>
              <a:gd name="connsiteY174" fmla="*/ 199747 h 477678"/>
              <a:gd name="connsiteX175" fmla="*/ 796131 w 1451027"/>
              <a:gd name="connsiteY175" fmla="*/ 1838 h 477678"/>
              <a:gd name="connsiteX176" fmla="*/ 767345 w 1451027"/>
              <a:gd name="connsiteY176" fmla="*/ 1838 h 477678"/>
              <a:gd name="connsiteX177" fmla="*/ 697177 w 1451027"/>
              <a:gd name="connsiteY177" fmla="*/ 199747 h 477678"/>
              <a:gd name="connsiteX178" fmla="*/ 605420 w 1451027"/>
              <a:gd name="connsiteY178" fmla="*/ 199747 h 477678"/>
              <a:gd name="connsiteX179" fmla="*/ 629708 w 1451027"/>
              <a:gd name="connsiteY179" fmla="*/ 199747 h 477678"/>
              <a:gd name="connsiteX180" fmla="*/ 629708 w 1451027"/>
              <a:gd name="connsiteY180" fmla="*/ 23428 h 477678"/>
              <a:gd name="connsiteX181" fmla="*/ 698077 w 1451027"/>
              <a:gd name="connsiteY181" fmla="*/ 23428 h 477678"/>
              <a:gd name="connsiteX182" fmla="*/ 698077 w 1451027"/>
              <a:gd name="connsiteY182" fmla="*/ 2738 h 477678"/>
              <a:gd name="connsiteX183" fmla="*/ 537051 w 1451027"/>
              <a:gd name="connsiteY183" fmla="*/ 2738 h 477678"/>
              <a:gd name="connsiteX184" fmla="*/ 537051 w 1451027"/>
              <a:gd name="connsiteY184" fmla="*/ 23428 h 477678"/>
              <a:gd name="connsiteX185" fmla="*/ 605420 w 1451027"/>
              <a:gd name="connsiteY185" fmla="*/ 23428 h 477678"/>
              <a:gd name="connsiteX186" fmla="*/ 605420 w 1451027"/>
              <a:gd name="connsiteY186" fmla="*/ 199747 h 477678"/>
              <a:gd name="connsiteX187" fmla="*/ 484875 w 1451027"/>
              <a:gd name="connsiteY187" fmla="*/ 199747 h 477678"/>
              <a:gd name="connsiteX188" fmla="*/ 509164 w 1451027"/>
              <a:gd name="connsiteY188" fmla="*/ 199747 h 477678"/>
              <a:gd name="connsiteX189" fmla="*/ 509164 w 1451027"/>
              <a:gd name="connsiteY189" fmla="*/ 1838 h 477678"/>
              <a:gd name="connsiteX190" fmla="*/ 484875 w 1451027"/>
              <a:gd name="connsiteY190" fmla="*/ 1838 h 477678"/>
              <a:gd name="connsiteX191" fmla="*/ 484875 w 1451027"/>
              <a:gd name="connsiteY191" fmla="*/ 199747 h 477678"/>
              <a:gd name="connsiteX192" fmla="*/ 354436 w 1451027"/>
              <a:gd name="connsiteY192" fmla="*/ 18930 h 477678"/>
              <a:gd name="connsiteX193" fmla="*/ 403913 w 1451027"/>
              <a:gd name="connsiteY193" fmla="*/ 54914 h 477678"/>
              <a:gd name="connsiteX194" fmla="*/ 429101 w 1451027"/>
              <a:gd name="connsiteY194" fmla="*/ 54914 h 477678"/>
              <a:gd name="connsiteX195" fmla="*/ 354436 w 1451027"/>
              <a:gd name="connsiteY195" fmla="*/ 39 h 477678"/>
              <a:gd name="connsiteX196" fmla="*/ 264478 w 1451027"/>
              <a:gd name="connsiteY196" fmla="*/ 102592 h 477678"/>
              <a:gd name="connsiteX197" fmla="*/ 351737 w 1451027"/>
              <a:gd name="connsiteY197" fmla="*/ 204244 h 477678"/>
              <a:gd name="connsiteX198" fmla="*/ 413808 w 1451027"/>
              <a:gd name="connsiteY198" fmla="*/ 171859 h 477678"/>
              <a:gd name="connsiteX199" fmla="*/ 414708 w 1451027"/>
              <a:gd name="connsiteY199" fmla="*/ 171859 h 477678"/>
              <a:gd name="connsiteX200" fmla="*/ 414708 w 1451027"/>
              <a:gd name="connsiteY200" fmla="*/ 200646 h 477678"/>
              <a:gd name="connsiteX201" fmla="*/ 435398 w 1451027"/>
              <a:gd name="connsiteY201" fmla="*/ 200646 h 477678"/>
              <a:gd name="connsiteX202" fmla="*/ 435398 w 1451027"/>
              <a:gd name="connsiteY202" fmla="*/ 99893 h 477678"/>
              <a:gd name="connsiteX203" fmla="*/ 354436 w 1451027"/>
              <a:gd name="connsiteY203" fmla="*/ 99893 h 477678"/>
              <a:gd name="connsiteX204" fmla="*/ 354436 w 1451027"/>
              <a:gd name="connsiteY204" fmla="*/ 121483 h 477678"/>
              <a:gd name="connsiteX205" fmla="*/ 411110 w 1451027"/>
              <a:gd name="connsiteY205" fmla="*/ 121483 h 477678"/>
              <a:gd name="connsiteX206" fmla="*/ 411110 w 1451027"/>
              <a:gd name="connsiteY206" fmla="*/ 124181 h 477678"/>
              <a:gd name="connsiteX207" fmla="*/ 351737 w 1451027"/>
              <a:gd name="connsiteY207" fmla="*/ 184454 h 477678"/>
              <a:gd name="connsiteX208" fmla="*/ 289666 w 1451027"/>
              <a:gd name="connsiteY208" fmla="*/ 102592 h 477678"/>
              <a:gd name="connsiteX209" fmla="*/ 354436 w 1451027"/>
              <a:gd name="connsiteY209" fmla="*/ 18930 h 477678"/>
              <a:gd name="connsiteX210" fmla="*/ 197908 w 1451027"/>
              <a:gd name="connsiteY210" fmla="*/ 199747 h 477678"/>
              <a:gd name="connsiteX211" fmla="*/ 222197 w 1451027"/>
              <a:gd name="connsiteY211" fmla="*/ 199747 h 477678"/>
              <a:gd name="connsiteX212" fmla="*/ 222197 w 1451027"/>
              <a:gd name="connsiteY212" fmla="*/ 1838 h 477678"/>
              <a:gd name="connsiteX213" fmla="*/ 197908 w 1451027"/>
              <a:gd name="connsiteY213" fmla="*/ 1838 h 477678"/>
              <a:gd name="connsiteX214" fmla="*/ 197908 w 1451027"/>
              <a:gd name="connsiteY214" fmla="*/ 199747 h 477678"/>
              <a:gd name="connsiteX215" fmla="*/ 24289 w 1451027"/>
              <a:gd name="connsiteY215" fmla="*/ 22529 h 477678"/>
              <a:gd name="connsiteX216" fmla="*/ 62071 w 1451027"/>
              <a:gd name="connsiteY216" fmla="*/ 22529 h 477678"/>
              <a:gd name="connsiteX217" fmla="*/ 131339 w 1451027"/>
              <a:gd name="connsiteY217" fmla="*/ 98993 h 477678"/>
              <a:gd name="connsiteX218" fmla="*/ 61172 w 1451027"/>
              <a:gd name="connsiteY218" fmla="*/ 178157 h 477678"/>
              <a:gd name="connsiteX219" fmla="*/ 24289 w 1451027"/>
              <a:gd name="connsiteY219" fmla="*/ 178157 h 477678"/>
              <a:gd name="connsiteX220" fmla="*/ 24289 w 1451027"/>
              <a:gd name="connsiteY220" fmla="*/ 22529 h 477678"/>
              <a:gd name="connsiteX221" fmla="*/ 0 w 1451027"/>
              <a:gd name="connsiteY221" fmla="*/ 199747 h 477678"/>
              <a:gd name="connsiteX222" fmla="*/ 63870 w 1451027"/>
              <a:gd name="connsiteY222" fmla="*/ 199747 h 477678"/>
              <a:gd name="connsiteX223" fmla="*/ 156527 w 1451027"/>
              <a:gd name="connsiteY223" fmla="*/ 98094 h 477678"/>
              <a:gd name="connsiteX224" fmla="*/ 61172 w 1451027"/>
              <a:gd name="connsiteY224" fmla="*/ 1838 h 477678"/>
              <a:gd name="connsiteX225" fmla="*/ 900 w 1451027"/>
              <a:gd name="connsiteY225" fmla="*/ 1838 h 477678"/>
              <a:gd name="connsiteX226" fmla="*/ 900 w 1451027"/>
              <a:gd name="connsiteY226" fmla="*/ 199747 h 477678"/>
              <a:gd name="connsiteX227" fmla="*/ 0 w 1451027"/>
              <a:gd name="connsiteY227" fmla="*/ 199747 h 4776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</a:cxnLst>
            <a:rect l="l" t="t" r="r" b="b"/>
            <a:pathLst>
              <a:path w="1451027" h="477678">
                <a:moveTo>
                  <a:pt x="1403350" y="308596"/>
                </a:moveTo>
                <a:lnTo>
                  <a:pt x="1408748" y="308596"/>
                </a:lnTo>
                <a:lnTo>
                  <a:pt x="1408748" y="285207"/>
                </a:lnTo>
                <a:lnTo>
                  <a:pt x="1417743" y="285207"/>
                </a:lnTo>
                <a:lnTo>
                  <a:pt x="1417743" y="280709"/>
                </a:lnTo>
                <a:lnTo>
                  <a:pt x="1395254" y="280709"/>
                </a:lnTo>
                <a:lnTo>
                  <a:pt x="1395254" y="285207"/>
                </a:lnTo>
                <a:lnTo>
                  <a:pt x="1404250" y="285207"/>
                </a:lnTo>
                <a:lnTo>
                  <a:pt x="1404250" y="308596"/>
                </a:lnTo>
                <a:lnTo>
                  <a:pt x="1403350" y="308596"/>
                </a:lnTo>
                <a:close/>
                <a:moveTo>
                  <a:pt x="1422241" y="308596"/>
                </a:moveTo>
                <a:lnTo>
                  <a:pt x="1426739" y="308596"/>
                </a:lnTo>
                <a:lnTo>
                  <a:pt x="1426739" y="287006"/>
                </a:lnTo>
                <a:lnTo>
                  <a:pt x="1426739" y="287006"/>
                </a:lnTo>
                <a:lnTo>
                  <a:pt x="1428538" y="292404"/>
                </a:lnTo>
                <a:lnTo>
                  <a:pt x="1433936" y="308596"/>
                </a:lnTo>
                <a:lnTo>
                  <a:pt x="1438434" y="308596"/>
                </a:lnTo>
                <a:lnTo>
                  <a:pt x="1443831" y="292404"/>
                </a:lnTo>
                <a:cubicBezTo>
                  <a:pt x="1444252" y="290550"/>
                  <a:pt x="1444855" y="288742"/>
                  <a:pt x="1445630" y="287006"/>
                </a:cubicBezTo>
                <a:lnTo>
                  <a:pt x="1445630" y="287006"/>
                </a:lnTo>
                <a:lnTo>
                  <a:pt x="1445630" y="308596"/>
                </a:lnTo>
                <a:lnTo>
                  <a:pt x="1451028" y="308596"/>
                </a:lnTo>
                <a:lnTo>
                  <a:pt x="1451028" y="280709"/>
                </a:lnTo>
                <a:lnTo>
                  <a:pt x="1442932" y="280709"/>
                </a:lnTo>
                <a:lnTo>
                  <a:pt x="1437534" y="296902"/>
                </a:lnTo>
                <a:cubicBezTo>
                  <a:pt x="1437016" y="298349"/>
                  <a:pt x="1436713" y="299864"/>
                  <a:pt x="1436635" y="301399"/>
                </a:cubicBezTo>
                <a:lnTo>
                  <a:pt x="1436635" y="301399"/>
                </a:lnTo>
                <a:cubicBezTo>
                  <a:pt x="1436556" y="299864"/>
                  <a:pt x="1436253" y="298349"/>
                  <a:pt x="1435735" y="296902"/>
                </a:cubicBezTo>
                <a:lnTo>
                  <a:pt x="1430338" y="280709"/>
                </a:lnTo>
                <a:lnTo>
                  <a:pt x="1422241" y="280709"/>
                </a:lnTo>
                <a:lnTo>
                  <a:pt x="1422241" y="308596"/>
                </a:lnTo>
                <a:close/>
                <a:moveTo>
                  <a:pt x="1370965" y="330186"/>
                </a:moveTo>
                <a:cubicBezTo>
                  <a:pt x="1369166" y="296902"/>
                  <a:pt x="1347576" y="274412"/>
                  <a:pt x="1305296" y="274412"/>
                </a:cubicBezTo>
                <a:cubicBezTo>
                  <a:pt x="1264814" y="274412"/>
                  <a:pt x="1238726" y="297801"/>
                  <a:pt x="1238726" y="329287"/>
                </a:cubicBezTo>
                <a:cubicBezTo>
                  <a:pt x="1238726" y="355374"/>
                  <a:pt x="1252220" y="376065"/>
                  <a:pt x="1290902" y="383262"/>
                </a:cubicBezTo>
                <a:lnTo>
                  <a:pt x="1318789" y="387759"/>
                </a:lnTo>
                <a:cubicBezTo>
                  <a:pt x="1343078" y="392257"/>
                  <a:pt x="1352074" y="403952"/>
                  <a:pt x="1352074" y="421044"/>
                </a:cubicBezTo>
                <a:cubicBezTo>
                  <a:pt x="1352074" y="441734"/>
                  <a:pt x="1340379" y="458827"/>
                  <a:pt x="1305296" y="458827"/>
                </a:cubicBezTo>
                <a:cubicBezTo>
                  <a:pt x="1273810" y="458827"/>
                  <a:pt x="1258517" y="439935"/>
                  <a:pt x="1255818" y="418345"/>
                </a:cubicBezTo>
                <a:lnTo>
                  <a:pt x="1230630" y="418345"/>
                </a:lnTo>
                <a:cubicBezTo>
                  <a:pt x="1232429" y="453429"/>
                  <a:pt x="1258517" y="477718"/>
                  <a:pt x="1304396" y="477718"/>
                </a:cubicBezTo>
                <a:cubicBezTo>
                  <a:pt x="1352074" y="477718"/>
                  <a:pt x="1376363" y="454329"/>
                  <a:pt x="1376363" y="418345"/>
                </a:cubicBezTo>
                <a:cubicBezTo>
                  <a:pt x="1376363" y="390458"/>
                  <a:pt x="1362869" y="371567"/>
                  <a:pt x="1324187" y="364370"/>
                </a:cubicBezTo>
                <a:lnTo>
                  <a:pt x="1296300" y="359872"/>
                </a:lnTo>
                <a:cubicBezTo>
                  <a:pt x="1272910" y="355374"/>
                  <a:pt x="1263015" y="345479"/>
                  <a:pt x="1263015" y="327487"/>
                </a:cubicBezTo>
                <a:cubicBezTo>
                  <a:pt x="1263015" y="309496"/>
                  <a:pt x="1277408" y="293303"/>
                  <a:pt x="1304396" y="293303"/>
                </a:cubicBezTo>
                <a:cubicBezTo>
                  <a:pt x="1331383" y="293303"/>
                  <a:pt x="1343078" y="310395"/>
                  <a:pt x="1345777" y="330186"/>
                </a:cubicBezTo>
                <a:lnTo>
                  <a:pt x="1370965" y="330186"/>
                </a:lnTo>
                <a:close/>
                <a:moveTo>
                  <a:pt x="1089395" y="371567"/>
                </a:moveTo>
                <a:lnTo>
                  <a:pt x="1089395" y="296902"/>
                </a:lnTo>
                <a:lnTo>
                  <a:pt x="1136174" y="296902"/>
                </a:lnTo>
                <a:cubicBezTo>
                  <a:pt x="1158663" y="296902"/>
                  <a:pt x="1175755" y="308596"/>
                  <a:pt x="1175755" y="332885"/>
                </a:cubicBezTo>
                <a:cubicBezTo>
                  <a:pt x="1175755" y="359872"/>
                  <a:pt x="1158663" y="371567"/>
                  <a:pt x="1135274" y="371567"/>
                </a:cubicBezTo>
                <a:lnTo>
                  <a:pt x="1089395" y="371567"/>
                </a:lnTo>
                <a:close/>
                <a:moveTo>
                  <a:pt x="1173956" y="475019"/>
                </a:moveTo>
                <a:lnTo>
                  <a:pt x="1201843" y="475019"/>
                </a:lnTo>
                <a:lnTo>
                  <a:pt x="1157764" y="387759"/>
                </a:lnTo>
                <a:lnTo>
                  <a:pt x="1157764" y="386860"/>
                </a:lnTo>
                <a:cubicBezTo>
                  <a:pt x="1183810" y="382062"/>
                  <a:pt x="1202046" y="358394"/>
                  <a:pt x="1200044" y="331985"/>
                </a:cubicBezTo>
                <a:cubicBezTo>
                  <a:pt x="1201094" y="312901"/>
                  <a:pt x="1191366" y="294836"/>
                  <a:pt x="1174856" y="285207"/>
                </a:cubicBezTo>
                <a:cubicBezTo>
                  <a:pt x="1163142" y="279286"/>
                  <a:pt x="1150199" y="276204"/>
                  <a:pt x="1137073" y="276211"/>
                </a:cubicBezTo>
                <a:lnTo>
                  <a:pt x="1065107" y="276211"/>
                </a:lnTo>
                <a:lnTo>
                  <a:pt x="1065107" y="474119"/>
                </a:lnTo>
                <a:lnTo>
                  <a:pt x="1089395" y="474119"/>
                </a:lnTo>
                <a:lnTo>
                  <a:pt x="1089395" y="390458"/>
                </a:lnTo>
                <a:lnTo>
                  <a:pt x="1133475" y="390458"/>
                </a:lnTo>
                <a:lnTo>
                  <a:pt x="1173956" y="475019"/>
                </a:lnTo>
                <a:close/>
                <a:moveTo>
                  <a:pt x="892387" y="475019"/>
                </a:moveTo>
                <a:lnTo>
                  <a:pt x="1020128" y="475019"/>
                </a:lnTo>
                <a:lnTo>
                  <a:pt x="1020128" y="453429"/>
                </a:lnTo>
                <a:lnTo>
                  <a:pt x="916675" y="453429"/>
                </a:lnTo>
                <a:lnTo>
                  <a:pt x="916675" y="385960"/>
                </a:lnTo>
                <a:lnTo>
                  <a:pt x="1011132" y="385960"/>
                </a:lnTo>
                <a:lnTo>
                  <a:pt x="1011132" y="365270"/>
                </a:lnTo>
                <a:lnTo>
                  <a:pt x="916675" y="365270"/>
                </a:lnTo>
                <a:lnTo>
                  <a:pt x="916675" y="299600"/>
                </a:lnTo>
                <a:lnTo>
                  <a:pt x="1019228" y="299600"/>
                </a:lnTo>
                <a:lnTo>
                  <a:pt x="1019228" y="278010"/>
                </a:lnTo>
                <a:lnTo>
                  <a:pt x="893286" y="278010"/>
                </a:lnTo>
                <a:lnTo>
                  <a:pt x="893286" y="475019"/>
                </a:lnTo>
                <a:lnTo>
                  <a:pt x="892387" y="475019"/>
                </a:lnTo>
                <a:close/>
                <a:moveTo>
                  <a:pt x="689980" y="475019"/>
                </a:moveTo>
                <a:lnTo>
                  <a:pt x="713370" y="475019"/>
                </a:lnTo>
                <a:lnTo>
                  <a:pt x="713370" y="309496"/>
                </a:lnTo>
                <a:lnTo>
                  <a:pt x="714269" y="309496"/>
                </a:lnTo>
                <a:cubicBezTo>
                  <a:pt x="717248" y="315955"/>
                  <a:pt x="720550" y="322260"/>
                  <a:pt x="724165" y="328387"/>
                </a:cubicBezTo>
                <a:lnTo>
                  <a:pt x="811424" y="475019"/>
                </a:lnTo>
                <a:lnTo>
                  <a:pt x="842010" y="475019"/>
                </a:lnTo>
                <a:lnTo>
                  <a:pt x="842010" y="277111"/>
                </a:lnTo>
                <a:lnTo>
                  <a:pt x="819520" y="277111"/>
                </a:lnTo>
                <a:lnTo>
                  <a:pt x="819520" y="443534"/>
                </a:lnTo>
                <a:lnTo>
                  <a:pt x="818621" y="443534"/>
                </a:lnTo>
                <a:cubicBezTo>
                  <a:pt x="818621" y="443534"/>
                  <a:pt x="815023" y="435437"/>
                  <a:pt x="808725" y="423743"/>
                </a:cubicBezTo>
                <a:lnTo>
                  <a:pt x="720566" y="277111"/>
                </a:lnTo>
                <a:lnTo>
                  <a:pt x="689980" y="277111"/>
                </a:lnTo>
                <a:lnTo>
                  <a:pt x="689980" y="475019"/>
                </a:lnTo>
                <a:close/>
                <a:moveTo>
                  <a:pt x="566738" y="475019"/>
                </a:moveTo>
                <a:lnTo>
                  <a:pt x="591026" y="475019"/>
                </a:lnTo>
                <a:lnTo>
                  <a:pt x="591026" y="298701"/>
                </a:lnTo>
                <a:lnTo>
                  <a:pt x="659395" y="298701"/>
                </a:lnTo>
                <a:lnTo>
                  <a:pt x="659395" y="278010"/>
                </a:lnTo>
                <a:lnTo>
                  <a:pt x="498369" y="278010"/>
                </a:lnTo>
                <a:lnTo>
                  <a:pt x="498369" y="298701"/>
                </a:lnTo>
                <a:lnTo>
                  <a:pt x="566738" y="298701"/>
                </a:lnTo>
                <a:lnTo>
                  <a:pt x="566738" y="475019"/>
                </a:lnTo>
                <a:close/>
                <a:moveTo>
                  <a:pt x="363432" y="371567"/>
                </a:moveTo>
                <a:lnTo>
                  <a:pt x="363432" y="296902"/>
                </a:lnTo>
                <a:lnTo>
                  <a:pt x="410210" y="296902"/>
                </a:lnTo>
                <a:cubicBezTo>
                  <a:pt x="432700" y="296902"/>
                  <a:pt x="449792" y="308596"/>
                  <a:pt x="449792" y="332885"/>
                </a:cubicBezTo>
                <a:cubicBezTo>
                  <a:pt x="449792" y="359872"/>
                  <a:pt x="432700" y="371567"/>
                  <a:pt x="409310" y="371567"/>
                </a:cubicBezTo>
                <a:lnTo>
                  <a:pt x="363432" y="371567"/>
                </a:lnTo>
                <a:close/>
                <a:moveTo>
                  <a:pt x="448892" y="475019"/>
                </a:moveTo>
                <a:lnTo>
                  <a:pt x="476779" y="475019"/>
                </a:lnTo>
                <a:lnTo>
                  <a:pt x="432700" y="387759"/>
                </a:lnTo>
                <a:lnTo>
                  <a:pt x="432700" y="386860"/>
                </a:lnTo>
                <a:cubicBezTo>
                  <a:pt x="458746" y="382062"/>
                  <a:pt x="476982" y="358394"/>
                  <a:pt x="474980" y="331985"/>
                </a:cubicBezTo>
                <a:cubicBezTo>
                  <a:pt x="476029" y="312901"/>
                  <a:pt x="466302" y="294836"/>
                  <a:pt x="449792" y="285207"/>
                </a:cubicBezTo>
                <a:cubicBezTo>
                  <a:pt x="438078" y="279286"/>
                  <a:pt x="425135" y="276204"/>
                  <a:pt x="412009" y="276211"/>
                </a:cubicBezTo>
                <a:lnTo>
                  <a:pt x="340043" y="276211"/>
                </a:lnTo>
                <a:lnTo>
                  <a:pt x="340043" y="474119"/>
                </a:lnTo>
                <a:lnTo>
                  <a:pt x="364331" y="474119"/>
                </a:lnTo>
                <a:lnTo>
                  <a:pt x="364331" y="390458"/>
                </a:lnTo>
                <a:lnTo>
                  <a:pt x="408411" y="390458"/>
                </a:lnTo>
                <a:lnTo>
                  <a:pt x="448892" y="475019"/>
                </a:lnTo>
                <a:close/>
                <a:moveTo>
                  <a:pt x="211402" y="325688"/>
                </a:moveTo>
                <a:cubicBezTo>
                  <a:pt x="215900" y="313994"/>
                  <a:pt x="219498" y="301399"/>
                  <a:pt x="219498" y="301399"/>
                </a:cubicBezTo>
                <a:lnTo>
                  <a:pt x="220398" y="301399"/>
                </a:lnTo>
                <a:cubicBezTo>
                  <a:pt x="220398" y="301399"/>
                  <a:pt x="223996" y="313994"/>
                  <a:pt x="228494" y="325688"/>
                </a:cubicBezTo>
                <a:lnTo>
                  <a:pt x="252783" y="396755"/>
                </a:lnTo>
                <a:lnTo>
                  <a:pt x="187113" y="396755"/>
                </a:lnTo>
                <a:lnTo>
                  <a:pt x="211402" y="325688"/>
                </a:lnTo>
                <a:close/>
                <a:moveTo>
                  <a:pt x="135837" y="475019"/>
                </a:moveTo>
                <a:lnTo>
                  <a:pt x="160126" y="475019"/>
                </a:lnTo>
                <a:lnTo>
                  <a:pt x="180816" y="416546"/>
                </a:lnTo>
                <a:lnTo>
                  <a:pt x="259980" y="416546"/>
                </a:lnTo>
                <a:lnTo>
                  <a:pt x="280670" y="475019"/>
                </a:lnTo>
                <a:lnTo>
                  <a:pt x="305858" y="475019"/>
                </a:lnTo>
                <a:lnTo>
                  <a:pt x="234791" y="277111"/>
                </a:lnTo>
                <a:lnTo>
                  <a:pt x="206005" y="277111"/>
                </a:lnTo>
                <a:lnTo>
                  <a:pt x="135837" y="475019"/>
                </a:lnTo>
                <a:close/>
                <a:moveTo>
                  <a:pt x="24289" y="380563"/>
                </a:moveTo>
                <a:lnTo>
                  <a:pt x="24289" y="296902"/>
                </a:lnTo>
                <a:lnTo>
                  <a:pt x="58473" y="296902"/>
                </a:lnTo>
                <a:cubicBezTo>
                  <a:pt x="86360" y="296902"/>
                  <a:pt x="102553" y="308596"/>
                  <a:pt x="102553" y="338282"/>
                </a:cubicBezTo>
                <a:cubicBezTo>
                  <a:pt x="102553" y="366169"/>
                  <a:pt x="86360" y="380563"/>
                  <a:pt x="57573" y="380563"/>
                </a:cubicBezTo>
                <a:lnTo>
                  <a:pt x="24289" y="380563"/>
                </a:lnTo>
                <a:close/>
                <a:moveTo>
                  <a:pt x="57573" y="399454"/>
                </a:moveTo>
                <a:cubicBezTo>
                  <a:pt x="98055" y="399454"/>
                  <a:pt x="127741" y="379663"/>
                  <a:pt x="127741" y="338282"/>
                </a:cubicBezTo>
                <a:cubicBezTo>
                  <a:pt x="127741" y="296902"/>
                  <a:pt x="98055" y="278010"/>
                  <a:pt x="59372" y="278010"/>
                </a:cubicBezTo>
                <a:lnTo>
                  <a:pt x="0" y="278010"/>
                </a:lnTo>
                <a:lnTo>
                  <a:pt x="0" y="475919"/>
                </a:lnTo>
                <a:lnTo>
                  <a:pt x="24289" y="475919"/>
                </a:lnTo>
                <a:lnTo>
                  <a:pt x="24289" y="400354"/>
                </a:lnTo>
                <a:lnTo>
                  <a:pt x="57573" y="400354"/>
                </a:lnTo>
                <a:lnTo>
                  <a:pt x="57573" y="399454"/>
                </a:lnTo>
                <a:close/>
                <a:moveTo>
                  <a:pt x="901383" y="199747"/>
                </a:moveTo>
                <a:lnTo>
                  <a:pt x="1023726" y="199747"/>
                </a:lnTo>
                <a:lnTo>
                  <a:pt x="1023726" y="178157"/>
                </a:lnTo>
                <a:lnTo>
                  <a:pt x="925671" y="178157"/>
                </a:lnTo>
                <a:lnTo>
                  <a:pt x="925671" y="2738"/>
                </a:lnTo>
                <a:lnTo>
                  <a:pt x="901383" y="2738"/>
                </a:lnTo>
                <a:lnTo>
                  <a:pt x="901383" y="199747"/>
                </a:lnTo>
                <a:close/>
                <a:moveTo>
                  <a:pt x="772742" y="51315"/>
                </a:moveTo>
                <a:cubicBezTo>
                  <a:pt x="777240" y="39621"/>
                  <a:pt x="780838" y="27027"/>
                  <a:pt x="780838" y="27027"/>
                </a:cubicBezTo>
                <a:lnTo>
                  <a:pt x="781738" y="27027"/>
                </a:lnTo>
                <a:cubicBezTo>
                  <a:pt x="781738" y="27027"/>
                  <a:pt x="785336" y="39621"/>
                  <a:pt x="789834" y="51315"/>
                </a:cubicBezTo>
                <a:lnTo>
                  <a:pt x="814123" y="122382"/>
                </a:lnTo>
                <a:lnTo>
                  <a:pt x="748453" y="122382"/>
                </a:lnTo>
                <a:lnTo>
                  <a:pt x="772742" y="51315"/>
                </a:lnTo>
                <a:close/>
                <a:moveTo>
                  <a:pt x="697177" y="199747"/>
                </a:moveTo>
                <a:lnTo>
                  <a:pt x="721466" y="199747"/>
                </a:lnTo>
                <a:lnTo>
                  <a:pt x="742156" y="141274"/>
                </a:lnTo>
                <a:lnTo>
                  <a:pt x="821320" y="141274"/>
                </a:lnTo>
                <a:lnTo>
                  <a:pt x="842010" y="199747"/>
                </a:lnTo>
                <a:lnTo>
                  <a:pt x="867198" y="199747"/>
                </a:lnTo>
                <a:lnTo>
                  <a:pt x="796131" y="1838"/>
                </a:lnTo>
                <a:lnTo>
                  <a:pt x="767345" y="1838"/>
                </a:lnTo>
                <a:lnTo>
                  <a:pt x="697177" y="199747"/>
                </a:lnTo>
                <a:close/>
                <a:moveTo>
                  <a:pt x="605420" y="199747"/>
                </a:moveTo>
                <a:lnTo>
                  <a:pt x="629708" y="199747"/>
                </a:lnTo>
                <a:lnTo>
                  <a:pt x="629708" y="23428"/>
                </a:lnTo>
                <a:lnTo>
                  <a:pt x="698077" y="23428"/>
                </a:lnTo>
                <a:lnTo>
                  <a:pt x="698077" y="2738"/>
                </a:lnTo>
                <a:lnTo>
                  <a:pt x="537051" y="2738"/>
                </a:lnTo>
                <a:lnTo>
                  <a:pt x="537051" y="23428"/>
                </a:lnTo>
                <a:lnTo>
                  <a:pt x="605420" y="23428"/>
                </a:lnTo>
                <a:lnTo>
                  <a:pt x="605420" y="199747"/>
                </a:lnTo>
                <a:close/>
                <a:moveTo>
                  <a:pt x="484875" y="199747"/>
                </a:moveTo>
                <a:lnTo>
                  <a:pt x="509164" y="199747"/>
                </a:lnTo>
                <a:lnTo>
                  <a:pt x="509164" y="1838"/>
                </a:lnTo>
                <a:lnTo>
                  <a:pt x="484875" y="1838"/>
                </a:lnTo>
                <a:lnTo>
                  <a:pt x="484875" y="199747"/>
                </a:lnTo>
                <a:close/>
                <a:moveTo>
                  <a:pt x="354436" y="18930"/>
                </a:moveTo>
                <a:cubicBezTo>
                  <a:pt x="380524" y="18930"/>
                  <a:pt x="400315" y="32424"/>
                  <a:pt x="403913" y="54914"/>
                </a:cubicBezTo>
                <a:lnTo>
                  <a:pt x="429101" y="54914"/>
                </a:lnTo>
                <a:cubicBezTo>
                  <a:pt x="424603" y="19830"/>
                  <a:pt x="394917" y="39"/>
                  <a:pt x="354436" y="39"/>
                </a:cubicBezTo>
                <a:cubicBezTo>
                  <a:pt x="303160" y="39"/>
                  <a:pt x="264478" y="37822"/>
                  <a:pt x="264478" y="102592"/>
                </a:cubicBezTo>
                <a:cubicBezTo>
                  <a:pt x="264478" y="171859"/>
                  <a:pt x="301360" y="204244"/>
                  <a:pt x="351737" y="204244"/>
                </a:cubicBezTo>
                <a:cubicBezTo>
                  <a:pt x="376830" y="205787"/>
                  <a:pt x="400719" y="193324"/>
                  <a:pt x="413808" y="171859"/>
                </a:cubicBezTo>
                <a:lnTo>
                  <a:pt x="414708" y="171859"/>
                </a:lnTo>
                <a:lnTo>
                  <a:pt x="414708" y="200646"/>
                </a:lnTo>
                <a:lnTo>
                  <a:pt x="435398" y="200646"/>
                </a:lnTo>
                <a:lnTo>
                  <a:pt x="435398" y="99893"/>
                </a:lnTo>
                <a:lnTo>
                  <a:pt x="354436" y="99893"/>
                </a:lnTo>
                <a:lnTo>
                  <a:pt x="354436" y="121483"/>
                </a:lnTo>
                <a:lnTo>
                  <a:pt x="411110" y="121483"/>
                </a:lnTo>
                <a:lnTo>
                  <a:pt x="411110" y="124181"/>
                </a:lnTo>
                <a:cubicBezTo>
                  <a:pt x="411110" y="162864"/>
                  <a:pt x="388620" y="184454"/>
                  <a:pt x="351737" y="184454"/>
                </a:cubicBezTo>
                <a:cubicBezTo>
                  <a:pt x="311256" y="184454"/>
                  <a:pt x="289666" y="155667"/>
                  <a:pt x="289666" y="102592"/>
                </a:cubicBezTo>
                <a:cubicBezTo>
                  <a:pt x="289666" y="52215"/>
                  <a:pt x="311256" y="18930"/>
                  <a:pt x="354436" y="18930"/>
                </a:cubicBezTo>
                <a:moveTo>
                  <a:pt x="197908" y="199747"/>
                </a:moveTo>
                <a:lnTo>
                  <a:pt x="222197" y="199747"/>
                </a:lnTo>
                <a:lnTo>
                  <a:pt x="222197" y="1838"/>
                </a:lnTo>
                <a:lnTo>
                  <a:pt x="197908" y="1838"/>
                </a:lnTo>
                <a:lnTo>
                  <a:pt x="197908" y="199747"/>
                </a:lnTo>
                <a:close/>
                <a:moveTo>
                  <a:pt x="24289" y="22529"/>
                </a:moveTo>
                <a:lnTo>
                  <a:pt x="62071" y="22529"/>
                </a:lnTo>
                <a:cubicBezTo>
                  <a:pt x="101653" y="22529"/>
                  <a:pt x="131339" y="44119"/>
                  <a:pt x="131339" y="98993"/>
                </a:cubicBezTo>
                <a:cubicBezTo>
                  <a:pt x="131339" y="157466"/>
                  <a:pt x="102553" y="178157"/>
                  <a:pt x="61172" y="178157"/>
                </a:cubicBezTo>
                <a:lnTo>
                  <a:pt x="24289" y="178157"/>
                </a:lnTo>
                <a:lnTo>
                  <a:pt x="24289" y="22529"/>
                </a:lnTo>
                <a:close/>
                <a:moveTo>
                  <a:pt x="0" y="199747"/>
                </a:moveTo>
                <a:lnTo>
                  <a:pt x="63870" y="199747"/>
                </a:lnTo>
                <a:cubicBezTo>
                  <a:pt x="117845" y="199747"/>
                  <a:pt x="156527" y="168261"/>
                  <a:pt x="156527" y="98094"/>
                </a:cubicBezTo>
                <a:cubicBezTo>
                  <a:pt x="156527" y="27926"/>
                  <a:pt x="115147" y="1838"/>
                  <a:pt x="61172" y="1838"/>
                </a:cubicBezTo>
                <a:lnTo>
                  <a:pt x="900" y="1838"/>
                </a:lnTo>
                <a:lnTo>
                  <a:pt x="900" y="199747"/>
                </a:lnTo>
                <a:lnTo>
                  <a:pt x="0" y="199747"/>
                </a:lnTo>
                <a:close/>
              </a:path>
            </a:pathLst>
          </a:custGeom>
          <a:solidFill>
            <a:srgbClr val="000000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pic>
        <p:nvPicPr>
          <p:cNvPr id="28" name="Logo 1">
            <a:extLst>
              <a:ext uri="{FF2B5EF4-FFF2-40B4-BE49-F238E27FC236}">
                <a16:creationId xmlns:a16="http://schemas.microsoft.com/office/drawing/2014/main" id="{96CF21ED-7CB7-FCDC-C5CC-291DA329E0C6}"/>
              </a:ext>
            </a:extLst>
          </p:cNvPr>
          <p:cNvPicPr preferRelativeResize="0"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3916320" y="1734965"/>
            <a:ext cx="776292" cy="179638"/>
          </a:xfrm>
          <a:prstGeom prst="rect">
            <a:avLst/>
          </a:prstGeom>
        </p:spPr>
      </p:pic>
      <p:pic>
        <p:nvPicPr>
          <p:cNvPr id="29" name="Picture 28" descr="Chart, scatter chart&#10;&#10;Description automatically generated">
            <a:extLst>
              <a:ext uri="{FF2B5EF4-FFF2-40B4-BE49-F238E27FC236}">
                <a16:creationId xmlns:a16="http://schemas.microsoft.com/office/drawing/2014/main" id="{2F309C94-DC7B-82B3-5DCC-884E71977EE3}"/>
              </a:ext>
            </a:extLst>
          </p:cNvPr>
          <p:cNvPicPr>
            <a:picLocks noChangeAspect="1"/>
          </p:cNvPicPr>
          <p:nvPr/>
        </p:nvPicPr>
        <p:blipFill rotWithShape="1">
          <a:blip r:embed="rId1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14180" t="21015" r="12142" b="19311"/>
          <a:stretch/>
        </p:blipFill>
        <p:spPr>
          <a:xfrm>
            <a:off x="3916320" y="2092195"/>
            <a:ext cx="455553" cy="184479"/>
          </a:xfrm>
          <a:prstGeom prst="rect">
            <a:avLst/>
          </a:prstGeom>
        </p:spPr>
      </p:pic>
      <p:pic>
        <p:nvPicPr>
          <p:cNvPr id="30" name="Picture 29" descr="Icon&#10;&#10;Description automatically generated">
            <a:extLst>
              <a:ext uri="{FF2B5EF4-FFF2-40B4-BE49-F238E27FC236}">
                <a16:creationId xmlns:a16="http://schemas.microsoft.com/office/drawing/2014/main" id="{BFA7FBBF-7775-5032-FAF7-BE3176D63486}"/>
              </a:ext>
            </a:extLst>
          </p:cNvPr>
          <p:cNvPicPr>
            <a:picLocks noChangeAspect="1"/>
          </p:cNvPicPr>
          <p:nvPr/>
        </p:nvPicPr>
        <p:blipFill rotWithShape="1">
          <a:blip r:embed="rId17"/>
          <a:srcRect b="43117"/>
          <a:stretch/>
        </p:blipFill>
        <p:spPr>
          <a:xfrm>
            <a:off x="5164156" y="2126298"/>
            <a:ext cx="850385" cy="116273"/>
          </a:xfrm>
          <a:prstGeom prst="rect">
            <a:avLst/>
          </a:prstGeom>
        </p:spPr>
      </p:pic>
      <p:pic>
        <p:nvPicPr>
          <p:cNvPr id="31" name="Picture 30" descr="Logo&#10;&#10;Description automatically generated">
            <a:extLst>
              <a:ext uri="{FF2B5EF4-FFF2-40B4-BE49-F238E27FC236}">
                <a16:creationId xmlns:a16="http://schemas.microsoft.com/office/drawing/2014/main" id="{D924B0AC-5D53-C5F0-B44F-F4038A51CEBF}"/>
              </a:ext>
            </a:extLst>
          </p:cNvPr>
          <p:cNvPicPr>
            <a:picLocks noChangeAspect="1"/>
          </p:cNvPicPr>
          <p:nvPr/>
        </p:nvPicPr>
        <p:blipFill>
          <a:blip r:embed="rId18">
            <a:clrChange>
              <a:clrFrom>
                <a:srgbClr val="FFFEFD"/>
              </a:clrFrom>
              <a:clrTo>
                <a:srgbClr val="FFFEFD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6200806" y="2116669"/>
            <a:ext cx="430799" cy="135530"/>
          </a:xfrm>
          <a:prstGeom prst="rect">
            <a:avLst/>
          </a:prstGeom>
        </p:spPr>
      </p:pic>
      <p:pic>
        <p:nvPicPr>
          <p:cNvPr id="32" name="Picture 31" descr="Logo&#10;&#10;Description automatically generated">
            <a:extLst>
              <a:ext uri="{FF2B5EF4-FFF2-40B4-BE49-F238E27FC236}">
                <a16:creationId xmlns:a16="http://schemas.microsoft.com/office/drawing/2014/main" id="{4059E4A8-0DFB-211A-EF2E-43E959CB4D31}"/>
              </a:ext>
            </a:extLst>
          </p:cNvPr>
          <p:cNvPicPr>
            <a:picLocks noChangeAspect="1"/>
          </p:cNvPicPr>
          <p:nvPr/>
        </p:nvPicPr>
        <p:blipFill>
          <a:blip r:embed="rId19"/>
          <a:stretch>
            <a:fillRect/>
          </a:stretch>
        </p:blipFill>
        <p:spPr>
          <a:xfrm>
            <a:off x="4558138" y="2105731"/>
            <a:ext cx="419753" cy="157407"/>
          </a:xfrm>
          <a:prstGeom prst="rect">
            <a:avLst/>
          </a:prstGeom>
        </p:spPr>
      </p:pic>
      <p:sp>
        <p:nvSpPr>
          <p:cNvPr id="33" name="Graphic 63">
            <a:extLst>
              <a:ext uri="{FF2B5EF4-FFF2-40B4-BE49-F238E27FC236}">
                <a16:creationId xmlns:a16="http://schemas.microsoft.com/office/drawing/2014/main" id="{DF534BE1-4B2E-CFD8-BEB4-C9185448B4FC}"/>
              </a:ext>
            </a:extLst>
          </p:cNvPr>
          <p:cNvSpPr/>
          <p:nvPr/>
        </p:nvSpPr>
        <p:spPr>
          <a:xfrm>
            <a:off x="6817870" y="2117909"/>
            <a:ext cx="1079309" cy="133051"/>
          </a:xfrm>
          <a:custGeom>
            <a:avLst/>
            <a:gdLst>
              <a:gd name="connsiteX0" fmla="*/ 257079 w 3068803"/>
              <a:gd name="connsiteY0" fmla="*/ 239804 h 378306"/>
              <a:gd name="connsiteX1" fmla="*/ 258618 w 3068803"/>
              <a:gd name="connsiteY1" fmla="*/ 251735 h 378306"/>
              <a:gd name="connsiteX2" fmla="*/ 252461 w 3068803"/>
              <a:gd name="connsiteY2" fmla="*/ 257892 h 378306"/>
              <a:gd name="connsiteX3" fmla="*/ 142779 w 3068803"/>
              <a:gd name="connsiteY3" fmla="*/ 281754 h 378306"/>
              <a:gd name="connsiteX4" fmla="*/ 34636 w 3068803"/>
              <a:gd name="connsiteY4" fmla="*/ 239035 h 378306"/>
              <a:gd name="connsiteX5" fmla="*/ 0 w 3068803"/>
              <a:gd name="connsiteY5" fmla="*/ 135895 h 378306"/>
              <a:gd name="connsiteX6" fmla="*/ 43488 w 3068803"/>
              <a:gd name="connsiteY6" fmla="*/ 41992 h 378306"/>
              <a:gd name="connsiteX7" fmla="*/ 149322 w 3068803"/>
              <a:gd name="connsiteY7" fmla="*/ 5432 h 378306"/>
              <a:gd name="connsiteX8" fmla="*/ 227446 w 3068803"/>
              <a:gd name="connsiteY8" fmla="*/ 23905 h 378306"/>
              <a:gd name="connsiteX9" fmla="*/ 236682 w 3068803"/>
              <a:gd name="connsiteY9" fmla="*/ 22750 h 378306"/>
              <a:gd name="connsiteX10" fmla="*/ 240530 w 3068803"/>
              <a:gd name="connsiteY10" fmla="*/ 16592 h 378306"/>
              <a:gd name="connsiteX11" fmla="*/ 245534 w 3068803"/>
              <a:gd name="connsiteY11" fmla="*/ 12744 h 378306"/>
              <a:gd name="connsiteX12" fmla="*/ 250921 w 3068803"/>
              <a:gd name="connsiteY12" fmla="*/ 19671 h 378306"/>
              <a:gd name="connsiteX13" fmla="*/ 256694 w 3068803"/>
              <a:gd name="connsiteY13" fmla="*/ 96641 h 378306"/>
              <a:gd name="connsiteX14" fmla="*/ 255155 w 3068803"/>
              <a:gd name="connsiteY14" fmla="*/ 103568 h 378306"/>
              <a:gd name="connsiteX15" fmla="*/ 244764 w 3068803"/>
              <a:gd name="connsiteY15" fmla="*/ 105877 h 378306"/>
              <a:gd name="connsiteX16" fmla="*/ 240145 w 3068803"/>
              <a:gd name="connsiteY16" fmla="*/ 102029 h 378306"/>
              <a:gd name="connsiteX17" fmla="*/ 205894 w 3068803"/>
              <a:gd name="connsiteY17" fmla="*/ 45071 h 378306"/>
              <a:gd name="connsiteX18" fmla="*/ 146627 w 3068803"/>
              <a:gd name="connsiteY18" fmla="*/ 21980 h 378306"/>
              <a:gd name="connsiteX19" fmla="*/ 90055 w 3068803"/>
              <a:gd name="connsiteY19" fmla="*/ 50074 h 378306"/>
              <a:gd name="connsiteX20" fmla="*/ 60036 w 3068803"/>
              <a:gd name="connsiteY20" fmla="*/ 135510 h 378306"/>
              <a:gd name="connsiteX21" fmla="*/ 92748 w 3068803"/>
              <a:gd name="connsiteY21" fmla="*/ 238650 h 378306"/>
              <a:gd name="connsiteX22" fmla="*/ 150091 w 3068803"/>
              <a:gd name="connsiteY22" fmla="*/ 264050 h 378306"/>
              <a:gd name="connsiteX23" fmla="*/ 192424 w 3068803"/>
              <a:gd name="connsiteY23" fmla="*/ 256738 h 378306"/>
              <a:gd name="connsiteX24" fmla="*/ 200891 w 3068803"/>
              <a:gd name="connsiteY24" fmla="*/ 221716 h 378306"/>
              <a:gd name="connsiteX25" fmla="*/ 200891 w 3068803"/>
              <a:gd name="connsiteY25" fmla="*/ 194777 h 378306"/>
              <a:gd name="connsiteX26" fmla="*/ 187806 w 3068803"/>
              <a:gd name="connsiteY26" fmla="*/ 177460 h 378306"/>
              <a:gd name="connsiteX27" fmla="*/ 172027 w 3068803"/>
              <a:gd name="connsiteY27" fmla="*/ 177460 h 378306"/>
              <a:gd name="connsiteX28" fmla="*/ 169334 w 3068803"/>
              <a:gd name="connsiteY28" fmla="*/ 173995 h 378306"/>
              <a:gd name="connsiteX29" fmla="*/ 169334 w 3068803"/>
              <a:gd name="connsiteY29" fmla="*/ 164759 h 378306"/>
              <a:gd name="connsiteX30" fmla="*/ 172027 w 3068803"/>
              <a:gd name="connsiteY30" fmla="*/ 162065 h 378306"/>
              <a:gd name="connsiteX31" fmla="*/ 227446 w 3068803"/>
              <a:gd name="connsiteY31" fmla="*/ 163220 h 378306"/>
              <a:gd name="connsiteX32" fmla="*/ 278630 w 3068803"/>
              <a:gd name="connsiteY32" fmla="*/ 162065 h 378306"/>
              <a:gd name="connsiteX33" fmla="*/ 282094 w 3068803"/>
              <a:gd name="connsiteY33" fmla="*/ 165144 h 378306"/>
              <a:gd name="connsiteX34" fmla="*/ 282094 w 3068803"/>
              <a:gd name="connsiteY34" fmla="*/ 174380 h 378306"/>
              <a:gd name="connsiteX35" fmla="*/ 279400 w 3068803"/>
              <a:gd name="connsiteY35" fmla="*/ 177460 h 378306"/>
              <a:gd name="connsiteX36" fmla="*/ 268624 w 3068803"/>
              <a:gd name="connsiteY36" fmla="*/ 177460 h 378306"/>
              <a:gd name="connsiteX37" fmla="*/ 257079 w 3068803"/>
              <a:gd name="connsiteY37" fmla="*/ 190929 h 378306"/>
              <a:gd name="connsiteX38" fmla="*/ 257079 w 3068803"/>
              <a:gd name="connsiteY38" fmla="*/ 239804 h 378306"/>
              <a:gd name="connsiteX39" fmla="*/ 257079 w 3068803"/>
              <a:gd name="connsiteY39" fmla="*/ 239804 h 378306"/>
              <a:gd name="connsiteX40" fmla="*/ 369070 w 3068803"/>
              <a:gd name="connsiteY40" fmla="*/ 247502 h 378306"/>
              <a:gd name="connsiteX41" fmla="*/ 380615 w 3068803"/>
              <a:gd name="connsiteY41" fmla="*/ 262896 h 378306"/>
              <a:gd name="connsiteX42" fmla="*/ 396010 w 3068803"/>
              <a:gd name="connsiteY42" fmla="*/ 262896 h 378306"/>
              <a:gd name="connsiteX43" fmla="*/ 398703 w 3068803"/>
              <a:gd name="connsiteY43" fmla="*/ 266359 h 378306"/>
              <a:gd name="connsiteX44" fmla="*/ 398703 w 3068803"/>
              <a:gd name="connsiteY44" fmla="*/ 273672 h 378306"/>
              <a:gd name="connsiteX45" fmla="*/ 396779 w 3068803"/>
              <a:gd name="connsiteY45" fmla="*/ 277135 h 378306"/>
              <a:gd name="connsiteX46" fmla="*/ 343670 w 3068803"/>
              <a:gd name="connsiteY46" fmla="*/ 275980 h 378306"/>
              <a:gd name="connsiteX47" fmla="*/ 296718 w 3068803"/>
              <a:gd name="connsiteY47" fmla="*/ 277135 h 378306"/>
              <a:gd name="connsiteX48" fmla="*/ 294409 w 3068803"/>
              <a:gd name="connsiteY48" fmla="*/ 273287 h 378306"/>
              <a:gd name="connsiteX49" fmla="*/ 294409 w 3068803"/>
              <a:gd name="connsiteY49" fmla="*/ 266359 h 378306"/>
              <a:gd name="connsiteX50" fmla="*/ 298642 w 3068803"/>
              <a:gd name="connsiteY50" fmla="*/ 262896 h 378306"/>
              <a:gd name="connsiteX51" fmla="*/ 309418 w 3068803"/>
              <a:gd name="connsiteY51" fmla="*/ 262896 h 378306"/>
              <a:gd name="connsiteX52" fmla="*/ 319039 w 3068803"/>
              <a:gd name="connsiteY52" fmla="*/ 254044 h 378306"/>
              <a:gd name="connsiteX53" fmla="*/ 319810 w 3068803"/>
              <a:gd name="connsiteY53" fmla="*/ 211710 h 378306"/>
              <a:gd name="connsiteX54" fmla="*/ 319810 w 3068803"/>
              <a:gd name="connsiteY54" fmla="*/ 180538 h 378306"/>
              <a:gd name="connsiteX55" fmla="*/ 304800 w 3068803"/>
              <a:gd name="connsiteY55" fmla="*/ 151290 h 378306"/>
              <a:gd name="connsiteX56" fmla="*/ 298257 w 3068803"/>
              <a:gd name="connsiteY56" fmla="*/ 147441 h 378306"/>
              <a:gd name="connsiteX57" fmla="*/ 295179 w 3068803"/>
              <a:gd name="connsiteY57" fmla="*/ 143977 h 378306"/>
              <a:gd name="connsiteX58" fmla="*/ 295179 w 3068803"/>
              <a:gd name="connsiteY58" fmla="*/ 140514 h 378306"/>
              <a:gd name="connsiteX59" fmla="*/ 298257 w 3068803"/>
              <a:gd name="connsiteY59" fmla="*/ 137435 h 378306"/>
              <a:gd name="connsiteX60" fmla="*/ 350597 w 3068803"/>
              <a:gd name="connsiteY60" fmla="*/ 114729 h 378306"/>
              <a:gd name="connsiteX61" fmla="*/ 356754 w 3068803"/>
              <a:gd name="connsiteY61" fmla="*/ 113190 h 378306"/>
              <a:gd name="connsiteX62" fmla="*/ 361373 w 3068803"/>
              <a:gd name="connsiteY62" fmla="*/ 117807 h 378306"/>
              <a:gd name="connsiteX63" fmla="*/ 364836 w 3068803"/>
              <a:gd name="connsiteY63" fmla="*/ 147056 h 378306"/>
              <a:gd name="connsiteX64" fmla="*/ 367531 w 3068803"/>
              <a:gd name="connsiteY64" fmla="*/ 147056 h 378306"/>
              <a:gd name="connsiteX65" fmla="*/ 412172 w 3068803"/>
              <a:gd name="connsiteY65" fmla="*/ 111266 h 378306"/>
              <a:gd name="connsiteX66" fmla="*/ 432185 w 3068803"/>
              <a:gd name="connsiteY66" fmla="*/ 132817 h 378306"/>
              <a:gd name="connsiteX67" fmla="*/ 408324 w 3068803"/>
              <a:gd name="connsiteY67" fmla="*/ 153983 h 378306"/>
              <a:gd name="connsiteX68" fmla="*/ 394854 w 3068803"/>
              <a:gd name="connsiteY68" fmla="*/ 150520 h 378306"/>
              <a:gd name="connsiteX69" fmla="*/ 385618 w 3068803"/>
              <a:gd name="connsiteY69" fmla="*/ 147826 h 378306"/>
              <a:gd name="connsiteX70" fmla="*/ 375997 w 3068803"/>
              <a:gd name="connsiteY70" fmla="*/ 154753 h 378306"/>
              <a:gd name="connsiteX71" fmla="*/ 369455 w 3068803"/>
              <a:gd name="connsiteY71" fmla="*/ 176690 h 378306"/>
              <a:gd name="connsiteX72" fmla="*/ 369455 w 3068803"/>
              <a:gd name="connsiteY72" fmla="*/ 247502 h 378306"/>
              <a:gd name="connsiteX73" fmla="*/ 369070 w 3068803"/>
              <a:gd name="connsiteY73" fmla="*/ 247502 h 378306"/>
              <a:gd name="connsiteX74" fmla="*/ 450272 w 3068803"/>
              <a:gd name="connsiteY74" fmla="*/ 254044 h 378306"/>
              <a:gd name="connsiteX75" fmla="*/ 430260 w 3068803"/>
              <a:gd name="connsiteY75" fmla="*/ 194777 h 378306"/>
              <a:gd name="connsiteX76" fmla="*/ 462588 w 3068803"/>
              <a:gd name="connsiteY76" fmla="*/ 132432 h 378306"/>
              <a:gd name="connsiteX77" fmla="*/ 518391 w 3068803"/>
              <a:gd name="connsiteY77" fmla="*/ 113190 h 378306"/>
              <a:gd name="connsiteX78" fmla="*/ 578812 w 3068803"/>
              <a:gd name="connsiteY78" fmla="*/ 136665 h 378306"/>
              <a:gd name="connsiteX79" fmla="*/ 604597 w 3068803"/>
              <a:gd name="connsiteY79" fmla="*/ 196317 h 378306"/>
              <a:gd name="connsiteX80" fmla="*/ 580736 w 3068803"/>
              <a:gd name="connsiteY80" fmla="*/ 254814 h 378306"/>
              <a:gd name="connsiteX81" fmla="*/ 515697 w 3068803"/>
              <a:gd name="connsiteY81" fmla="*/ 280983 h 378306"/>
              <a:gd name="connsiteX82" fmla="*/ 450272 w 3068803"/>
              <a:gd name="connsiteY82" fmla="*/ 254044 h 378306"/>
              <a:gd name="connsiteX83" fmla="*/ 450272 w 3068803"/>
              <a:gd name="connsiteY83" fmla="*/ 254044 h 378306"/>
              <a:gd name="connsiteX84" fmla="*/ 547639 w 3068803"/>
              <a:gd name="connsiteY84" fmla="*/ 194007 h 378306"/>
              <a:gd name="connsiteX85" fmla="*/ 516082 w 3068803"/>
              <a:gd name="connsiteY85" fmla="*/ 129353 h 378306"/>
              <a:gd name="connsiteX86" fmla="*/ 495685 w 3068803"/>
              <a:gd name="connsiteY86" fmla="*/ 139360 h 378306"/>
              <a:gd name="connsiteX87" fmla="*/ 483370 w 3068803"/>
              <a:gd name="connsiteY87" fmla="*/ 197472 h 378306"/>
              <a:gd name="connsiteX88" fmla="*/ 492606 w 3068803"/>
              <a:gd name="connsiteY88" fmla="*/ 249426 h 378306"/>
              <a:gd name="connsiteX89" fmla="*/ 517236 w 3068803"/>
              <a:gd name="connsiteY89" fmla="*/ 265590 h 378306"/>
              <a:gd name="connsiteX90" fmla="*/ 547639 w 3068803"/>
              <a:gd name="connsiteY90" fmla="*/ 194007 h 378306"/>
              <a:gd name="connsiteX91" fmla="*/ 600364 w 3068803"/>
              <a:gd name="connsiteY91" fmla="*/ 120502 h 378306"/>
              <a:gd name="connsiteX92" fmla="*/ 604597 w 3068803"/>
              <a:gd name="connsiteY92" fmla="*/ 117422 h 378306"/>
              <a:gd name="connsiteX93" fmla="*/ 653858 w 3068803"/>
              <a:gd name="connsiteY93" fmla="*/ 118577 h 378306"/>
              <a:gd name="connsiteX94" fmla="*/ 693112 w 3068803"/>
              <a:gd name="connsiteY94" fmla="*/ 117422 h 378306"/>
              <a:gd name="connsiteX95" fmla="*/ 696960 w 3068803"/>
              <a:gd name="connsiteY95" fmla="*/ 120502 h 378306"/>
              <a:gd name="connsiteX96" fmla="*/ 696960 w 3068803"/>
              <a:gd name="connsiteY96" fmla="*/ 127813 h 378306"/>
              <a:gd name="connsiteX97" fmla="*/ 694267 w 3068803"/>
              <a:gd name="connsiteY97" fmla="*/ 131662 h 378306"/>
              <a:gd name="connsiteX98" fmla="*/ 689263 w 3068803"/>
              <a:gd name="connsiteY98" fmla="*/ 131662 h 378306"/>
              <a:gd name="connsiteX99" fmla="*/ 679642 w 3068803"/>
              <a:gd name="connsiteY99" fmla="*/ 138205 h 378306"/>
              <a:gd name="connsiteX100" fmla="*/ 693497 w 3068803"/>
              <a:gd name="connsiteY100" fmla="*/ 181692 h 378306"/>
              <a:gd name="connsiteX101" fmla="*/ 709661 w 3068803"/>
              <a:gd name="connsiteY101" fmla="*/ 222101 h 378306"/>
              <a:gd name="connsiteX102" fmla="*/ 711970 w 3068803"/>
              <a:gd name="connsiteY102" fmla="*/ 222101 h 378306"/>
              <a:gd name="connsiteX103" fmla="*/ 741988 w 3068803"/>
              <a:gd name="connsiteY103" fmla="*/ 148596 h 378306"/>
              <a:gd name="connsiteX104" fmla="*/ 732752 w 3068803"/>
              <a:gd name="connsiteY104" fmla="*/ 131662 h 378306"/>
              <a:gd name="connsiteX105" fmla="*/ 725824 w 3068803"/>
              <a:gd name="connsiteY105" fmla="*/ 131662 h 378306"/>
              <a:gd name="connsiteX106" fmla="*/ 724285 w 3068803"/>
              <a:gd name="connsiteY106" fmla="*/ 127813 h 378306"/>
              <a:gd name="connsiteX107" fmla="*/ 724285 w 3068803"/>
              <a:gd name="connsiteY107" fmla="*/ 120502 h 378306"/>
              <a:gd name="connsiteX108" fmla="*/ 726594 w 3068803"/>
              <a:gd name="connsiteY108" fmla="*/ 117422 h 378306"/>
              <a:gd name="connsiteX109" fmla="*/ 762770 w 3068803"/>
              <a:gd name="connsiteY109" fmla="*/ 118577 h 378306"/>
              <a:gd name="connsiteX110" fmla="*/ 794712 w 3068803"/>
              <a:gd name="connsiteY110" fmla="*/ 117422 h 378306"/>
              <a:gd name="connsiteX111" fmla="*/ 798176 w 3068803"/>
              <a:gd name="connsiteY111" fmla="*/ 120887 h 378306"/>
              <a:gd name="connsiteX112" fmla="*/ 798176 w 3068803"/>
              <a:gd name="connsiteY112" fmla="*/ 127813 h 378306"/>
              <a:gd name="connsiteX113" fmla="*/ 796252 w 3068803"/>
              <a:gd name="connsiteY113" fmla="*/ 131662 h 378306"/>
              <a:gd name="connsiteX114" fmla="*/ 789709 w 3068803"/>
              <a:gd name="connsiteY114" fmla="*/ 131662 h 378306"/>
              <a:gd name="connsiteX115" fmla="*/ 772391 w 3068803"/>
              <a:gd name="connsiteY115" fmla="*/ 137435 h 378306"/>
              <a:gd name="connsiteX116" fmla="*/ 740449 w 3068803"/>
              <a:gd name="connsiteY116" fmla="*/ 196317 h 378306"/>
              <a:gd name="connsiteX117" fmla="*/ 704273 w 3068803"/>
              <a:gd name="connsiteY117" fmla="*/ 274056 h 378306"/>
              <a:gd name="connsiteX118" fmla="*/ 694652 w 3068803"/>
              <a:gd name="connsiteY118" fmla="*/ 281369 h 378306"/>
              <a:gd name="connsiteX119" fmla="*/ 683876 w 3068803"/>
              <a:gd name="connsiteY119" fmla="*/ 272132 h 378306"/>
              <a:gd name="connsiteX120" fmla="*/ 648470 w 3068803"/>
              <a:gd name="connsiteY120" fmla="*/ 195547 h 378306"/>
              <a:gd name="connsiteX121" fmla="*/ 626918 w 3068803"/>
              <a:gd name="connsiteY121" fmla="*/ 145516 h 378306"/>
              <a:gd name="connsiteX122" fmla="*/ 610370 w 3068803"/>
              <a:gd name="connsiteY122" fmla="*/ 131662 h 378306"/>
              <a:gd name="connsiteX123" fmla="*/ 603057 w 3068803"/>
              <a:gd name="connsiteY123" fmla="*/ 131662 h 378306"/>
              <a:gd name="connsiteX124" fmla="*/ 600748 w 3068803"/>
              <a:gd name="connsiteY124" fmla="*/ 127813 h 378306"/>
              <a:gd name="connsiteX125" fmla="*/ 600748 w 3068803"/>
              <a:gd name="connsiteY125" fmla="*/ 120502 h 378306"/>
              <a:gd name="connsiteX126" fmla="*/ 600364 w 3068803"/>
              <a:gd name="connsiteY126" fmla="*/ 120502 h 378306"/>
              <a:gd name="connsiteX127" fmla="*/ 841663 w 3068803"/>
              <a:gd name="connsiteY127" fmla="*/ 182847 h 378306"/>
              <a:gd name="connsiteX128" fmla="*/ 841663 w 3068803"/>
              <a:gd name="connsiteY128" fmla="*/ 192853 h 378306"/>
              <a:gd name="connsiteX129" fmla="*/ 890925 w 3068803"/>
              <a:gd name="connsiteY129" fmla="*/ 250965 h 378306"/>
              <a:gd name="connsiteX130" fmla="*/ 931718 w 3068803"/>
              <a:gd name="connsiteY130" fmla="*/ 230183 h 378306"/>
              <a:gd name="connsiteX131" fmla="*/ 935566 w 3068803"/>
              <a:gd name="connsiteY131" fmla="*/ 229029 h 378306"/>
              <a:gd name="connsiteX132" fmla="*/ 942109 w 3068803"/>
              <a:gd name="connsiteY132" fmla="*/ 232492 h 378306"/>
              <a:gd name="connsiteX133" fmla="*/ 941340 w 3068803"/>
              <a:gd name="connsiteY133" fmla="*/ 241344 h 378306"/>
              <a:gd name="connsiteX134" fmla="*/ 875146 w 3068803"/>
              <a:gd name="connsiteY134" fmla="*/ 280983 h 378306"/>
              <a:gd name="connsiteX135" fmla="*/ 818958 w 3068803"/>
              <a:gd name="connsiteY135" fmla="*/ 263281 h 378306"/>
              <a:gd name="connsiteX136" fmla="*/ 793172 w 3068803"/>
              <a:gd name="connsiteY136" fmla="*/ 199011 h 378306"/>
              <a:gd name="connsiteX137" fmla="*/ 810106 w 3068803"/>
              <a:gd name="connsiteY137" fmla="*/ 143977 h 378306"/>
              <a:gd name="connsiteX138" fmla="*/ 875146 w 3068803"/>
              <a:gd name="connsiteY138" fmla="*/ 113190 h 378306"/>
              <a:gd name="connsiteX139" fmla="*/ 939031 w 3068803"/>
              <a:gd name="connsiteY139" fmla="*/ 177075 h 378306"/>
              <a:gd name="connsiteX140" fmla="*/ 927485 w 3068803"/>
              <a:gd name="connsiteY140" fmla="*/ 182462 h 378306"/>
              <a:gd name="connsiteX141" fmla="*/ 841663 w 3068803"/>
              <a:gd name="connsiteY141" fmla="*/ 182462 h 378306"/>
              <a:gd name="connsiteX142" fmla="*/ 841663 w 3068803"/>
              <a:gd name="connsiteY142" fmla="*/ 182847 h 378306"/>
              <a:gd name="connsiteX143" fmla="*/ 877839 w 3068803"/>
              <a:gd name="connsiteY143" fmla="*/ 168608 h 378306"/>
              <a:gd name="connsiteX144" fmla="*/ 889769 w 3068803"/>
              <a:gd name="connsiteY144" fmla="*/ 161296 h 378306"/>
              <a:gd name="connsiteX145" fmla="*/ 871297 w 3068803"/>
              <a:gd name="connsiteY145" fmla="*/ 128583 h 378306"/>
              <a:gd name="connsiteX146" fmla="*/ 841663 w 3068803"/>
              <a:gd name="connsiteY146" fmla="*/ 168608 h 378306"/>
              <a:gd name="connsiteX147" fmla="*/ 877839 w 3068803"/>
              <a:gd name="connsiteY147" fmla="*/ 168608 h 378306"/>
              <a:gd name="connsiteX148" fmla="*/ 1072953 w 3068803"/>
              <a:gd name="connsiteY148" fmla="*/ 156292 h 378306"/>
              <a:gd name="connsiteX149" fmla="*/ 1071420 w 3068803"/>
              <a:gd name="connsiteY149" fmla="*/ 159756 h 378306"/>
              <a:gd name="connsiteX150" fmla="*/ 1064495 w 3068803"/>
              <a:gd name="connsiteY150" fmla="*/ 162835 h 378306"/>
              <a:gd name="connsiteX151" fmla="*/ 1060647 w 3068803"/>
              <a:gd name="connsiteY151" fmla="*/ 161680 h 378306"/>
              <a:gd name="connsiteX152" fmla="*/ 1039863 w 3068803"/>
              <a:gd name="connsiteY152" fmla="*/ 139360 h 378306"/>
              <a:gd name="connsiteX153" fmla="*/ 1016765 w 3068803"/>
              <a:gd name="connsiteY153" fmla="*/ 128583 h 378306"/>
              <a:gd name="connsiteX154" fmla="*/ 994829 w 3068803"/>
              <a:gd name="connsiteY154" fmla="*/ 148981 h 378306"/>
              <a:gd name="connsiteX155" fmla="*/ 1027928 w 3068803"/>
              <a:gd name="connsiteY155" fmla="*/ 173226 h 378306"/>
              <a:gd name="connsiteX156" fmla="*/ 1066419 w 3068803"/>
              <a:gd name="connsiteY156" fmla="*/ 192853 h 378306"/>
              <a:gd name="connsiteX157" fmla="*/ 1078344 w 3068803"/>
              <a:gd name="connsiteY157" fmla="*/ 224796 h 378306"/>
              <a:gd name="connsiteX158" fmla="*/ 1011384 w 3068803"/>
              <a:gd name="connsiteY158" fmla="*/ 282138 h 378306"/>
              <a:gd name="connsiteX159" fmla="*/ 967511 w 3068803"/>
              <a:gd name="connsiteY159" fmla="*/ 271362 h 378306"/>
              <a:gd name="connsiteX160" fmla="*/ 965197 w 3068803"/>
              <a:gd name="connsiteY160" fmla="*/ 266359 h 378306"/>
              <a:gd name="connsiteX161" fmla="*/ 960196 w 3068803"/>
              <a:gd name="connsiteY161" fmla="*/ 230568 h 378306"/>
              <a:gd name="connsiteX162" fmla="*/ 962892 w 3068803"/>
              <a:gd name="connsiteY162" fmla="*/ 227490 h 378306"/>
              <a:gd name="connsiteX163" fmla="*/ 969816 w 3068803"/>
              <a:gd name="connsiteY163" fmla="*/ 225566 h 378306"/>
              <a:gd name="connsiteX164" fmla="*/ 972512 w 3068803"/>
              <a:gd name="connsiteY164" fmla="*/ 227105 h 378306"/>
              <a:gd name="connsiteX165" fmla="*/ 987523 w 3068803"/>
              <a:gd name="connsiteY165" fmla="*/ 249041 h 378306"/>
              <a:gd name="connsiteX166" fmla="*/ 1020232 w 3068803"/>
              <a:gd name="connsiteY166" fmla="*/ 268283 h 378306"/>
              <a:gd name="connsiteX167" fmla="*/ 1042168 w 3068803"/>
              <a:gd name="connsiteY167" fmla="*/ 245578 h 378306"/>
              <a:gd name="connsiteX168" fmla="*/ 1007145 w 3068803"/>
              <a:gd name="connsiteY168" fmla="*/ 218253 h 378306"/>
              <a:gd name="connsiteX169" fmla="*/ 961349 w 3068803"/>
              <a:gd name="connsiteY169" fmla="*/ 170532 h 378306"/>
              <a:gd name="connsiteX170" fmla="*/ 980980 w 3068803"/>
              <a:gd name="connsiteY170" fmla="*/ 127813 h 378306"/>
              <a:gd name="connsiteX171" fmla="*/ 1022156 w 3068803"/>
              <a:gd name="connsiteY171" fmla="*/ 114344 h 378306"/>
              <a:gd name="connsiteX172" fmla="*/ 1061409 w 3068803"/>
              <a:gd name="connsiteY172" fmla="*/ 122041 h 378306"/>
              <a:gd name="connsiteX173" fmla="*/ 1068343 w 3068803"/>
              <a:gd name="connsiteY173" fmla="*/ 128969 h 378306"/>
              <a:gd name="connsiteX174" fmla="*/ 1072953 w 3068803"/>
              <a:gd name="connsiteY174" fmla="*/ 156292 h 378306"/>
              <a:gd name="connsiteX175" fmla="*/ 1125293 w 3068803"/>
              <a:gd name="connsiteY175" fmla="*/ 125504 h 378306"/>
              <a:gd name="connsiteX176" fmla="*/ 1124141 w 3068803"/>
              <a:gd name="connsiteY176" fmla="*/ 37759 h 378306"/>
              <a:gd name="connsiteX177" fmla="*/ 1107596 w 3068803"/>
              <a:gd name="connsiteY177" fmla="*/ 25059 h 378306"/>
              <a:gd name="connsiteX178" fmla="*/ 1094889 w 3068803"/>
              <a:gd name="connsiteY178" fmla="*/ 25059 h 378306"/>
              <a:gd name="connsiteX179" fmla="*/ 1092203 w 3068803"/>
              <a:gd name="connsiteY179" fmla="*/ 23135 h 378306"/>
              <a:gd name="connsiteX180" fmla="*/ 1092203 w 3068803"/>
              <a:gd name="connsiteY180" fmla="*/ 12359 h 378306"/>
              <a:gd name="connsiteX181" fmla="*/ 1094889 w 3068803"/>
              <a:gd name="connsiteY181" fmla="*/ 9665 h 378306"/>
              <a:gd name="connsiteX182" fmla="*/ 1154163 w 3068803"/>
              <a:gd name="connsiteY182" fmla="*/ 10820 h 378306"/>
              <a:gd name="connsiteX183" fmla="*/ 1209580 w 3068803"/>
              <a:gd name="connsiteY183" fmla="*/ 9665 h 378306"/>
              <a:gd name="connsiteX184" fmla="*/ 1212656 w 3068803"/>
              <a:gd name="connsiteY184" fmla="*/ 12744 h 378306"/>
              <a:gd name="connsiteX185" fmla="*/ 1212656 w 3068803"/>
              <a:gd name="connsiteY185" fmla="*/ 21980 h 378306"/>
              <a:gd name="connsiteX186" fmla="*/ 1209580 w 3068803"/>
              <a:gd name="connsiteY186" fmla="*/ 25059 h 378306"/>
              <a:gd name="connsiteX187" fmla="*/ 1196492 w 3068803"/>
              <a:gd name="connsiteY187" fmla="*/ 25059 h 378306"/>
              <a:gd name="connsiteX188" fmla="*/ 1182643 w 3068803"/>
              <a:gd name="connsiteY188" fmla="*/ 35065 h 378306"/>
              <a:gd name="connsiteX189" fmla="*/ 1181481 w 3068803"/>
              <a:gd name="connsiteY189" fmla="*/ 134356 h 378306"/>
              <a:gd name="connsiteX190" fmla="*/ 1181481 w 3068803"/>
              <a:gd name="connsiteY190" fmla="*/ 151674 h 378306"/>
              <a:gd name="connsiteX191" fmla="*/ 1179948 w 3068803"/>
              <a:gd name="connsiteY191" fmla="*/ 244423 h 378306"/>
              <a:gd name="connsiteX192" fmla="*/ 1164936 w 3068803"/>
              <a:gd name="connsiteY192" fmla="*/ 301381 h 378306"/>
              <a:gd name="connsiteX193" fmla="*/ 1073725 w 3068803"/>
              <a:gd name="connsiteY193" fmla="*/ 357954 h 378306"/>
              <a:gd name="connsiteX194" fmla="*/ 1045635 w 3068803"/>
              <a:gd name="connsiteY194" fmla="*/ 331014 h 378306"/>
              <a:gd name="connsiteX195" fmla="*/ 1067953 w 3068803"/>
              <a:gd name="connsiteY195" fmla="*/ 307153 h 378306"/>
              <a:gd name="connsiteX196" fmla="*/ 1101824 w 3068803"/>
              <a:gd name="connsiteY196" fmla="*/ 337556 h 378306"/>
              <a:gd name="connsiteX197" fmla="*/ 1121836 w 3068803"/>
              <a:gd name="connsiteY197" fmla="*/ 315235 h 378306"/>
              <a:gd name="connsiteX198" fmla="*/ 1125684 w 3068803"/>
              <a:gd name="connsiteY198" fmla="*/ 152059 h 378306"/>
              <a:gd name="connsiteX199" fmla="*/ 1125684 w 3068803"/>
              <a:gd name="connsiteY199" fmla="*/ 125504 h 378306"/>
              <a:gd name="connsiteX200" fmla="*/ 1125293 w 3068803"/>
              <a:gd name="connsiteY200" fmla="*/ 125504 h 378306"/>
              <a:gd name="connsiteX201" fmla="*/ 1228820 w 3068803"/>
              <a:gd name="connsiteY201" fmla="*/ 254044 h 378306"/>
              <a:gd name="connsiteX202" fmla="*/ 1208808 w 3068803"/>
              <a:gd name="connsiteY202" fmla="*/ 194777 h 378306"/>
              <a:gd name="connsiteX203" fmla="*/ 1241136 w 3068803"/>
              <a:gd name="connsiteY203" fmla="*/ 132432 h 378306"/>
              <a:gd name="connsiteX204" fmla="*/ 1296943 w 3068803"/>
              <a:gd name="connsiteY204" fmla="*/ 113190 h 378306"/>
              <a:gd name="connsiteX205" fmla="*/ 1357360 w 3068803"/>
              <a:gd name="connsiteY205" fmla="*/ 136665 h 378306"/>
              <a:gd name="connsiteX206" fmla="*/ 1383144 w 3068803"/>
              <a:gd name="connsiteY206" fmla="*/ 196317 h 378306"/>
              <a:gd name="connsiteX207" fmla="*/ 1359284 w 3068803"/>
              <a:gd name="connsiteY207" fmla="*/ 254814 h 378306"/>
              <a:gd name="connsiteX208" fmla="*/ 1294248 w 3068803"/>
              <a:gd name="connsiteY208" fmla="*/ 280983 h 378306"/>
              <a:gd name="connsiteX209" fmla="*/ 1228820 w 3068803"/>
              <a:gd name="connsiteY209" fmla="*/ 254044 h 378306"/>
              <a:gd name="connsiteX210" fmla="*/ 1326185 w 3068803"/>
              <a:gd name="connsiteY210" fmla="*/ 194007 h 378306"/>
              <a:gd name="connsiteX211" fmla="*/ 1294629 w 3068803"/>
              <a:gd name="connsiteY211" fmla="*/ 129353 h 378306"/>
              <a:gd name="connsiteX212" fmla="*/ 1274236 w 3068803"/>
              <a:gd name="connsiteY212" fmla="*/ 139360 h 378306"/>
              <a:gd name="connsiteX213" fmla="*/ 1261920 w 3068803"/>
              <a:gd name="connsiteY213" fmla="*/ 197472 h 378306"/>
              <a:gd name="connsiteX214" fmla="*/ 1271159 w 3068803"/>
              <a:gd name="connsiteY214" fmla="*/ 249426 h 378306"/>
              <a:gd name="connsiteX215" fmla="*/ 1295781 w 3068803"/>
              <a:gd name="connsiteY215" fmla="*/ 265590 h 378306"/>
              <a:gd name="connsiteX216" fmla="*/ 1326185 w 3068803"/>
              <a:gd name="connsiteY216" fmla="*/ 194007 h 378306"/>
              <a:gd name="connsiteX217" fmla="*/ 1326185 w 3068803"/>
              <a:gd name="connsiteY217" fmla="*/ 194007 h 378306"/>
              <a:gd name="connsiteX218" fmla="*/ 1464345 w 3068803"/>
              <a:gd name="connsiteY218" fmla="*/ 247502 h 378306"/>
              <a:gd name="connsiteX219" fmla="*/ 1470117 w 3068803"/>
              <a:gd name="connsiteY219" fmla="*/ 262896 h 378306"/>
              <a:gd name="connsiteX220" fmla="*/ 1477432 w 3068803"/>
              <a:gd name="connsiteY220" fmla="*/ 262896 h 378306"/>
              <a:gd name="connsiteX221" fmla="*/ 1480509 w 3068803"/>
              <a:gd name="connsiteY221" fmla="*/ 265974 h 378306"/>
              <a:gd name="connsiteX222" fmla="*/ 1480509 w 3068803"/>
              <a:gd name="connsiteY222" fmla="*/ 272902 h 378306"/>
              <a:gd name="connsiteX223" fmla="*/ 1477823 w 3068803"/>
              <a:gd name="connsiteY223" fmla="*/ 277135 h 378306"/>
              <a:gd name="connsiteX224" fmla="*/ 1435484 w 3068803"/>
              <a:gd name="connsiteY224" fmla="*/ 275980 h 378306"/>
              <a:gd name="connsiteX225" fmla="*/ 1391612 w 3068803"/>
              <a:gd name="connsiteY225" fmla="*/ 277135 h 378306"/>
              <a:gd name="connsiteX226" fmla="*/ 1388916 w 3068803"/>
              <a:gd name="connsiteY226" fmla="*/ 273287 h 378306"/>
              <a:gd name="connsiteX227" fmla="*/ 1388916 w 3068803"/>
              <a:gd name="connsiteY227" fmla="*/ 265974 h 378306"/>
              <a:gd name="connsiteX228" fmla="*/ 1394689 w 3068803"/>
              <a:gd name="connsiteY228" fmla="*/ 262896 h 378306"/>
              <a:gd name="connsiteX229" fmla="*/ 1400851 w 3068803"/>
              <a:gd name="connsiteY229" fmla="*/ 262896 h 378306"/>
              <a:gd name="connsiteX230" fmla="*/ 1413548 w 3068803"/>
              <a:gd name="connsiteY230" fmla="*/ 256353 h 378306"/>
              <a:gd name="connsiteX231" fmla="*/ 1415472 w 3068803"/>
              <a:gd name="connsiteY231" fmla="*/ 231722 h 378306"/>
              <a:gd name="connsiteX232" fmla="*/ 1414701 w 3068803"/>
              <a:gd name="connsiteY232" fmla="*/ 75859 h 378306"/>
              <a:gd name="connsiteX233" fmla="*/ 1397003 w 3068803"/>
              <a:gd name="connsiteY233" fmla="*/ 41223 h 378306"/>
              <a:gd name="connsiteX234" fmla="*/ 1390069 w 3068803"/>
              <a:gd name="connsiteY234" fmla="*/ 38914 h 378306"/>
              <a:gd name="connsiteX235" fmla="*/ 1386992 w 3068803"/>
              <a:gd name="connsiteY235" fmla="*/ 35450 h 378306"/>
              <a:gd name="connsiteX236" fmla="*/ 1386992 w 3068803"/>
              <a:gd name="connsiteY236" fmla="*/ 31217 h 378306"/>
              <a:gd name="connsiteX237" fmla="*/ 1393536 w 3068803"/>
              <a:gd name="connsiteY237" fmla="*/ 26599 h 378306"/>
              <a:gd name="connsiteX238" fmla="*/ 1450105 w 3068803"/>
              <a:gd name="connsiteY238" fmla="*/ 3892 h 378306"/>
              <a:gd name="connsiteX239" fmla="*/ 1461659 w 3068803"/>
              <a:gd name="connsiteY239" fmla="*/ 44 h 378306"/>
              <a:gd name="connsiteX240" fmla="*/ 1465116 w 3068803"/>
              <a:gd name="connsiteY240" fmla="*/ 9280 h 378306"/>
              <a:gd name="connsiteX241" fmla="*/ 1463964 w 3068803"/>
              <a:gd name="connsiteY241" fmla="*/ 113574 h 378306"/>
              <a:gd name="connsiteX242" fmla="*/ 1463964 w 3068803"/>
              <a:gd name="connsiteY242" fmla="*/ 135895 h 378306"/>
              <a:gd name="connsiteX243" fmla="*/ 1466660 w 3068803"/>
              <a:gd name="connsiteY243" fmla="*/ 135895 h 378306"/>
              <a:gd name="connsiteX244" fmla="*/ 1514761 w 3068803"/>
              <a:gd name="connsiteY244" fmla="*/ 113190 h 378306"/>
              <a:gd name="connsiteX245" fmla="*/ 1552861 w 3068803"/>
              <a:gd name="connsiteY245" fmla="*/ 127813 h 378306"/>
              <a:gd name="connsiteX246" fmla="*/ 1569025 w 3068803"/>
              <a:gd name="connsiteY246" fmla="*/ 185156 h 378306"/>
              <a:gd name="connsiteX247" fmla="*/ 1569025 w 3068803"/>
              <a:gd name="connsiteY247" fmla="*/ 208247 h 378306"/>
              <a:gd name="connsiteX248" fmla="*/ 1568253 w 3068803"/>
              <a:gd name="connsiteY248" fmla="*/ 256738 h 378306"/>
              <a:gd name="connsiteX249" fmla="*/ 1580188 w 3068803"/>
              <a:gd name="connsiteY249" fmla="*/ 262511 h 378306"/>
              <a:gd name="connsiteX250" fmla="*/ 1587113 w 3068803"/>
              <a:gd name="connsiteY250" fmla="*/ 262511 h 378306"/>
              <a:gd name="connsiteX251" fmla="*/ 1591351 w 3068803"/>
              <a:gd name="connsiteY251" fmla="*/ 265205 h 378306"/>
              <a:gd name="connsiteX252" fmla="*/ 1591351 w 3068803"/>
              <a:gd name="connsiteY252" fmla="*/ 272902 h 378306"/>
              <a:gd name="connsiteX253" fmla="*/ 1588265 w 3068803"/>
              <a:gd name="connsiteY253" fmla="*/ 276750 h 378306"/>
              <a:gd name="connsiteX254" fmla="*/ 1547479 w 3068803"/>
              <a:gd name="connsiteY254" fmla="*/ 275596 h 378306"/>
              <a:gd name="connsiteX255" fmla="*/ 1504760 w 3068803"/>
              <a:gd name="connsiteY255" fmla="*/ 276750 h 378306"/>
              <a:gd name="connsiteX256" fmla="*/ 1501292 w 3068803"/>
              <a:gd name="connsiteY256" fmla="*/ 272517 h 378306"/>
              <a:gd name="connsiteX257" fmla="*/ 1501292 w 3068803"/>
              <a:gd name="connsiteY257" fmla="*/ 265590 h 378306"/>
              <a:gd name="connsiteX258" fmla="*/ 1503988 w 3068803"/>
              <a:gd name="connsiteY258" fmla="*/ 262511 h 378306"/>
              <a:gd name="connsiteX259" fmla="*/ 1508989 w 3068803"/>
              <a:gd name="connsiteY259" fmla="*/ 262511 h 378306"/>
              <a:gd name="connsiteX260" fmla="*/ 1517847 w 3068803"/>
              <a:gd name="connsiteY260" fmla="*/ 255584 h 378306"/>
              <a:gd name="connsiteX261" fmla="*/ 1518999 w 3068803"/>
              <a:gd name="connsiteY261" fmla="*/ 219408 h 378306"/>
              <a:gd name="connsiteX262" fmla="*/ 1518999 w 3068803"/>
              <a:gd name="connsiteY262" fmla="*/ 196702 h 378306"/>
              <a:gd name="connsiteX263" fmla="*/ 1510532 w 3068803"/>
              <a:gd name="connsiteY263" fmla="*/ 142438 h 378306"/>
              <a:gd name="connsiteX264" fmla="*/ 1492825 w 3068803"/>
              <a:gd name="connsiteY264" fmla="*/ 135510 h 378306"/>
              <a:gd name="connsiteX265" fmla="*/ 1470889 w 3068803"/>
              <a:gd name="connsiteY265" fmla="*/ 148596 h 378306"/>
              <a:gd name="connsiteX266" fmla="*/ 1464345 w 3068803"/>
              <a:gd name="connsiteY266" fmla="*/ 167069 h 378306"/>
              <a:gd name="connsiteX267" fmla="*/ 1464345 w 3068803"/>
              <a:gd name="connsiteY267" fmla="*/ 247502 h 378306"/>
              <a:gd name="connsiteX268" fmla="*/ 1464345 w 3068803"/>
              <a:gd name="connsiteY268" fmla="*/ 247502 h 378306"/>
              <a:gd name="connsiteX269" fmla="*/ 1669475 w 3068803"/>
              <a:gd name="connsiteY269" fmla="*/ 133971 h 378306"/>
              <a:gd name="connsiteX270" fmla="*/ 1672552 w 3068803"/>
              <a:gd name="connsiteY270" fmla="*/ 133971 h 378306"/>
              <a:gd name="connsiteX271" fmla="*/ 1690640 w 3068803"/>
              <a:gd name="connsiteY271" fmla="*/ 120502 h 378306"/>
              <a:gd name="connsiteX272" fmla="*/ 1719501 w 3068803"/>
              <a:gd name="connsiteY272" fmla="*/ 113574 h 378306"/>
              <a:gd name="connsiteX273" fmla="*/ 1757991 w 3068803"/>
              <a:gd name="connsiteY273" fmla="*/ 123965 h 378306"/>
              <a:gd name="connsiteX274" fmla="*/ 1774917 w 3068803"/>
              <a:gd name="connsiteY274" fmla="*/ 166683 h 378306"/>
              <a:gd name="connsiteX275" fmla="*/ 1774917 w 3068803"/>
              <a:gd name="connsiteY275" fmla="*/ 206323 h 378306"/>
              <a:gd name="connsiteX276" fmla="*/ 1773384 w 3068803"/>
              <a:gd name="connsiteY276" fmla="*/ 249810 h 378306"/>
              <a:gd name="connsiteX277" fmla="*/ 1782232 w 3068803"/>
              <a:gd name="connsiteY277" fmla="*/ 262896 h 378306"/>
              <a:gd name="connsiteX278" fmla="*/ 1792243 w 3068803"/>
              <a:gd name="connsiteY278" fmla="*/ 262896 h 378306"/>
              <a:gd name="connsiteX279" fmla="*/ 1796472 w 3068803"/>
              <a:gd name="connsiteY279" fmla="*/ 266359 h 378306"/>
              <a:gd name="connsiteX280" fmla="*/ 1796472 w 3068803"/>
              <a:gd name="connsiteY280" fmla="*/ 273287 h 378306"/>
              <a:gd name="connsiteX281" fmla="*/ 1793396 w 3068803"/>
              <a:gd name="connsiteY281" fmla="*/ 277520 h 378306"/>
              <a:gd name="connsiteX282" fmla="*/ 1749133 w 3068803"/>
              <a:gd name="connsiteY282" fmla="*/ 276365 h 378306"/>
              <a:gd name="connsiteX283" fmla="*/ 1709880 w 3068803"/>
              <a:gd name="connsiteY283" fmla="*/ 277520 h 378306"/>
              <a:gd name="connsiteX284" fmla="*/ 1706804 w 3068803"/>
              <a:gd name="connsiteY284" fmla="*/ 273287 h 378306"/>
              <a:gd name="connsiteX285" fmla="*/ 1706804 w 3068803"/>
              <a:gd name="connsiteY285" fmla="*/ 266359 h 378306"/>
              <a:gd name="connsiteX286" fmla="*/ 1711804 w 3068803"/>
              <a:gd name="connsiteY286" fmla="*/ 262896 h 378306"/>
              <a:gd name="connsiteX287" fmla="*/ 1716043 w 3068803"/>
              <a:gd name="connsiteY287" fmla="*/ 262896 h 378306"/>
              <a:gd name="connsiteX288" fmla="*/ 1722968 w 3068803"/>
              <a:gd name="connsiteY288" fmla="*/ 254429 h 378306"/>
              <a:gd name="connsiteX289" fmla="*/ 1725273 w 3068803"/>
              <a:gd name="connsiteY289" fmla="*/ 215560 h 378306"/>
              <a:gd name="connsiteX290" fmla="*/ 1725273 w 3068803"/>
              <a:gd name="connsiteY290" fmla="*/ 175150 h 378306"/>
              <a:gd name="connsiteX291" fmla="*/ 1716424 w 3068803"/>
              <a:gd name="connsiteY291" fmla="*/ 143977 h 378306"/>
              <a:gd name="connsiteX292" fmla="*/ 1697955 w 3068803"/>
              <a:gd name="connsiteY292" fmla="*/ 137050 h 378306"/>
              <a:gd name="connsiteX293" fmla="*/ 1678705 w 3068803"/>
              <a:gd name="connsiteY293" fmla="*/ 144362 h 378306"/>
              <a:gd name="connsiteX294" fmla="*/ 1671399 w 3068803"/>
              <a:gd name="connsiteY294" fmla="*/ 173226 h 378306"/>
              <a:gd name="connsiteX295" fmla="*/ 1670247 w 3068803"/>
              <a:gd name="connsiteY295" fmla="*/ 250580 h 378306"/>
              <a:gd name="connsiteX296" fmla="*/ 1676400 w 3068803"/>
              <a:gd name="connsiteY296" fmla="*/ 262896 h 378306"/>
              <a:gd name="connsiteX297" fmla="*/ 1681401 w 3068803"/>
              <a:gd name="connsiteY297" fmla="*/ 262896 h 378306"/>
              <a:gd name="connsiteX298" fmla="*/ 1685249 w 3068803"/>
              <a:gd name="connsiteY298" fmla="*/ 266744 h 378306"/>
              <a:gd name="connsiteX299" fmla="*/ 1685249 w 3068803"/>
              <a:gd name="connsiteY299" fmla="*/ 273672 h 378306"/>
              <a:gd name="connsiteX300" fmla="*/ 1682553 w 3068803"/>
              <a:gd name="connsiteY300" fmla="*/ 277135 h 378306"/>
              <a:gd name="connsiteX301" fmla="*/ 1645225 w 3068803"/>
              <a:gd name="connsiteY301" fmla="*/ 275980 h 378306"/>
              <a:gd name="connsiteX302" fmla="*/ 1604429 w 3068803"/>
              <a:gd name="connsiteY302" fmla="*/ 277135 h 378306"/>
              <a:gd name="connsiteX303" fmla="*/ 1601743 w 3068803"/>
              <a:gd name="connsiteY303" fmla="*/ 273672 h 378306"/>
              <a:gd name="connsiteX304" fmla="*/ 1601743 w 3068803"/>
              <a:gd name="connsiteY304" fmla="*/ 266359 h 378306"/>
              <a:gd name="connsiteX305" fmla="*/ 1605591 w 3068803"/>
              <a:gd name="connsiteY305" fmla="*/ 262896 h 378306"/>
              <a:gd name="connsiteX306" fmla="*/ 1611363 w 3068803"/>
              <a:gd name="connsiteY306" fmla="*/ 262896 h 378306"/>
              <a:gd name="connsiteX307" fmla="*/ 1621755 w 3068803"/>
              <a:gd name="connsiteY307" fmla="*/ 255584 h 378306"/>
              <a:gd name="connsiteX308" fmla="*/ 1621755 w 3068803"/>
              <a:gd name="connsiteY308" fmla="*/ 172456 h 378306"/>
              <a:gd name="connsiteX309" fmla="*/ 1606744 w 3068803"/>
              <a:gd name="connsiteY309" fmla="*/ 150905 h 378306"/>
              <a:gd name="connsiteX310" fmla="*/ 1603277 w 3068803"/>
              <a:gd name="connsiteY310" fmla="*/ 149366 h 378306"/>
              <a:gd name="connsiteX311" fmla="*/ 1600581 w 3068803"/>
              <a:gd name="connsiteY311" fmla="*/ 145132 h 378306"/>
              <a:gd name="connsiteX312" fmla="*/ 1600581 w 3068803"/>
              <a:gd name="connsiteY312" fmla="*/ 141668 h 378306"/>
              <a:gd name="connsiteX313" fmla="*/ 1604048 w 3068803"/>
              <a:gd name="connsiteY313" fmla="*/ 137819 h 378306"/>
              <a:gd name="connsiteX314" fmla="*/ 1652159 w 3068803"/>
              <a:gd name="connsiteY314" fmla="*/ 116268 h 378306"/>
              <a:gd name="connsiteX315" fmla="*/ 1660617 w 3068803"/>
              <a:gd name="connsiteY315" fmla="*/ 113574 h 378306"/>
              <a:gd name="connsiteX316" fmla="*/ 1666008 w 3068803"/>
              <a:gd name="connsiteY316" fmla="*/ 118192 h 378306"/>
              <a:gd name="connsiteX317" fmla="*/ 1669475 w 3068803"/>
              <a:gd name="connsiteY317" fmla="*/ 133971 h 378306"/>
              <a:gd name="connsiteX318" fmla="*/ 1669475 w 3068803"/>
              <a:gd name="connsiteY318" fmla="*/ 133971 h 378306"/>
              <a:gd name="connsiteX319" fmla="*/ 1954263 w 3068803"/>
              <a:gd name="connsiteY319" fmla="*/ 85480 h 378306"/>
              <a:gd name="connsiteX320" fmla="*/ 1951949 w 3068803"/>
              <a:gd name="connsiteY320" fmla="*/ 85480 h 378306"/>
              <a:gd name="connsiteX321" fmla="*/ 1880759 w 3068803"/>
              <a:gd name="connsiteY321" fmla="*/ 274056 h 378306"/>
              <a:gd name="connsiteX322" fmla="*/ 1871520 w 3068803"/>
              <a:gd name="connsiteY322" fmla="*/ 283293 h 378306"/>
              <a:gd name="connsiteX323" fmla="*/ 1863824 w 3068803"/>
              <a:gd name="connsiteY323" fmla="*/ 275980 h 378306"/>
              <a:gd name="connsiteX324" fmla="*/ 1779156 w 3068803"/>
              <a:gd name="connsiteY324" fmla="*/ 38529 h 378306"/>
              <a:gd name="connsiteX325" fmla="*/ 1763763 w 3068803"/>
              <a:gd name="connsiteY325" fmla="*/ 25059 h 378306"/>
              <a:gd name="connsiteX326" fmla="*/ 1754524 w 3068803"/>
              <a:gd name="connsiteY326" fmla="*/ 25059 h 378306"/>
              <a:gd name="connsiteX327" fmla="*/ 1752219 w 3068803"/>
              <a:gd name="connsiteY327" fmla="*/ 21980 h 378306"/>
              <a:gd name="connsiteX328" fmla="*/ 1752219 w 3068803"/>
              <a:gd name="connsiteY328" fmla="*/ 12359 h 378306"/>
              <a:gd name="connsiteX329" fmla="*/ 1755296 w 3068803"/>
              <a:gd name="connsiteY329" fmla="*/ 9665 h 378306"/>
              <a:gd name="connsiteX330" fmla="*/ 1808407 w 3068803"/>
              <a:gd name="connsiteY330" fmla="*/ 10820 h 378306"/>
              <a:gd name="connsiteX331" fmla="*/ 1854584 w 3068803"/>
              <a:gd name="connsiteY331" fmla="*/ 9665 h 378306"/>
              <a:gd name="connsiteX332" fmla="*/ 1857661 w 3068803"/>
              <a:gd name="connsiteY332" fmla="*/ 12744 h 378306"/>
              <a:gd name="connsiteX333" fmla="*/ 1857661 w 3068803"/>
              <a:gd name="connsiteY333" fmla="*/ 21980 h 378306"/>
              <a:gd name="connsiteX334" fmla="*/ 1854584 w 3068803"/>
              <a:gd name="connsiteY334" fmla="*/ 25059 h 378306"/>
              <a:gd name="connsiteX335" fmla="*/ 1846507 w 3068803"/>
              <a:gd name="connsiteY335" fmla="*/ 25059 h 378306"/>
              <a:gd name="connsiteX336" fmla="*/ 1839192 w 3068803"/>
              <a:gd name="connsiteY336" fmla="*/ 37759 h 378306"/>
              <a:gd name="connsiteX337" fmla="*/ 1890379 w 3068803"/>
              <a:gd name="connsiteY337" fmla="*/ 200935 h 378306"/>
              <a:gd name="connsiteX338" fmla="*/ 1892684 w 3068803"/>
              <a:gd name="connsiteY338" fmla="*/ 200935 h 378306"/>
              <a:gd name="connsiteX339" fmla="*/ 1941948 w 3068803"/>
              <a:gd name="connsiteY339" fmla="*/ 55462 h 378306"/>
              <a:gd name="connsiteX340" fmla="*/ 1935023 w 3068803"/>
              <a:gd name="connsiteY340" fmla="*/ 31986 h 378306"/>
              <a:gd name="connsiteX341" fmla="*/ 1923860 w 3068803"/>
              <a:gd name="connsiteY341" fmla="*/ 25059 h 378306"/>
              <a:gd name="connsiteX342" fmla="*/ 1916544 w 3068803"/>
              <a:gd name="connsiteY342" fmla="*/ 25059 h 378306"/>
              <a:gd name="connsiteX343" fmla="*/ 1914239 w 3068803"/>
              <a:gd name="connsiteY343" fmla="*/ 21980 h 378306"/>
              <a:gd name="connsiteX344" fmla="*/ 1914239 w 3068803"/>
              <a:gd name="connsiteY344" fmla="*/ 12359 h 378306"/>
              <a:gd name="connsiteX345" fmla="*/ 1916935 w 3068803"/>
              <a:gd name="connsiteY345" fmla="*/ 9665 h 378306"/>
              <a:gd name="connsiteX346" fmla="*/ 1966189 w 3068803"/>
              <a:gd name="connsiteY346" fmla="*/ 10820 h 378306"/>
              <a:gd name="connsiteX347" fmla="*/ 2015452 w 3068803"/>
              <a:gd name="connsiteY347" fmla="*/ 9665 h 378306"/>
              <a:gd name="connsiteX348" fmla="*/ 2018148 w 3068803"/>
              <a:gd name="connsiteY348" fmla="*/ 13129 h 378306"/>
              <a:gd name="connsiteX349" fmla="*/ 2018148 w 3068803"/>
              <a:gd name="connsiteY349" fmla="*/ 22365 h 378306"/>
              <a:gd name="connsiteX350" fmla="*/ 2015452 w 3068803"/>
              <a:gd name="connsiteY350" fmla="*/ 25059 h 378306"/>
              <a:gd name="connsiteX351" fmla="*/ 2004289 w 3068803"/>
              <a:gd name="connsiteY351" fmla="*/ 25059 h 378306"/>
              <a:gd name="connsiteX352" fmla="*/ 1996983 w 3068803"/>
              <a:gd name="connsiteY352" fmla="*/ 39683 h 378306"/>
              <a:gd name="connsiteX353" fmla="*/ 2048551 w 3068803"/>
              <a:gd name="connsiteY353" fmla="*/ 200935 h 378306"/>
              <a:gd name="connsiteX354" fmla="*/ 2050856 w 3068803"/>
              <a:gd name="connsiteY354" fmla="*/ 200935 h 378306"/>
              <a:gd name="connsiteX355" fmla="*/ 2101272 w 3068803"/>
              <a:gd name="connsiteY355" fmla="*/ 34680 h 378306"/>
              <a:gd name="connsiteX356" fmla="*/ 2089347 w 3068803"/>
              <a:gd name="connsiteY356" fmla="*/ 25059 h 378306"/>
              <a:gd name="connsiteX357" fmla="*/ 2078565 w 3068803"/>
              <a:gd name="connsiteY357" fmla="*/ 25059 h 378306"/>
              <a:gd name="connsiteX358" fmla="*/ 2075869 w 3068803"/>
              <a:gd name="connsiteY358" fmla="*/ 21596 h 378306"/>
              <a:gd name="connsiteX359" fmla="*/ 2075869 w 3068803"/>
              <a:gd name="connsiteY359" fmla="*/ 12359 h 378306"/>
              <a:gd name="connsiteX360" fmla="*/ 2078955 w 3068803"/>
              <a:gd name="connsiteY360" fmla="*/ 9665 h 378306"/>
              <a:gd name="connsiteX361" fmla="*/ 2118979 w 3068803"/>
              <a:gd name="connsiteY361" fmla="*/ 10820 h 378306"/>
              <a:gd name="connsiteX362" fmla="*/ 2153612 w 3068803"/>
              <a:gd name="connsiteY362" fmla="*/ 9665 h 378306"/>
              <a:gd name="connsiteX363" fmla="*/ 2156308 w 3068803"/>
              <a:gd name="connsiteY363" fmla="*/ 13129 h 378306"/>
              <a:gd name="connsiteX364" fmla="*/ 2156308 w 3068803"/>
              <a:gd name="connsiteY364" fmla="*/ 22365 h 378306"/>
              <a:gd name="connsiteX365" fmla="*/ 2153612 w 3068803"/>
              <a:gd name="connsiteY365" fmla="*/ 25059 h 378306"/>
              <a:gd name="connsiteX366" fmla="*/ 2146687 w 3068803"/>
              <a:gd name="connsiteY366" fmla="*/ 25059 h 378306"/>
              <a:gd name="connsiteX367" fmla="*/ 2128980 w 3068803"/>
              <a:gd name="connsiteY367" fmla="*/ 38529 h 378306"/>
              <a:gd name="connsiteX368" fmla="*/ 2041617 w 3068803"/>
              <a:gd name="connsiteY368" fmla="*/ 271747 h 378306"/>
              <a:gd name="connsiteX369" fmla="*/ 2030463 w 3068803"/>
              <a:gd name="connsiteY369" fmla="*/ 283293 h 378306"/>
              <a:gd name="connsiteX370" fmla="*/ 2021224 w 3068803"/>
              <a:gd name="connsiteY370" fmla="*/ 273287 h 378306"/>
              <a:gd name="connsiteX371" fmla="*/ 1954263 w 3068803"/>
              <a:gd name="connsiteY371" fmla="*/ 85480 h 378306"/>
              <a:gd name="connsiteX372" fmla="*/ 1954263 w 3068803"/>
              <a:gd name="connsiteY372" fmla="*/ 85480 h 378306"/>
              <a:gd name="connsiteX373" fmla="*/ 2157841 w 3068803"/>
              <a:gd name="connsiteY373" fmla="*/ 182847 h 378306"/>
              <a:gd name="connsiteX374" fmla="*/ 2157841 w 3068803"/>
              <a:gd name="connsiteY374" fmla="*/ 192853 h 378306"/>
              <a:gd name="connsiteX375" fmla="*/ 2207105 w 3068803"/>
              <a:gd name="connsiteY375" fmla="*/ 250965 h 378306"/>
              <a:gd name="connsiteX376" fmla="*/ 2247900 w 3068803"/>
              <a:gd name="connsiteY376" fmla="*/ 230183 h 378306"/>
              <a:gd name="connsiteX377" fmla="*/ 2251748 w 3068803"/>
              <a:gd name="connsiteY377" fmla="*/ 229029 h 378306"/>
              <a:gd name="connsiteX378" fmla="*/ 2258292 w 3068803"/>
              <a:gd name="connsiteY378" fmla="*/ 232492 h 378306"/>
              <a:gd name="connsiteX379" fmla="*/ 2257520 w 3068803"/>
              <a:gd name="connsiteY379" fmla="*/ 241344 h 378306"/>
              <a:gd name="connsiteX380" fmla="*/ 2191331 w 3068803"/>
              <a:gd name="connsiteY380" fmla="*/ 280983 h 378306"/>
              <a:gd name="connsiteX381" fmla="*/ 2135143 w 3068803"/>
              <a:gd name="connsiteY381" fmla="*/ 263281 h 378306"/>
              <a:gd name="connsiteX382" fmla="*/ 2109359 w 3068803"/>
              <a:gd name="connsiteY382" fmla="*/ 199011 h 378306"/>
              <a:gd name="connsiteX383" fmla="*/ 2126285 w 3068803"/>
              <a:gd name="connsiteY383" fmla="*/ 143977 h 378306"/>
              <a:gd name="connsiteX384" fmla="*/ 2191331 w 3068803"/>
              <a:gd name="connsiteY384" fmla="*/ 113190 h 378306"/>
              <a:gd name="connsiteX385" fmla="*/ 2255215 w 3068803"/>
              <a:gd name="connsiteY385" fmla="*/ 177075 h 378306"/>
              <a:gd name="connsiteX386" fmla="*/ 2243671 w 3068803"/>
              <a:gd name="connsiteY386" fmla="*/ 182462 h 378306"/>
              <a:gd name="connsiteX387" fmla="*/ 2157841 w 3068803"/>
              <a:gd name="connsiteY387" fmla="*/ 182462 h 378306"/>
              <a:gd name="connsiteX388" fmla="*/ 2157841 w 3068803"/>
              <a:gd name="connsiteY388" fmla="*/ 182847 h 378306"/>
              <a:gd name="connsiteX389" fmla="*/ 2194408 w 3068803"/>
              <a:gd name="connsiteY389" fmla="*/ 168608 h 378306"/>
              <a:gd name="connsiteX390" fmla="*/ 2206333 w 3068803"/>
              <a:gd name="connsiteY390" fmla="*/ 161296 h 378306"/>
              <a:gd name="connsiteX391" fmla="*/ 2187864 w 3068803"/>
              <a:gd name="connsiteY391" fmla="*/ 128583 h 378306"/>
              <a:gd name="connsiteX392" fmla="*/ 2158232 w 3068803"/>
              <a:gd name="connsiteY392" fmla="*/ 168608 h 378306"/>
              <a:gd name="connsiteX393" fmla="*/ 2194408 w 3068803"/>
              <a:gd name="connsiteY393" fmla="*/ 168608 h 378306"/>
              <a:gd name="connsiteX394" fmla="*/ 2389527 w 3068803"/>
              <a:gd name="connsiteY394" fmla="*/ 156292 h 378306"/>
              <a:gd name="connsiteX395" fmla="*/ 2387984 w 3068803"/>
              <a:gd name="connsiteY395" fmla="*/ 159756 h 378306"/>
              <a:gd name="connsiteX396" fmla="*/ 2381060 w 3068803"/>
              <a:gd name="connsiteY396" fmla="*/ 162835 h 378306"/>
              <a:gd name="connsiteX397" fmla="*/ 2377212 w 3068803"/>
              <a:gd name="connsiteY397" fmla="*/ 161680 h 378306"/>
              <a:gd name="connsiteX398" fmla="*/ 2356428 w 3068803"/>
              <a:gd name="connsiteY398" fmla="*/ 139360 h 378306"/>
              <a:gd name="connsiteX399" fmla="*/ 2333339 w 3068803"/>
              <a:gd name="connsiteY399" fmla="*/ 128583 h 378306"/>
              <a:gd name="connsiteX400" fmla="*/ 2311403 w 3068803"/>
              <a:gd name="connsiteY400" fmla="*/ 148981 h 378306"/>
              <a:gd name="connsiteX401" fmla="*/ 2344493 w 3068803"/>
              <a:gd name="connsiteY401" fmla="*/ 173226 h 378306"/>
              <a:gd name="connsiteX402" fmla="*/ 2382984 w 3068803"/>
              <a:gd name="connsiteY402" fmla="*/ 192853 h 378306"/>
              <a:gd name="connsiteX403" fmla="*/ 2394909 w 3068803"/>
              <a:gd name="connsiteY403" fmla="*/ 224796 h 378306"/>
              <a:gd name="connsiteX404" fmla="*/ 2327948 w 3068803"/>
              <a:gd name="connsiteY404" fmla="*/ 282138 h 378306"/>
              <a:gd name="connsiteX405" fmla="*/ 2284076 w 3068803"/>
              <a:gd name="connsiteY405" fmla="*/ 271362 h 378306"/>
              <a:gd name="connsiteX406" fmla="*/ 2281771 w 3068803"/>
              <a:gd name="connsiteY406" fmla="*/ 266359 h 378306"/>
              <a:gd name="connsiteX407" fmla="*/ 2276761 w 3068803"/>
              <a:gd name="connsiteY407" fmla="*/ 230568 h 378306"/>
              <a:gd name="connsiteX408" fmla="*/ 2279456 w 3068803"/>
              <a:gd name="connsiteY408" fmla="*/ 227490 h 378306"/>
              <a:gd name="connsiteX409" fmla="*/ 2286381 w 3068803"/>
              <a:gd name="connsiteY409" fmla="*/ 225566 h 378306"/>
              <a:gd name="connsiteX410" fmla="*/ 2289077 w 3068803"/>
              <a:gd name="connsiteY410" fmla="*/ 227105 h 378306"/>
              <a:gd name="connsiteX411" fmla="*/ 2304088 w 3068803"/>
              <a:gd name="connsiteY411" fmla="*/ 249041 h 378306"/>
              <a:gd name="connsiteX412" fmla="*/ 2336797 w 3068803"/>
              <a:gd name="connsiteY412" fmla="*/ 268283 h 378306"/>
              <a:gd name="connsiteX413" fmla="*/ 2358733 w 3068803"/>
              <a:gd name="connsiteY413" fmla="*/ 245578 h 378306"/>
              <a:gd name="connsiteX414" fmla="*/ 2323719 w 3068803"/>
              <a:gd name="connsiteY414" fmla="*/ 218253 h 378306"/>
              <a:gd name="connsiteX415" fmla="*/ 2277923 w 3068803"/>
              <a:gd name="connsiteY415" fmla="*/ 170532 h 378306"/>
              <a:gd name="connsiteX416" fmla="*/ 2297544 w 3068803"/>
              <a:gd name="connsiteY416" fmla="*/ 127813 h 378306"/>
              <a:gd name="connsiteX417" fmla="*/ 2338721 w 3068803"/>
              <a:gd name="connsiteY417" fmla="*/ 114344 h 378306"/>
              <a:gd name="connsiteX418" fmla="*/ 2377983 w 3068803"/>
              <a:gd name="connsiteY418" fmla="*/ 122041 h 378306"/>
              <a:gd name="connsiteX419" fmla="*/ 2384908 w 3068803"/>
              <a:gd name="connsiteY419" fmla="*/ 128969 h 378306"/>
              <a:gd name="connsiteX420" fmla="*/ 2389527 w 3068803"/>
              <a:gd name="connsiteY420" fmla="*/ 156292 h 378306"/>
              <a:gd name="connsiteX421" fmla="*/ 2389527 w 3068803"/>
              <a:gd name="connsiteY421" fmla="*/ 156292 h 378306"/>
              <a:gd name="connsiteX422" fmla="*/ 2479196 w 3068803"/>
              <a:gd name="connsiteY422" fmla="*/ 221332 h 378306"/>
              <a:gd name="connsiteX423" fmla="*/ 2499979 w 3068803"/>
              <a:gd name="connsiteY423" fmla="*/ 258662 h 378306"/>
              <a:gd name="connsiteX424" fmla="*/ 2519601 w 3068803"/>
              <a:gd name="connsiteY424" fmla="*/ 254044 h 378306"/>
              <a:gd name="connsiteX425" fmla="*/ 2523068 w 3068803"/>
              <a:gd name="connsiteY425" fmla="*/ 255584 h 378306"/>
              <a:gd name="connsiteX426" fmla="*/ 2525763 w 3068803"/>
              <a:gd name="connsiteY426" fmla="*/ 261356 h 378306"/>
              <a:gd name="connsiteX427" fmla="*/ 2524220 w 3068803"/>
              <a:gd name="connsiteY427" fmla="*/ 266359 h 378306"/>
              <a:gd name="connsiteX428" fmla="*/ 2471881 w 3068803"/>
              <a:gd name="connsiteY428" fmla="*/ 281369 h 378306"/>
              <a:gd name="connsiteX429" fmla="*/ 2430323 w 3068803"/>
              <a:gd name="connsiteY429" fmla="*/ 246732 h 378306"/>
              <a:gd name="connsiteX430" fmla="*/ 2431085 w 3068803"/>
              <a:gd name="connsiteY430" fmla="*/ 190929 h 378306"/>
              <a:gd name="connsiteX431" fmla="*/ 2431475 w 3068803"/>
              <a:gd name="connsiteY431" fmla="*/ 141668 h 378306"/>
              <a:gd name="connsiteX432" fmla="*/ 2410692 w 3068803"/>
              <a:gd name="connsiteY432" fmla="*/ 141668 h 378306"/>
              <a:gd name="connsiteX433" fmla="*/ 2404529 w 3068803"/>
              <a:gd name="connsiteY433" fmla="*/ 136280 h 378306"/>
              <a:gd name="connsiteX434" fmla="*/ 2412616 w 3068803"/>
              <a:gd name="connsiteY434" fmla="*/ 127044 h 378306"/>
              <a:gd name="connsiteX435" fmla="*/ 2470347 w 3068803"/>
              <a:gd name="connsiteY435" fmla="*/ 77783 h 378306"/>
              <a:gd name="connsiteX436" fmla="*/ 2477272 w 3068803"/>
              <a:gd name="connsiteY436" fmla="*/ 73935 h 378306"/>
              <a:gd name="connsiteX437" fmla="*/ 2482272 w 3068803"/>
              <a:gd name="connsiteY437" fmla="*/ 79708 h 378306"/>
              <a:gd name="connsiteX438" fmla="*/ 2480729 w 3068803"/>
              <a:gd name="connsiteY438" fmla="*/ 119347 h 378306"/>
              <a:gd name="connsiteX439" fmla="*/ 2528459 w 3068803"/>
              <a:gd name="connsiteY439" fmla="*/ 119347 h 378306"/>
              <a:gd name="connsiteX440" fmla="*/ 2531145 w 3068803"/>
              <a:gd name="connsiteY440" fmla="*/ 122811 h 378306"/>
              <a:gd name="connsiteX441" fmla="*/ 2527297 w 3068803"/>
              <a:gd name="connsiteY441" fmla="*/ 138975 h 378306"/>
              <a:gd name="connsiteX442" fmla="*/ 2523839 w 3068803"/>
              <a:gd name="connsiteY442" fmla="*/ 142053 h 378306"/>
              <a:gd name="connsiteX443" fmla="*/ 2479967 w 3068803"/>
              <a:gd name="connsiteY443" fmla="*/ 142053 h 378306"/>
              <a:gd name="connsiteX444" fmla="*/ 2479196 w 3068803"/>
              <a:gd name="connsiteY444" fmla="*/ 192468 h 378306"/>
              <a:gd name="connsiteX445" fmla="*/ 2479196 w 3068803"/>
              <a:gd name="connsiteY445" fmla="*/ 221332 h 378306"/>
              <a:gd name="connsiteX446" fmla="*/ 2611584 w 3068803"/>
              <a:gd name="connsiteY446" fmla="*/ 247502 h 378306"/>
              <a:gd name="connsiteX447" fmla="*/ 2623128 w 3068803"/>
              <a:gd name="connsiteY447" fmla="*/ 262896 h 378306"/>
              <a:gd name="connsiteX448" fmla="*/ 2638520 w 3068803"/>
              <a:gd name="connsiteY448" fmla="*/ 262896 h 378306"/>
              <a:gd name="connsiteX449" fmla="*/ 2641216 w 3068803"/>
              <a:gd name="connsiteY449" fmla="*/ 266359 h 378306"/>
              <a:gd name="connsiteX450" fmla="*/ 2641216 w 3068803"/>
              <a:gd name="connsiteY450" fmla="*/ 273672 h 378306"/>
              <a:gd name="connsiteX451" fmla="*/ 2639292 w 3068803"/>
              <a:gd name="connsiteY451" fmla="*/ 277135 h 378306"/>
              <a:gd name="connsiteX452" fmla="*/ 2586181 w 3068803"/>
              <a:gd name="connsiteY452" fmla="*/ 275980 h 378306"/>
              <a:gd name="connsiteX453" fmla="*/ 2539232 w 3068803"/>
              <a:gd name="connsiteY453" fmla="*/ 277135 h 378306"/>
              <a:gd name="connsiteX454" fmla="*/ 2536917 w 3068803"/>
              <a:gd name="connsiteY454" fmla="*/ 273287 h 378306"/>
              <a:gd name="connsiteX455" fmla="*/ 2536917 w 3068803"/>
              <a:gd name="connsiteY455" fmla="*/ 266359 h 378306"/>
              <a:gd name="connsiteX456" fmla="*/ 2541156 w 3068803"/>
              <a:gd name="connsiteY456" fmla="*/ 262896 h 378306"/>
              <a:gd name="connsiteX457" fmla="*/ 2551929 w 3068803"/>
              <a:gd name="connsiteY457" fmla="*/ 262896 h 378306"/>
              <a:gd name="connsiteX458" fmla="*/ 2561549 w 3068803"/>
              <a:gd name="connsiteY458" fmla="*/ 254044 h 378306"/>
              <a:gd name="connsiteX459" fmla="*/ 2562320 w 3068803"/>
              <a:gd name="connsiteY459" fmla="*/ 211710 h 378306"/>
              <a:gd name="connsiteX460" fmla="*/ 2562320 w 3068803"/>
              <a:gd name="connsiteY460" fmla="*/ 180538 h 378306"/>
              <a:gd name="connsiteX461" fmla="*/ 2547309 w 3068803"/>
              <a:gd name="connsiteY461" fmla="*/ 151290 h 378306"/>
              <a:gd name="connsiteX462" fmla="*/ 2540765 w 3068803"/>
              <a:gd name="connsiteY462" fmla="*/ 147441 h 378306"/>
              <a:gd name="connsiteX463" fmla="*/ 2537689 w 3068803"/>
              <a:gd name="connsiteY463" fmla="*/ 143977 h 378306"/>
              <a:gd name="connsiteX464" fmla="*/ 2537689 w 3068803"/>
              <a:gd name="connsiteY464" fmla="*/ 140514 h 378306"/>
              <a:gd name="connsiteX465" fmla="*/ 2540765 w 3068803"/>
              <a:gd name="connsiteY465" fmla="*/ 137435 h 378306"/>
              <a:gd name="connsiteX466" fmla="*/ 2593105 w 3068803"/>
              <a:gd name="connsiteY466" fmla="*/ 114729 h 378306"/>
              <a:gd name="connsiteX467" fmla="*/ 2599268 w 3068803"/>
              <a:gd name="connsiteY467" fmla="*/ 113190 h 378306"/>
              <a:gd name="connsiteX468" fmla="*/ 2603887 w 3068803"/>
              <a:gd name="connsiteY468" fmla="*/ 117807 h 378306"/>
              <a:gd name="connsiteX469" fmla="*/ 2607345 w 3068803"/>
              <a:gd name="connsiteY469" fmla="*/ 147056 h 378306"/>
              <a:gd name="connsiteX470" fmla="*/ 2610041 w 3068803"/>
              <a:gd name="connsiteY470" fmla="*/ 147056 h 378306"/>
              <a:gd name="connsiteX471" fmla="*/ 2654684 w 3068803"/>
              <a:gd name="connsiteY471" fmla="*/ 111266 h 378306"/>
              <a:gd name="connsiteX472" fmla="*/ 2674696 w 3068803"/>
              <a:gd name="connsiteY472" fmla="*/ 132817 h 378306"/>
              <a:gd name="connsiteX473" fmla="*/ 2650836 w 3068803"/>
              <a:gd name="connsiteY473" fmla="*/ 153983 h 378306"/>
              <a:gd name="connsiteX474" fmla="*/ 2637368 w 3068803"/>
              <a:gd name="connsiteY474" fmla="*/ 150520 h 378306"/>
              <a:gd name="connsiteX475" fmla="*/ 2628129 w 3068803"/>
              <a:gd name="connsiteY475" fmla="*/ 147826 h 378306"/>
              <a:gd name="connsiteX476" fmla="*/ 2618508 w 3068803"/>
              <a:gd name="connsiteY476" fmla="*/ 154753 h 378306"/>
              <a:gd name="connsiteX477" fmla="*/ 2611965 w 3068803"/>
              <a:gd name="connsiteY477" fmla="*/ 176690 h 378306"/>
              <a:gd name="connsiteX478" fmla="*/ 2611965 w 3068803"/>
              <a:gd name="connsiteY478" fmla="*/ 247502 h 378306"/>
              <a:gd name="connsiteX479" fmla="*/ 2611584 w 3068803"/>
              <a:gd name="connsiteY479" fmla="*/ 247502 h 378306"/>
              <a:gd name="connsiteX480" fmla="*/ 2825553 w 3068803"/>
              <a:gd name="connsiteY480" fmla="*/ 279829 h 378306"/>
              <a:gd name="connsiteX481" fmla="*/ 2817476 w 3068803"/>
              <a:gd name="connsiteY481" fmla="*/ 281369 h 378306"/>
              <a:gd name="connsiteX482" fmla="*/ 2810932 w 3068803"/>
              <a:gd name="connsiteY482" fmla="*/ 276750 h 378306"/>
              <a:gd name="connsiteX483" fmla="*/ 2808627 w 3068803"/>
              <a:gd name="connsiteY483" fmla="*/ 256353 h 378306"/>
              <a:gd name="connsiteX484" fmla="*/ 2806313 w 3068803"/>
              <a:gd name="connsiteY484" fmla="*/ 256353 h 378306"/>
              <a:gd name="connsiteX485" fmla="*/ 2757059 w 3068803"/>
              <a:gd name="connsiteY485" fmla="*/ 280983 h 378306"/>
              <a:gd name="connsiteX486" fmla="*/ 2717797 w 3068803"/>
              <a:gd name="connsiteY486" fmla="*/ 263666 h 378306"/>
              <a:gd name="connsiteX487" fmla="*/ 2703557 w 3068803"/>
              <a:gd name="connsiteY487" fmla="*/ 198626 h 378306"/>
              <a:gd name="connsiteX488" fmla="*/ 2703948 w 3068803"/>
              <a:gd name="connsiteY488" fmla="*/ 182077 h 378306"/>
              <a:gd name="connsiteX489" fmla="*/ 2703557 w 3068803"/>
              <a:gd name="connsiteY489" fmla="*/ 144747 h 378306"/>
              <a:gd name="connsiteX490" fmla="*/ 2690860 w 3068803"/>
              <a:gd name="connsiteY490" fmla="*/ 131662 h 378306"/>
              <a:gd name="connsiteX491" fmla="*/ 2682783 w 3068803"/>
              <a:gd name="connsiteY491" fmla="*/ 128969 h 378306"/>
              <a:gd name="connsiteX492" fmla="*/ 2682783 w 3068803"/>
              <a:gd name="connsiteY492" fmla="*/ 121656 h 378306"/>
              <a:gd name="connsiteX493" fmla="*/ 2687012 w 3068803"/>
              <a:gd name="connsiteY493" fmla="*/ 118577 h 378306"/>
              <a:gd name="connsiteX494" fmla="*/ 2741657 w 3068803"/>
              <a:gd name="connsiteY494" fmla="*/ 118577 h 378306"/>
              <a:gd name="connsiteX495" fmla="*/ 2750896 w 3068803"/>
              <a:gd name="connsiteY495" fmla="*/ 117422 h 378306"/>
              <a:gd name="connsiteX496" fmla="*/ 2755135 w 3068803"/>
              <a:gd name="connsiteY496" fmla="*/ 122041 h 378306"/>
              <a:gd name="connsiteX497" fmla="*/ 2753592 w 3068803"/>
              <a:gd name="connsiteY497" fmla="*/ 172456 h 378306"/>
              <a:gd name="connsiteX498" fmla="*/ 2753592 w 3068803"/>
              <a:gd name="connsiteY498" fmla="*/ 192853 h 378306"/>
              <a:gd name="connsiteX499" fmla="*/ 2760517 w 3068803"/>
              <a:gd name="connsiteY499" fmla="*/ 250580 h 378306"/>
              <a:gd name="connsiteX500" fmla="*/ 2778995 w 3068803"/>
              <a:gd name="connsiteY500" fmla="*/ 258277 h 378306"/>
              <a:gd name="connsiteX501" fmla="*/ 2799388 w 3068803"/>
              <a:gd name="connsiteY501" fmla="*/ 246347 h 378306"/>
              <a:gd name="connsiteX502" fmla="*/ 2805541 w 3068803"/>
              <a:gd name="connsiteY502" fmla="*/ 232877 h 378306"/>
              <a:gd name="connsiteX503" fmla="*/ 2805160 w 3068803"/>
              <a:gd name="connsiteY503" fmla="*/ 144747 h 378306"/>
              <a:gd name="connsiteX504" fmla="*/ 2788996 w 3068803"/>
              <a:gd name="connsiteY504" fmla="*/ 131662 h 378306"/>
              <a:gd name="connsiteX505" fmla="*/ 2782453 w 3068803"/>
              <a:gd name="connsiteY505" fmla="*/ 128969 h 378306"/>
              <a:gd name="connsiteX506" fmla="*/ 2782453 w 3068803"/>
              <a:gd name="connsiteY506" fmla="*/ 122041 h 378306"/>
              <a:gd name="connsiteX507" fmla="*/ 2787072 w 3068803"/>
              <a:gd name="connsiteY507" fmla="*/ 118577 h 378306"/>
              <a:gd name="connsiteX508" fmla="*/ 2842879 w 3068803"/>
              <a:gd name="connsiteY508" fmla="*/ 118577 h 378306"/>
              <a:gd name="connsiteX509" fmla="*/ 2853652 w 3068803"/>
              <a:gd name="connsiteY509" fmla="*/ 117422 h 378306"/>
              <a:gd name="connsiteX510" fmla="*/ 2857119 w 3068803"/>
              <a:gd name="connsiteY510" fmla="*/ 121272 h 378306"/>
              <a:gd name="connsiteX511" fmla="*/ 2854805 w 3068803"/>
              <a:gd name="connsiteY511" fmla="*/ 172071 h 378306"/>
              <a:gd name="connsiteX512" fmla="*/ 2854805 w 3068803"/>
              <a:gd name="connsiteY512" fmla="*/ 200165 h 378306"/>
              <a:gd name="connsiteX513" fmla="*/ 2855576 w 3068803"/>
              <a:gd name="connsiteY513" fmla="*/ 243269 h 378306"/>
              <a:gd name="connsiteX514" fmla="*/ 2862501 w 3068803"/>
              <a:gd name="connsiteY514" fmla="*/ 256353 h 378306"/>
              <a:gd name="connsiteX515" fmla="*/ 2874817 w 3068803"/>
              <a:gd name="connsiteY515" fmla="*/ 255199 h 378306"/>
              <a:gd name="connsiteX516" fmla="*/ 2879436 w 3068803"/>
              <a:gd name="connsiteY516" fmla="*/ 256738 h 378306"/>
              <a:gd name="connsiteX517" fmla="*/ 2880589 w 3068803"/>
              <a:gd name="connsiteY517" fmla="*/ 263666 h 378306"/>
              <a:gd name="connsiteX518" fmla="*/ 2878665 w 3068803"/>
              <a:gd name="connsiteY518" fmla="*/ 266744 h 378306"/>
              <a:gd name="connsiteX519" fmla="*/ 2825553 w 3068803"/>
              <a:gd name="connsiteY519" fmla="*/ 279829 h 378306"/>
              <a:gd name="connsiteX520" fmla="*/ 2825553 w 3068803"/>
              <a:gd name="connsiteY520" fmla="*/ 279829 h 378306"/>
              <a:gd name="connsiteX521" fmla="*/ 2905992 w 3068803"/>
              <a:gd name="connsiteY521" fmla="*/ 175919 h 378306"/>
              <a:gd name="connsiteX522" fmla="*/ 2893676 w 3068803"/>
              <a:gd name="connsiteY522" fmla="*/ 151674 h 378306"/>
              <a:gd name="connsiteX523" fmla="*/ 2885208 w 3068803"/>
              <a:gd name="connsiteY523" fmla="*/ 147056 h 378306"/>
              <a:gd name="connsiteX524" fmla="*/ 2882513 w 3068803"/>
              <a:gd name="connsiteY524" fmla="*/ 143592 h 378306"/>
              <a:gd name="connsiteX525" fmla="*/ 2882513 w 3068803"/>
              <a:gd name="connsiteY525" fmla="*/ 138590 h 378306"/>
              <a:gd name="connsiteX526" fmla="*/ 2885208 w 3068803"/>
              <a:gd name="connsiteY526" fmla="*/ 135895 h 378306"/>
              <a:gd name="connsiteX527" fmla="*/ 2933700 w 3068803"/>
              <a:gd name="connsiteY527" fmla="*/ 116653 h 378306"/>
              <a:gd name="connsiteX528" fmla="*/ 2945244 w 3068803"/>
              <a:gd name="connsiteY528" fmla="*/ 112805 h 378306"/>
              <a:gd name="connsiteX529" fmla="*/ 2949864 w 3068803"/>
              <a:gd name="connsiteY529" fmla="*/ 120502 h 378306"/>
              <a:gd name="connsiteX530" fmla="*/ 2952560 w 3068803"/>
              <a:gd name="connsiteY530" fmla="*/ 134356 h 378306"/>
              <a:gd name="connsiteX531" fmla="*/ 2954093 w 3068803"/>
              <a:gd name="connsiteY531" fmla="*/ 134356 h 378306"/>
              <a:gd name="connsiteX532" fmla="*/ 3001823 w 3068803"/>
              <a:gd name="connsiteY532" fmla="*/ 112805 h 378306"/>
              <a:gd name="connsiteX533" fmla="*/ 3048381 w 3068803"/>
              <a:gd name="connsiteY533" fmla="*/ 132047 h 378306"/>
              <a:gd name="connsiteX534" fmla="*/ 3068784 w 3068803"/>
              <a:gd name="connsiteY534" fmla="*/ 184001 h 378306"/>
              <a:gd name="connsiteX535" fmla="*/ 2983344 w 3068803"/>
              <a:gd name="connsiteY535" fmla="*/ 280598 h 378306"/>
              <a:gd name="connsiteX536" fmla="*/ 2955255 w 3068803"/>
              <a:gd name="connsiteY536" fmla="*/ 274441 h 378306"/>
              <a:gd name="connsiteX537" fmla="*/ 2955636 w 3068803"/>
              <a:gd name="connsiteY537" fmla="*/ 331784 h 378306"/>
              <a:gd name="connsiteX538" fmla="*/ 2968724 w 3068803"/>
              <a:gd name="connsiteY538" fmla="*/ 364110 h 378306"/>
              <a:gd name="connsiteX539" fmla="*/ 2977953 w 3068803"/>
              <a:gd name="connsiteY539" fmla="*/ 364110 h 378306"/>
              <a:gd name="connsiteX540" fmla="*/ 2981420 w 3068803"/>
              <a:gd name="connsiteY540" fmla="*/ 367960 h 378306"/>
              <a:gd name="connsiteX541" fmla="*/ 2981420 w 3068803"/>
              <a:gd name="connsiteY541" fmla="*/ 374886 h 378306"/>
              <a:gd name="connsiteX542" fmla="*/ 2977953 w 3068803"/>
              <a:gd name="connsiteY542" fmla="*/ 378350 h 378306"/>
              <a:gd name="connsiteX543" fmla="*/ 2929852 w 3068803"/>
              <a:gd name="connsiteY543" fmla="*/ 377196 h 378306"/>
              <a:gd name="connsiteX544" fmla="*/ 2886361 w 3068803"/>
              <a:gd name="connsiteY544" fmla="*/ 378350 h 378306"/>
              <a:gd name="connsiteX545" fmla="*/ 2882903 w 3068803"/>
              <a:gd name="connsiteY545" fmla="*/ 374501 h 378306"/>
              <a:gd name="connsiteX546" fmla="*/ 2882903 w 3068803"/>
              <a:gd name="connsiteY546" fmla="*/ 367190 h 378306"/>
              <a:gd name="connsiteX547" fmla="*/ 2887523 w 3068803"/>
              <a:gd name="connsiteY547" fmla="*/ 364110 h 378306"/>
              <a:gd name="connsiteX548" fmla="*/ 2895981 w 3068803"/>
              <a:gd name="connsiteY548" fmla="*/ 364110 h 378306"/>
              <a:gd name="connsiteX549" fmla="*/ 2905611 w 3068803"/>
              <a:gd name="connsiteY549" fmla="*/ 354489 h 378306"/>
              <a:gd name="connsiteX550" fmla="*/ 2906373 w 3068803"/>
              <a:gd name="connsiteY550" fmla="*/ 313696 h 378306"/>
              <a:gd name="connsiteX551" fmla="*/ 2905992 w 3068803"/>
              <a:gd name="connsiteY551" fmla="*/ 175919 h 378306"/>
              <a:gd name="connsiteX552" fmla="*/ 2905992 w 3068803"/>
              <a:gd name="connsiteY552" fmla="*/ 175919 h 378306"/>
              <a:gd name="connsiteX553" fmla="*/ 2954865 w 3068803"/>
              <a:gd name="connsiteY553" fmla="*/ 236341 h 378306"/>
              <a:gd name="connsiteX554" fmla="*/ 2964876 w 3068803"/>
              <a:gd name="connsiteY554" fmla="*/ 257892 h 378306"/>
              <a:gd name="connsiteX555" fmla="*/ 2987192 w 3068803"/>
              <a:gd name="connsiteY555" fmla="*/ 266359 h 378306"/>
              <a:gd name="connsiteX556" fmla="*/ 3016825 w 3068803"/>
              <a:gd name="connsiteY556" fmla="*/ 216714 h 378306"/>
              <a:gd name="connsiteX557" fmla="*/ 2977953 w 3068803"/>
              <a:gd name="connsiteY557" fmla="*/ 139360 h 378306"/>
              <a:gd name="connsiteX558" fmla="*/ 2954865 w 3068803"/>
              <a:gd name="connsiteY558" fmla="*/ 149366 h 378306"/>
              <a:gd name="connsiteX559" fmla="*/ 2954865 w 3068803"/>
              <a:gd name="connsiteY559" fmla="*/ 236341 h 3783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  <a:cxn ang="0">
                <a:pos x="connsiteX474" y="connsiteY474"/>
              </a:cxn>
              <a:cxn ang="0">
                <a:pos x="connsiteX475" y="connsiteY475"/>
              </a:cxn>
              <a:cxn ang="0">
                <a:pos x="connsiteX476" y="connsiteY476"/>
              </a:cxn>
              <a:cxn ang="0">
                <a:pos x="connsiteX477" y="connsiteY477"/>
              </a:cxn>
              <a:cxn ang="0">
                <a:pos x="connsiteX478" y="connsiteY478"/>
              </a:cxn>
              <a:cxn ang="0">
                <a:pos x="connsiteX479" y="connsiteY479"/>
              </a:cxn>
              <a:cxn ang="0">
                <a:pos x="connsiteX480" y="connsiteY480"/>
              </a:cxn>
              <a:cxn ang="0">
                <a:pos x="connsiteX481" y="connsiteY481"/>
              </a:cxn>
              <a:cxn ang="0">
                <a:pos x="connsiteX482" y="connsiteY482"/>
              </a:cxn>
              <a:cxn ang="0">
                <a:pos x="connsiteX483" y="connsiteY483"/>
              </a:cxn>
              <a:cxn ang="0">
                <a:pos x="connsiteX484" y="connsiteY484"/>
              </a:cxn>
              <a:cxn ang="0">
                <a:pos x="connsiteX485" y="connsiteY485"/>
              </a:cxn>
              <a:cxn ang="0">
                <a:pos x="connsiteX486" y="connsiteY486"/>
              </a:cxn>
              <a:cxn ang="0">
                <a:pos x="connsiteX487" y="connsiteY487"/>
              </a:cxn>
              <a:cxn ang="0">
                <a:pos x="connsiteX488" y="connsiteY488"/>
              </a:cxn>
              <a:cxn ang="0">
                <a:pos x="connsiteX489" y="connsiteY489"/>
              </a:cxn>
              <a:cxn ang="0">
                <a:pos x="connsiteX490" y="connsiteY490"/>
              </a:cxn>
              <a:cxn ang="0">
                <a:pos x="connsiteX491" y="connsiteY491"/>
              </a:cxn>
              <a:cxn ang="0">
                <a:pos x="connsiteX492" y="connsiteY492"/>
              </a:cxn>
              <a:cxn ang="0">
                <a:pos x="connsiteX493" y="connsiteY493"/>
              </a:cxn>
              <a:cxn ang="0">
                <a:pos x="connsiteX494" y="connsiteY494"/>
              </a:cxn>
              <a:cxn ang="0">
                <a:pos x="connsiteX495" y="connsiteY495"/>
              </a:cxn>
              <a:cxn ang="0">
                <a:pos x="connsiteX496" y="connsiteY496"/>
              </a:cxn>
              <a:cxn ang="0">
                <a:pos x="connsiteX497" y="connsiteY497"/>
              </a:cxn>
              <a:cxn ang="0">
                <a:pos x="connsiteX498" y="connsiteY498"/>
              </a:cxn>
              <a:cxn ang="0">
                <a:pos x="connsiteX499" y="connsiteY499"/>
              </a:cxn>
              <a:cxn ang="0">
                <a:pos x="connsiteX500" y="connsiteY500"/>
              </a:cxn>
              <a:cxn ang="0">
                <a:pos x="connsiteX501" y="connsiteY501"/>
              </a:cxn>
              <a:cxn ang="0">
                <a:pos x="connsiteX502" y="connsiteY502"/>
              </a:cxn>
              <a:cxn ang="0">
                <a:pos x="connsiteX503" y="connsiteY503"/>
              </a:cxn>
              <a:cxn ang="0">
                <a:pos x="connsiteX504" y="connsiteY504"/>
              </a:cxn>
              <a:cxn ang="0">
                <a:pos x="connsiteX505" y="connsiteY505"/>
              </a:cxn>
              <a:cxn ang="0">
                <a:pos x="connsiteX506" y="connsiteY506"/>
              </a:cxn>
              <a:cxn ang="0">
                <a:pos x="connsiteX507" y="connsiteY507"/>
              </a:cxn>
              <a:cxn ang="0">
                <a:pos x="connsiteX508" y="connsiteY508"/>
              </a:cxn>
              <a:cxn ang="0">
                <a:pos x="connsiteX509" y="connsiteY509"/>
              </a:cxn>
              <a:cxn ang="0">
                <a:pos x="connsiteX510" y="connsiteY510"/>
              </a:cxn>
              <a:cxn ang="0">
                <a:pos x="connsiteX511" y="connsiteY511"/>
              </a:cxn>
              <a:cxn ang="0">
                <a:pos x="connsiteX512" y="connsiteY512"/>
              </a:cxn>
              <a:cxn ang="0">
                <a:pos x="connsiteX513" y="connsiteY513"/>
              </a:cxn>
              <a:cxn ang="0">
                <a:pos x="connsiteX514" y="connsiteY514"/>
              </a:cxn>
              <a:cxn ang="0">
                <a:pos x="connsiteX515" y="connsiteY515"/>
              </a:cxn>
              <a:cxn ang="0">
                <a:pos x="connsiteX516" y="connsiteY516"/>
              </a:cxn>
              <a:cxn ang="0">
                <a:pos x="connsiteX517" y="connsiteY517"/>
              </a:cxn>
              <a:cxn ang="0">
                <a:pos x="connsiteX518" y="connsiteY518"/>
              </a:cxn>
              <a:cxn ang="0">
                <a:pos x="connsiteX519" y="connsiteY519"/>
              </a:cxn>
              <a:cxn ang="0">
                <a:pos x="connsiteX520" y="connsiteY520"/>
              </a:cxn>
              <a:cxn ang="0">
                <a:pos x="connsiteX521" y="connsiteY521"/>
              </a:cxn>
              <a:cxn ang="0">
                <a:pos x="connsiteX522" y="connsiteY522"/>
              </a:cxn>
              <a:cxn ang="0">
                <a:pos x="connsiteX523" y="connsiteY523"/>
              </a:cxn>
              <a:cxn ang="0">
                <a:pos x="connsiteX524" y="connsiteY524"/>
              </a:cxn>
              <a:cxn ang="0">
                <a:pos x="connsiteX525" y="connsiteY525"/>
              </a:cxn>
              <a:cxn ang="0">
                <a:pos x="connsiteX526" y="connsiteY526"/>
              </a:cxn>
              <a:cxn ang="0">
                <a:pos x="connsiteX527" y="connsiteY527"/>
              </a:cxn>
              <a:cxn ang="0">
                <a:pos x="connsiteX528" y="connsiteY528"/>
              </a:cxn>
              <a:cxn ang="0">
                <a:pos x="connsiteX529" y="connsiteY529"/>
              </a:cxn>
              <a:cxn ang="0">
                <a:pos x="connsiteX530" y="connsiteY530"/>
              </a:cxn>
              <a:cxn ang="0">
                <a:pos x="connsiteX531" y="connsiteY531"/>
              </a:cxn>
              <a:cxn ang="0">
                <a:pos x="connsiteX532" y="connsiteY532"/>
              </a:cxn>
              <a:cxn ang="0">
                <a:pos x="connsiteX533" y="connsiteY533"/>
              </a:cxn>
              <a:cxn ang="0">
                <a:pos x="connsiteX534" y="connsiteY534"/>
              </a:cxn>
              <a:cxn ang="0">
                <a:pos x="connsiteX535" y="connsiteY535"/>
              </a:cxn>
              <a:cxn ang="0">
                <a:pos x="connsiteX536" y="connsiteY536"/>
              </a:cxn>
              <a:cxn ang="0">
                <a:pos x="connsiteX537" y="connsiteY537"/>
              </a:cxn>
              <a:cxn ang="0">
                <a:pos x="connsiteX538" y="connsiteY538"/>
              </a:cxn>
              <a:cxn ang="0">
                <a:pos x="connsiteX539" y="connsiteY539"/>
              </a:cxn>
              <a:cxn ang="0">
                <a:pos x="connsiteX540" y="connsiteY540"/>
              </a:cxn>
              <a:cxn ang="0">
                <a:pos x="connsiteX541" y="connsiteY541"/>
              </a:cxn>
              <a:cxn ang="0">
                <a:pos x="connsiteX542" y="connsiteY542"/>
              </a:cxn>
              <a:cxn ang="0">
                <a:pos x="connsiteX543" y="connsiteY543"/>
              </a:cxn>
              <a:cxn ang="0">
                <a:pos x="connsiteX544" y="connsiteY544"/>
              </a:cxn>
              <a:cxn ang="0">
                <a:pos x="connsiteX545" y="connsiteY545"/>
              </a:cxn>
              <a:cxn ang="0">
                <a:pos x="connsiteX546" y="connsiteY546"/>
              </a:cxn>
              <a:cxn ang="0">
                <a:pos x="connsiteX547" y="connsiteY547"/>
              </a:cxn>
              <a:cxn ang="0">
                <a:pos x="connsiteX548" y="connsiteY548"/>
              </a:cxn>
              <a:cxn ang="0">
                <a:pos x="connsiteX549" y="connsiteY549"/>
              </a:cxn>
              <a:cxn ang="0">
                <a:pos x="connsiteX550" y="connsiteY550"/>
              </a:cxn>
              <a:cxn ang="0">
                <a:pos x="connsiteX551" y="connsiteY551"/>
              </a:cxn>
              <a:cxn ang="0">
                <a:pos x="connsiteX552" y="connsiteY552"/>
              </a:cxn>
              <a:cxn ang="0">
                <a:pos x="connsiteX553" y="connsiteY553"/>
              </a:cxn>
              <a:cxn ang="0">
                <a:pos x="connsiteX554" y="connsiteY554"/>
              </a:cxn>
              <a:cxn ang="0">
                <a:pos x="connsiteX555" y="connsiteY555"/>
              </a:cxn>
              <a:cxn ang="0">
                <a:pos x="connsiteX556" y="connsiteY556"/>
              </a:cxn>
              <a:cxn ang="0">
                <a:pos x="connsiteX557" y="connsiteY557"/>
              </a:cxn>
              <a:cxn ang="0">
                <a:pos x="connsiteX558" y="connsiteY558"/>
              </a:cxn>
              <a:cxn ang="0">
                <a:pos x="connsiteX559" y="connsiteY559"/>
              </a:cxn>
            </a:cxnLst>
            <a:rect l="l" t="t" r="r" b="b"/>
            <a:pathLst>
              <a:path w="3068803" h="378306">
                <a:moveTo>
                  <a:pt x="257079" y="239804"/>
                </a:moveTo>
                <a:cubicBezTo>
                  <a:pt x="257079" y="245193"/>
                  <a:pt x="258618" y="248656"/>
                  <a:pt x="258618" y="251735"/>
                </a:cubicBezTo>
                <a:cubicBezTo>
                  <a:pt x="258618" y="254814"/>
                  <a:pt x="256309" y="256353"/>
                  <a:pt x="252461" y="257892"/>
                </a:cubicBezTo>
                <a:cubicBezTo>
                  <a:pt x="222057" y="273287"/>
                  <a:pt x="190115" y="281754"/>
                  <a:pt x="142779" y="281754"/>
                </a:cubicBezTo>
                <a:cubicBezTo>
                  <a:pt x="104294" y="281754"/>
                  <a:pt x="60421" y="269438"/>
                  <a:pt x="34636" y="239035"/>
                </a:cubicBezTo>
                <a:cubicBezTo>
                  <a:pt x="11930" y="213250"/>
                  <a:pt x="0" y="181308"/>
                  <a:pt x="0" y="135895"/>
                </a:cubicBezTo>
                <a:cubicBezTo>
                  <a:pt x="0" y="102029"/>
                  <a:pt x="16164" y="65468"/>
                  <a:pt x="43488" y="41992"/>
                </a:cubicBezTo>
                <a:cubicBezTo>
                  <a:pt x="70812" y="18132"/>
                  <a:pt x="104679" y="5432"/>
                  <a:pt x="149322" y="5432"/>
                </a:cubicBezTo>
                <a:cubicBezTo>
                  <a:pt x="187037" y="5432"/>
                  <a:pt x="215131" y="15823"/>
                  <a:pt x="227446" y="23905"/>
                </a:cubicBezTo>
                <a:cubicBezTo>
                  <a:pt x="232063" y="26599"/>
                  <a:pt x="234373" y="25829"/>
                  <a:pt x="236682" y="22750"/>
                </a:cubicBezTo>
                <a:lnTo>
                  <a:pt x="240530" y="16592"/>
                </a:lnTo>
                <a:cubicBezTo>
                  <a:pt x="242454" y="13899"/>
                  <a:pt x="243225" y="12744"/>
                  <a:pt x="245534" y="12744"/>
                </a:cubicBezTo>
                <a:cubicBezTo>
                  <a:pt x="249766" y="12744"/>
                  <a:pt x="250921" y="15438"/>
                  <a:pt x="250921" y="19671"/>
                </a:cubicBezTo>
                <a:lnTo>
                  <a:pt x="256694" y="96641"/>
                </a:lnTo>
                <a:cubicBezTo>
                  <a:pt x="257079" y="101260"/>
                  <a:pt x="256694" y="103184"/>
                  <a:pt x="255155" y="103568"/>
                </a:cubicBezTo>
                <a:lnTo>
                  <a:pt x="244764" y="105877"/>
                </a:lnTo>
                <a:cubicBezTo>
                  <a:pt x="242454" y="106262"/>
                  <a:pt x="241300" y="105492"/>
                  <a:pt x="240145" y="102029"/>
                </a:cubicBezTo>
                <a:cubicBezTo>
                  <a:pt x="233988" y="83556"/>
                  <a:pt x="222057" y="59696"/>
                  <a:pt x="205894" y="45071"/>
                </a:cubicBezTo>
                <a:cubicBezTo>
                  <a:pt x="191270" y="31217"/>
                  <a:pt x="172027" y="21980"/>
                  <a:pt x="146627" y="21980"/>
                </a:cubicBezTo>
                <a:cubicBezTo>
                  <a:pt x="126230" y="21980"/>
                  <a:pt x="107757" y="28523"/>
                  <a:pt x="90055" y="50074"/>
                </a:cubicBezTo>
                <a:cubicBezTo>
                  <a:pt x="72736" y="70856"/>
                  <a:pt x="60036" y="101644"/>
                  <a:pt x="60036" y="135510"/>
                </a:cubicBezTo>
                <a:cubicBezTo>
                  <a:pt x="60036" y="179768"/>
                  <a:pt x="72352" y="218253"/>
                  <a:pt x="92748" y="238650"/>
                </a:cubicBezTo>
                <a:cubicBezTo>
                  <a:pt x="110452" y="256353"/>
                  <a:pt x="124691" y="264050"/>
                  <a:pt x="150091" y="264050"/>
                </a:cubicBezTo>
                <a:cubicBezTo>
                  <a:pt x="169718" y="264050"/>
                  <a:pt x="180109" y="262511"/>
                  <a:pt x="192424" y="256738"/>
                </a:cubicBezTo>
                <a:cubicBezTo>
                  <a:pt x="200121" y="252890"/>
                  <a:pt x="200891" y="240959"/>
                  <a:pt x="200891" y="221716"/>
                </a:cubicBezTo>
                <a:lnTo>
                  <a:pt x="200891" y="194777"/>
                </a:lnTo>
                <a:cubicBezTo>
                  <a:pt x="200891" y="181308"/>
                  <a:pt x="197043" y="177460"/>
                  <a:pt x="187806" y="177460"/>
                </a:cubicBezTo>
                <a:lnTo>
                  <a:pt x="172027" y="177460"/>
                </a:lnTo>
                <a:cubicBezTo>
                  <a:pt x="169718" y="177460"/>
                  <a:pt x="169334" y="175919"/>
                  <a:pt x="169334" y="173995"/>
                </a:cubicBezTo>
                <a:lnTo>
                  <a:pt x="169334" y="164759"/>
                </a:lnTo>
                <a:cubicBezTo>
                  <a:pt x="169334" y="163220"/>
                  <a:pt x="169718" y="162065"/>
                  <a:pt x="172027" y="162065"/>
                </a:cubicBezTo>
                <a:cubicBezTo>
                  <a:pt x="175491" y="162065"/>
                  <a:pt x="193578" y="163220"/>
                  <a:pt x="227446" y="163220"/>
                </a:cubicBezTo>
                <a:cubicBezTo>
                  <a:pt x="262082" y="163220"/>
                  <a:pt x="275936" y="162065"/>
                  <a:pt x="278630" y="162065"/>
                </a:cubicBezTo>
                <a:cubicBezTo>
                  <a:pt x="281325" y="162065"/>
                  <a:pt x="282094" y="163220"/>
                  <a:pt x="282094" y="165144"/>
                </a:cubicBezTo>
                <a:lnTo>
                  <a:pt x="282094" y="174380"/>
                </a:lnTo>
                <a:cubicBezTo>
                  <a:pt x="282094" y="176690"/>
                  <a:pt x="281710" y="177460"/>
                  <a:pt x="279400" y="177460"/>
                </a:cubicBezTo>
                <a:lnTo>
                  <a:pt x="268624" y="177460"/>
                </a:lnTo>
                <a:cubicBezTo>
                  <a:pt x="261697" y="177460"/>
                  <a:pt x="257079" y="180153"/>
                  <a:pt x="257079" y="190929"/>
                </a:cubicBezTo>
                <a:lnTo>
                  <a:pt x="257079" y="239804"/>
                </a:lnTo>
                <a:lnTo>
                  <a:pt x="257079" y="239804"/>
                </a:lnTo>
                <a:close/>
                <a:moveTo>
                  <a:pt x="369070" y="247502"/>
                </a:moveTo>
                <a:cubicBezTo>
                  <a:pt x="369070" y="259047"/>
                  <a:pt x="372918" y="262896"/>
                  <a:pt x="380615" y="262896"/>
                </a:cubicBezTo>
                <a:lnTo>
                  <a:pt x="396010" y="262896"/>
                </a:lnTo>
                <a:cubicBezTo>
                  <a:pt x="398318" y="262896"/>
                  <a:pt x="398703" y="264050"/>
                  <a:pt x="398703" y="266359"/>
                </a:cubicBezTo>
                <a:lnTo>
                  <a:pt x="398703" y="273672"/>
                </a:lnTo>
                <a:cubicBezTo>
                  <a:pt x="398703" y="275980"/>
                  <a:pt x="398318" y="277135"/>
                  <a:pt x="396779" y="277135"/>
                </a:cubicBezTo>
                <a:cubicBezTo>
                  <a:pt x="394469" y="277135"/>
                  <a:pt x="377152" y="275980"/>
                  <a:pt x="343670" y="275980"/>
                </a:cubicBezTo>
                <a:cubicBezTo>
                  <a:pt x="314806" y="275980"/>
                  <a:pt x="299027" y="277135"/>
                  <a:pt x="296718" y="277135"/>
                </a:cubicBezTo>
                <a:cubicBezTo>
                  <a:pt x="295179" y="277135"/>
                  <a:pt x="294409" y="276365"/>
                  <a:pt x="294409" y="273287"/>
                </a:cubicBezTo>
                <a:lnTo>
                  <a:pt x="294409" y="266359"/>
                </a:lnTo>
                <a:cubicBezTo>
                  <a:pt x="294409" y="263666"/>
                  <a:pt x="295179" y="262896"/>
                  <a:pt x="298642" y="262896"/>
                </a:cubicBezTo>
                <a:lnTo>
                  <a:pt x="309418" y="262896"/>
                </a:lnTo>
                <a:cubicBezTo>
                  <a:pt x="315191" y="262896"/>
                  <a:pt x="318269" y="260586"/>
                  <a:pt x="319039" y="254044"/>
                </a:cubicBezTo>
                <a:cubicBezTo>
                  <a:pt x="319810" y="243654"/>
                  <a:pt x="319810" y="230568"/>
                  <a:pt x="319810" y="211710"/>
                </a:cubicBezTo>
                <a:lnTo>
                  <a:pt x="319810" y="180538"/>
                </a:lnTo>
                <a:cubicBezTo>
                  <a:pt x="319810" y="164374"/>
                  <a:pt x="315960" y="157832"/>
                  <a:pt x="304800" y="151290"/>
                </a:cubicBezTo>
                <a:lnTo>
                  <a:pt x="298257" y="147441"/>
                </a:lnTo>
                <a:cubicBezTo>
                  <a:pt x="295948" y="146286"/>
                  <a:pt x="295179" y="145516"/>
                  <a:pt x="295179" y="143977"/>
                </a:cubicBezTo>
                <a:lnTo>
                  <a:pt x="295179" y="140514"/>
                </a:lnTo>
                <a:cubicBezTo>
                  <a:pt x="295179" y="138975"/>
                  <a:pt x="295948" y="138205"/>
                  <a:pt x="298257" y="137435"/>
                </a:cubicBezTo>
                <a:lnTo>
                  <a:pt x="350597" y="114729"/>
                </a:lnTo>
                <a:cubicBezTo>
                  <a:pt x="352906" y="113959"/>
                  <a:pt x="354445" y="113190"/>
                  <a:pt x="356754" y="113190"/>
                </a:cubicBezTo>
                <a:cubicBezTo>
                  <a:pt x="359449" y="113190"/>
                  <a:pt x="360988" y="115498"/>
                  <a:pt x="361373" y="117807"/>
                </a:cubicBezTo>
                <a:lnTo>
                  <a:pt x="364836" y="147056"/>
                </a:lnTo>
                <a:lnTo>
                  <a:pt x="367531" y="147056"/>
                </a:lnTo>
                <a:cubicBezTo>
                  <a:pt x="379076" y="122426"/>
                  <a:pt x="395625" y="111266"/>
                  <a:pt x="412172" y="111266"/>
                </a:cubicBezTo>
                <a:cubicBezTo>
                  <a:pt x="423333" y="111266"/>
                  <a:pt x="432185" y="119732"/>
                  <a:pt x="432185" y="132817"/>
                </a:cubicBezTo>
                <a:cubicBezTo>
                  <a:pt x="432185" y="142823"/>
                  <a:pt x="420639" y="153983"/>
                  <a:pt x="408324" y="153983"/>
                </a:cubicBezTo>
                <a:cubicBezTo>
                  <a:pt x="402936" y="153983"/>
                  <a:pt x="398318" y="152829"/>
                  <a:pt x="394854" y="150520"/>
                </a:cubicBezTo>
                <a:cubicBezTo>
                  <a:pt x="391776" y="148596"/>
                  <a:pt x="388312" y="147826"/>
                  <a:pt x="385618" y="147826"/>
                </a:cubicBezTo>
                <a:cubicBezTo>
                  <a:pt x="381770" y="147826"/>
                  <a:pt x="378306" y="149750"/>
                  <a:pt x="375997" y="154753"/>
                </a:cubicBezTo>
                <a:cubicBezTo>
                  <a:pt x="370994" y="164759"/>
                  <a:pt x="369455" y="172071"/>
                  <a:pt x="369455" y="176690"/>
                </a:cubicBezTo>
                <a:lnTo>
                  <a:pt x="369455" y="247502"/>
                </a:lnTo>
                <a:lnTo>
                  <a:pt x="369070" y="247502"/>
                </a:lnTo>
                <a:close/>
                <a:moveTo>
                  <a:pt x="450272" y="254044"/>
                </a:moveTo>
                <a:cubicBezTo>
                  <a:pt x="436034" y="238265"/>
                  <a:pt x="430260" y="218638"/>
                  <a:pt x="430260" y="194777"/>
                </a:cubicBezTo>
                <a:cubicBezTo>
                  <a:pt x="430260" y="177844"/>
                  <a:pt x="439497" y="150135"/>
                  <a:pt x="462588" y="132432"/>
                </a:cubicBezTo>
                <a:cubicBezTo>
                  <a:pt x="481831" y="117422"/>
                  <a:pt x="500688" y="113190"/>
                  <a:pt x="518391" y="113190"/>
                </a:cubicBezTo>
                <a:cubicBezTo>
                  <a:pt x="544176" y="113190"/>
                  <a:pt x="561879" y="120887"/>
                  <a:pt x="578812" y="136665"/>
                </a:cubicBezTo>
                <a:cubicBezTo>
                  <a:pt x="597285" y="153214"/>
                  <a:pt x="604597" y="173226"/>
                  <a:pt x="604597" y="196317"/>
                </a:cubicBezTo>
                <a:cubicBezTo>
                  <a:pt x="604597" y="217868"/>
                  <a:pt x="595361" y="239035"/>
                  <a:pt x="580736" y="254814"/>
                </a:cubicBezTo>
                <a:cubicBezTo>
                  <a:pt x="562648" y="273672"/>
                  <a:pt x="541097" y="280983"/>
                  <a:pt x="515697" y="280983"/>
                </a:cubicBezTo>
                <a:cubicBezTo>
                  <a:pt x="487988" y="281369"/>
                  <a:pt x="469130" y="275596"/>
                  <a:pt x="450272" y="254044"/>
                </a:cubicBezTo>
                <a:lnTo>
                  <a:pt x="450272" y="254044"/>
                </a:lnTo>
                <a:close/>
                <a:moveTo>
                  <a:pt x="547639" y="194007"/>
                </a:moveTo>
                <a:cubicBezTo>
                  <a:pt x="547639" y="150520"/>
                  <a:pt x="532630" y="129353"/>
                  <a:pt x="516082" y="129353"/>
                </a:cubicBezTo>
                <a:cubicBezTo>
                  <a:pt x="506845" y="129353"/>
                  <a:pt x="500688" y="132047"/>
                  <a:pt x="495685" y="139360"/>
                </a:cubicBezTo>
                <a:cubicBezTo>
                  <a:pt x="488372" y="150905"/>
                  <a:pt x="483370" y="167069"/>
                  <a:pt x="483370" y="197472"/>
                </a:cubicBezTo>
                <a:cubicBezTo>
                  <a:pt x="483370" y="219023"/>
                  <a:pt x="485294" y="233262"/>
                  <a:pt x="492606" y="249426"/>
                </a:cubicBezTo>
                <a:cubicBezTo>
                  <a:pt x="497609" y="259432"/>
                  <a:pt x="503382" y="265590"/>
                  <a:pt x="517236" y="265590"/>
                </a:cubicBezTo>
                <a:cubicBezTo>
                  <a:pt x="538018" y="265590"/>
                  <a:pt x="547639" y="235187"/>
                  <a:pt x="547639" y="194007"/>
                </a:cubicBezTo>
                <a:close/>
                <a:moveTo>
                  <a:pt x="600364" y="120502"/>
                </a:moveTo>
                <a:cubicBezTo>
                  <a:pt x="600364" y="117807"/>
                  <a:pt x="601133" y="117422"/>
                  <a:pt x="604597" y="117422"/>
                </a:cubicBezTo>
                <a:cubicBezTo>
                  <a:pt x="608830" y="117422"/>
                  <a:pt x="614988" y="118577"/>
                  <a:pt x="653858" y="118577"/>
                </a:cubicBezTo>
                <a:cubicBezTo>
                  <a:pt x="679257" y="118577"/>
                  <a:pt x="688878" y="117422"/>
                  <a:pt x="693112" y="117422"/>
                </a:cubicBezTo>
                <a:cubicBezTo>
                  <a:pt x="696191" y="117422"/>
                  <a:pt x="696960" y="118192"/>
                  <a:pt x="696960" y="120502"/>
                </a:cubicBezTo>
                <a:lnTo>
                  <a:pt x="696960" y="127813"/>
                </a:lnTo>
                <a:cubicBezTo>
                  <a:pt x="696960" y="130123"/>
                  <a:pt x="696576" y="131662"/>
                  <a:pt x="694267" y="131662"/>
                </a:cubicBezTo>
                <a:lnTo>
                  <a:pt x="689263" y="131662"/>
                </a:lnTo>
                <a:cubicBezTo>
                  <a:pt x="684261" y="131662"/>
                  <a:pt x="679642" y="133971"/>
                  <a:pt x="679642" y="138205"/>
                </a:cubicBezTo>
                <a:cubicBezTo>
                  <a:pt x="679642" y="145132"/>
                  <a:pt x="690804" y="174765"/>
                  <a:pt x="693497" y="181692"/>
                </a:cubicBezTo>
                <a:lnTo>
                  <a:pt x="709661" y="222101"/>
                </a:lnTo>
                <a:lnTo>
                  <a:pt x="711970" y="222101"/>
                </a:lnTo>
                <a:cubicBezTo>
                  <a:pt x="715048" y="215560"/>
                  <a:pt x="734291" y="169378"/>
                  <a:pt x="741988" y="148596"/>
                </a:cubicBezTo>
                <a:cubicBezTo>
                  <a:pt x="745451" y="139360"/>
                  <a:pt x="739294" y="131662"/>
                  <a:pt x="732752" y="131662"/>
                </a:cubicBezTo>
                <a:lnTo>
                  <a:pt x="725824" y="131662"/>
                </a:lnTo>
                <a:cubicBezTo>
                  <a:pt x="724670" y="131662"/>
                  <a:pt x="724285" y="129738"/>
                  <a:pt x="724285" y="127813"/>
                </a:cubicBezTo>
                <a:lnTo>
                  <a:pt x="724285" y="120502"/>
                </a:lnTo>
                <a:cubicBezTo>
                  <a:pt x="724285" y="118192"/>
                  <a:pt x="725054" y="117422"/>
                  <a:pt x="726594" y="117422"/>
                </a:cubicBezTo>
                <a:cubicBezTo>
                  <a:pt x="731982" y="117422"/>
                  <a:pt x="740064" y="118577"/>
                  <a:pt x="762770" y="118577"/>
                </a:cubicBezTo>
                <a:cubicBezTo>
                  <a:pt x="782397" y="118577"/>
                  <a:pt x="791248" y="117422"/>
                  <a:pt x="794712" y="117422"/>
                </a:cubicBezTo>
                <a:cubicBezTo>
                  <a:pt x="797791" y="117422"/>
                  <a:pt x="798176" y="117807"/>
                  <a:pt x="798176" y="120887"/>
                </a:cubicBezTo>
                <a:lnTo>
                  <a:pt x="798176" y="127813"/>
                </a:lnTo>
                <a:cubicBezTo>
                  <a:pt x="798176" y="130508"/>
                  <a:pt x="798176" y="131662"/>
                  <a:pt x="796252" y="131662"/>
                </a:cubicBezTo>
                <a:lnTo>
                  <a:pt x="789709" y="131662"/>
                </a:lnTo>
                <a:cubicBezTo>
                  <a:pt x="784321" y="131662"/>
                  <a:pt x="777010" y="132432"/>
                  <a:pt x="772391" y="137435"/>
                </a:cubicBezTo>
                <a:cubicBezTo>
                  <a:pt x="765463" y="144747"/>
                  <a:pt x="749300" y="178229"/>
                  <a:pt x="740449" y="196317"/>
                </a:cubicBezTo>
                <a:cubicBezTo>
                  <a:pt x="735830" y="205938"/>
                  <a:pt x="706197" y="269822"/>
                  <a:pt x="704273" y="274056"/>
                </a:cubicBezTo>
                <a:cubicBezTo>
                  <a:pt x="701964" y="278289"/>
                  <a:pt x="699654" y="281369"/>
                  <a:pt x="694652" y="281369"/>
                </a:cubicBezTo>
                <a:cubicBezTo>
                  <a:pt x="689648" y="281369"/>
                  <a:pt x="687339" y="277520"/>
                  <a:pt x="683876" y="272132"/>
                </a:cubicBezTo>
                <a:cubicBezTo>
                  <a:pt x="680027" y="266359"/>
                  <a:pt x="649624" y="199396"/>
                  <a:pt x="648470" y="195547"/>
                </a:cubicBezTo>
                <a:cubicBezTo>
                  <a:pt x="647315" y="191698"/>
                  <a:pt x="629227" y="149750"/>
                  <a:pt x="626918" y="145516"/>
                </a:cubicBezTo>
                <a:cubicBezTo>
                  <a:pt x="620376" y="135126"/>
                  <a:pt x="617297" y="131662"/>
                  <a:pt x="610370" y="131662"/>
                </a:cubicBezTo>
                <a:lnTo>
                  <a:pt x="603057" y="131662"/>
                </a:lnTo>
                <a:cubicBezTo>
                  <a:pt x="601133" y="131662"/>
                  <a:pt x="600748" y="130123"/>
                  <a:pt x="600748" y="127813"/>
                </a:cubicBezTo>
                <a:lnTo>
                  <a:pt x="600748" y="120502"/>
                </a:lnTo>
                <a:lnTo>
                  <a:pt x="600364" y="120502"/>
                </a:lnTo>
                <a:close/>
                <a:moveTo>
                  <a:pt x="841663" y="182847"/>
                </a:moveTo>
                <a:lnTo>
                  <a:pt x="841663" y="192853"/>
                </a:lnTo>
                <a:cubicBezTo>
                  <a:pt x="841663" y="231722"/>
                  <a:pt x="863600" y="250965"/>
                  <a:pt x="890925" y="250965"/>
                </a:cubicBezTo>
                <a:cubicBezTo>
                  <a:pt x="909397" y="250965"/>
                  <a:pt x="924406" y="242498"/>
                  <a:pt x="931718" y="230183"/>
                </a:cubicBezTo>
                <a:cubicBezTo>
                  <a:pt x="932488" y="228259"/>
                  <a:pt x="934027" y="227874"/>
                  <a:pt x="935566" y="229029"/>
                </a:cubicBezTo>
                <a:lnTo>
                  <a:pt x="942109" y="232492"/>
                </a:lnTo>
                <a:cubicBezTo>
                  <a:pt x="943648" y="233262"/>
                  <a:pt x="944803" y="235187"/>
                  <a:pt x="941340" y="241344"/>
                </a:cubicBezTo>
                <a:cubicBezTo>
                  <a:pt x="934412" y="255199"/>
                  <a:pt x="910167" y="280983"/>
                  <a:pt x="875146" y="280983"/>
                </a:cubicBezTo>
                <a:cubicBezTo>
                  <a:pt x="851285" y="280983"/>
                  <a:pt x="831272" y="276750"/>
                  <a:pt x="818958" y="263281"/>
                </a:cubicBezTo>
                <a:cubicBezTo>
                  <a:pt x="799715" y="242498"/>
                  <a:pt x="793557" y="228259"/>
                  <a:pt x="793172" y="199011"/>
                </a:cubicBezTo>
                <a:cubicBezTo>
                  <a:pt x="793172" y="188620"/>
                  <a:pt x="793172" y="168608"/>
                  <a:pt x="810106" y="143977"/>
                </a:cubicBezTo>
                <a:cubicBezTo>
                  <a:pt x="823575" y="123965"/>
                  <a:pt x="846282" y="113190"/>
                  <a:pt x="875146" y="113190"/>
                </a:cubicBezTo>
                <a:cubicBezTo>
                  <a:pt x="935951" y="113190"/>
                  <a:pt x="939031" y="171302"/>
                  <a:pt x="939031" y="177075"/>
                </a:cubicBezTo>
                <a:cubicBezTo>
                  <a:pt x="939031" y="182077"/>
                  <a:pt x="935566" y="182462"/>
                  <a:pt x="927485" y="182462"/>
                </a:cubicBezTo>
                <a:lnTo>
                  <a:pt x="841663" y="182462"/>
                </a:lnTo>
                <a:lnTo>
                  <a:pt x="841663" y="182847"/>
                </a:lnTo>
                <a:close/>
                <a:moveTo>
                  <a:pt x="877839" y="168608"/>
                </a:moveTo>
                <a:cubicBezTo>
                  <a:pt x="885921" y="168608"/>
                  <a:pt x="889769" y="166683"/>
                  <a:pt x="889769" y="161296"/>
                </a:cubicBezTo>
                <a:cubicBezTo>
                  <a:pt x="889769" y="144747"/>
                  <a:pt x="882843" y="128583"/>
                  <a:pt x="871297" y="128583"/>
                </a:cubicBezTo>
                <a:cubicBezTo>
                  <a:pt x="853594" y="128583"/>
                  <a:pt x="844358" y="142438"/>
                  <a:pt x="841663" y="168608"/>
                </a:cubicBezTo>
                <a:lnTo>
                  <a:pt x="877839" y="168608"/>
                </a:lnTo>
                <a:close/>
                <a:moveTo>
                  <a:pt x="1072953" y="156292"/>
                </a:moveTo>
                <a:cubicBezTo>
                  <a:pt x="1073344" y="158217"/>
                  <a:pt x="1072953" y="158987"/>
                  <a:pt x="1071420" y="159756"/>
                </a:cubicBezTo>
                <a:lnTo>
                  <a:pt x="1064495" y="162835"/>
                </a:lnTo>
                <a:cubicBezTo>
                  <a:pt x="1063333" y="163604"/>
                  <a:pt x="1062180" y="163220"/>
                  <a:pt x="1060647" y="161680"/>
                </a:cubicBezTo>
                <a:lnTo>
                  <a:pt x="1039863" y="139360"/>
                </a:lnTo>
                <a:cubicBezTo>
                  <a:pt x="1034853" y="134356"/>
                  <a:pt x="1027928" y="128583"/>
                  <a:pt x="1016765" y="128583"/>
                </a:cubicBezTo>
                <a:cubicBezTo>
                  <a:pt x="1005611" y="128583"/>
                  <a:pt x="994829" y="135895"/>
                  <a:pt x="994829" y="148981"/>
                </a:cubicBezTo>
                <a:cubicBezTo>
                  <a:pt x="995601" y="162065"/>
                  <a:pt x="1000220" y="165913"/>
                  <a:pt x="1027928" y="173226"/>
                </a:cubicBezTo>
                <a:cubicBezTo>
                  <a:pt x="1046407" y="178229"/>
                  <a:pt x="1055256" y="180538"/>
                  <a:pt x="1066419" y="192853"/>
                </a:cubicBezTo>
                <a:cubicBezTo>
                  <a:pt x="1076039" y="202474"/>
                  <a:pt x="1078344" y="211710"/>
                  <a:pt x="1078344" y="224796"/>
                </a:cubicBezTo>
                <a:cubicBezTo>
                  <a:pt x="1078344" y="258277"/>
                  <a:pt x="1052179" y="282138"/>
                  <a:pt x="1011384" y="282138"/>
                </a:cubicBezTo>
                <a:cubicBezTo>
                  <a:pt x="990600" y="282138"/>
                  <a:pt x="972131" y="274826"/>
                  <a:pt x="967511" y="271362"/>
                </a:cubicBezTo>
                <a:cubicBezTo>
                  <a:pt x="965968" y="270207"/>
                  <a:pt x="965587" y="268668"/>
                  <a:pt x="965197" y="266359"/>
                </a:cubicBezTo>
                <a:lnTo>
                  <a:pt x="960196" y="230568"/>
                </a:lnTo>
                <a:cubicBezTo>
                  <a:pt x="960196" y="228644"/>
                  <a:pt x="961349" y="227874"/>
                  <a:pt x="962892" y="227490"/>
                </a:cubicBezTo>
                <a:lnTo>
                  <a:pt x="969816" y="225566"/>
                </a:lnTo>
                <a:cubicBezTo>
                  <a:pt x="970969" y="225181"/>
                  <a:pt x="971740" y="225566"/>
                  <a:pt x="972512" y="227105"/>
                </a:cubicBezTo>
                <a:lnTo>
                  <a:pt x="987523" y="249041"/>
                </a:lnTo>
                <a:cubicBezTo>
                  <a:pt x="994448" y="258662"/>
                  <a:pt x="1002916" y="268283"/>
                  <a:pt x="1020232" y="268283"/>
                </a:cubicBezTo>
                <a:cubicBezTo>
                  <a:pt x="1034091" y="268283"/>
                  <a:pt x="1042168" y="258662"/>
                  <a:pt x="1042168" y="245578"/>
                </a:cubicBezTo>
                <a:cubicBezTo>
                  <a:pt x="1042168" y="230568"/>
                  <a:pt x="1031396" y="225566"/>
                  <a:pt x="1007145" y="218253"/>
                </a:cubicBezTo>
                <a:cubicBezTo>
                  <a:pt x="980589" y="210556"/>
                  <a:pt x="961349" y="197472"/>
                  <a:pt x="961349" y="170532"/>
                </a:cubicBezTo>
                <a:cubicBezTo>
                  <a:pt x="961349" y="152829"/>
                  <a:pt x="966740" y="138205"/>
                  <a:pt x="980980" y="127813"/>
                </a:cubicBezTo>
                <a:cubicBezTo>
                  <a:pt x="995991" y="117038"/>
                  <a:pt x="1006383" y="114344"/>
                  <a:pt x="1022156" y="114344"/>
                </a:cubicBezTo>
                <a:cubicBezTo>
                  <a:pt x="1042559" y="114344"/>
                  <a:pt x="1054865" y="118962"/>
                  <a:pt x="1061409" y="122041"/>
                </a:cubicBezTo>
                <a:cubicBezTo>
                  <a:pt x="1067181" y="124735"/>
                  <a:pt x="1067953" y="126659"/>
                  <a:pt x="1068343" y="128969"/>
                </a:cubicBezTo>
                <a:lnTo>
                  <a:pt x="1072953" y="156292"/>
                </a:lnTo>
                <a:close/>
                <a:moveTo>
                  <a:pt x="1125293" y="125504"/>
                </a:moveTo>
                <a:cubicBezTo>
                  <a:pt x="1125293" y="119347"/>
                  <a:pt x="1125293" y="53153"/>
                  <a:pt x="1124141" y="37759"/>
                </a:cubicBezTo>
                <a:cubicBezTo>
                  <a:pt x="1121836" y="29677"/>
                  <a:pt x="1120292" y="25059"/>
                  <a:pt x="1107596" y="25059"/>
                </a:cubicBezTo>
                <a:lnTo>
                  <a:pt x="1094889" y="25059"/>
                </a:lnTo>
                <a:cubicBezTo>
                  <a:pt x="1093356" y="25059"/>
                  <a:pt x="1092203" y="24674"/>
                  <a:pt x="1092203" y="23135"/>
                </a:cubicBezTo>
                <a:lnTo>
                  <a:pt x="1092203" y="12359"/>
                </a:lnTo>
                <a:cubicBezTo>
                  <a:pt x="1092203" y="10435"/>
                  <a:pt x="1092584" y="9665"/>
                  <a:pt x="1094889" y="9665"/>
                </a:cubicBezTo>
                <a:cubicBezTo>
                  <a:pt x="1099128" y="9665"/>
                  <a:pt x="1112977" y="10820"/>
                  <a:pt x="1154163" y="10820"/>
                </a:cubicBezTo>
                <a:cubicBezTo>
                  <a:pt x="1190720" y="10820"/>
                  <a:pt x="1203808" y="9665"/>
                  <a:pt x="1209580" y="9665"/>
                </a:cubicBezTo>
                <a:cubicBezTo>
                  <a:pt x="1211885" y="9665"/>
                  <a:pt x="1212656" y="10435"/>
                  <a:pt x="1212656" y="12744"/>
                </a:cubicBezTo>
                <a:lnTo>
                  <a:pt x="1212656" y="21980"/>
                </a:lnTo>
                <a:cubicBezTo>
                  <a:pt x="1212656" y="24289"/>
                  <a:pt x="1211885" y="25059"/>
                  <a:pt x="1209580" y="25059"/>
                </a:cubicBezTo>
                <a:lnTo>
                  <a:pt x="1196492" y="25059"/>
                </a:lnTo>
                <a:cubicBezTo>
                  <a:pt x="1186491" y="25059"/>
                  <a:pt x="1183024" y="28138"/>
                  <a:pt x="1182643" y="35065"/>
                </a:cubicBezTo>
                <a:cubicBezTo>
                  <a:pt x="1182253" y="41223"/>
                  <a:pt x="1181481" y="88944"/>
                  <a:pt x="1181481" y="134356"/>
                </a:cubicBezTo>
                <a:lnTo>
                  <a:pt x="1181481" y="151674"/>
                </a:lnTo>
                <a:cubicBezTo>
                  <a:pt x="1181481" y="199396"/>
                  <a:pt x="1179948" y="235956"/>
                  <a:pt x="1179948" y="244423"/>
                </a:cubicBezTo>
                <a:cubicBezTo>
                  <a:pt x="1179948" y="264435"/>
                  <a:pt x="1177252" y="280213"/>
                  <a:pt x="1164936" y="301381"/>
                </a:cubicBezTo>
                <a:cubicBezTo>
                  <a:pt x="1148391" y="329860"/>
                  <a:pt x="1117216" y="357954"/>
                  <a:pt x="1073725" y="357954"/>
                </a:cubicBezTo>
                <a:cubicBezTo>
                  <a:pt x="1063724" y="357954"/>
                  <a:pt x="1045635" y="351026"/>
                  <a:pt x="1045635" y="331014"/>
                </a:cubicBezTo>
                <a:cubicBezTo>
                  <a:pt x="1045635" y="318313"/>
                  <a:pt x="1054865" y="307153"/>
                  <a:pt x="1067953" y="307153"/>
                </a:cubicBezTo>
                <a:cubicBezTo>
                  <a:pt x="1086812" y="307153"/>
                  <a:pt x="1094889" y="322547"/>
                  <a:pt x="1101824" y="337556"/>
                </a:cubicBezTo>
                <a:cubicBezTo>
                  <a:pt x="1109520" y="337556"/>
                  <a:pt x="1117987" y="328705"/>
                  <a:pt x="1121836" y="315235"/>
                </a:cubicBezTo>
                <a:cubicBezTo>
                  <a:pt x="1129532" y="287910"/>
                  <a:pt x="1125684" y="179384"/>
                  <a:pt x="1125684" y="152059"/>
                </a:cubicBezTo>
                <a:lnTo>
                  <a:pt x="1125684" y="125504"/>
                </a:lnTo>
                <a:lnTo>
                  <a:pt x="1125293" y="125504"/>
                </a:lnTo>
                <a:close/>
                <a:moveTo>
                  <a:pt x="1228820" y="254044"/>
                </a:moveTo>
                <a:cubicBezTo>
                  <a:pt x="1214580" y="238265"/>
                  <a:pt x="1208808" y="218638"/>
                  <a:pt x="1208808" y="194777"/>
                </a:cubicBezTo>
                <a:cubicBezTo>
                  <a:pt x="1208808" y="177844"/>
                  <a:pt x="1218048" y="150135"/>
                  <a:pt x="1241136" y="132432"/>
                </a:cubicBezTo>
                <a:cubicBezTo>
                  <a:pt x="1260377" y="117422"/>
                  <a:pt x="1279236" y="113190"/>
                  <a:pt x="1296943" y="113190"/>
                </a:cubicBezTo>
                <a:cubicBezTo>
                  <a:pt x="1322727" y="113190"/>
                  <a:pt x="1340425" y="120887"/>
                  <a:pt x="1357360" y="136665"/>
                </a:cubicBezTo>
                <a:cubicBezTo>
                  <a:pt x="1375829" y="153214"/>
                  <a:pt x="1383144" y="173226"/>
                  <a:pt x="1383144" y="196317"/>
                </a:cubicBezTo>
                <a:cubicBezTo>
                  <a:pt x="1383144" y="217868"/>
                  <a:pt x="1373905" y="239035"/>
                  <a:pt x="1359284" y="254814"/>
                </a:cubicBezTo>
                <a:cubicBezTo>
                  <a:pt x="1341196" y="273672"/>
                  <a:pt x="1319641" y="280983"/>
                  <a:pt x="1294248" y="280983"/>
                </a:cubicBezTo>
                <a:cubicBezTo>
                  <a:pt x="1266539" y="281369"/>
                  <a:pt x="1247680" y="275596"/>
                  <a:pt x="1228820" y="254044"/>
                </a:cubicBezTo>
                <a:close/>
                <a:moveTo>
                  <a:pt x="1326185" y="194007"/>
                </a:moveTo>
                <a:cubicBezTo>
                  <a:pt x="1326185" y="150520"/>
                  <a:pt x="1311183" y="129353"/>
                  <a:pt x="1294629" y="129353"/>
                </a:cubicBezTo>
                <a:cubicBezTo>
                  <a:pt x="1285389" y="129353"/>
                  <a:pt x="1279236" y="132047"/>
                  <a:pt x="1274236" y="139360"/>
                </a:cubicBezTo>
                <a:cubicBezTo>
                  <a:pt x="1266920" y="150905"/>
                  <a:pt x="1261920" y="167069"/>
                  <a:pt x="1261920" y="197472"/>
                </a:cubicBezTo>
                <a:cubicBezTo>
                  <a:pt x="1261920" y="219023"/>
                  <a:pt x="1263844" y="233262"/>
                  <a:pt x="1271159" y="249426"/>
                </a:cubicBezTo>
                <a:cubicBezTo>
                  <a:pt x="1276160" y="259432"/>
                  <a:pt x="1281932" y="265590"/>
                  <a:pt x="1295781" y="265590"/>
                </a:cubicBezTo>
                <a:cubicBezTo>
                  <a:pt x="1316565" y="265590"/>
                  <a:pt x="1326185" y="235187"/>
                  <a:pt x="1326185" y="194007"/>
                </a:cubicBezTo>
                <a:lnTo>
                  <a:pt x="1326185" y="194007"/>
                </a:lnTo>
                <a:close/>
                <a:moveTo>
                  <a:pt x="1464345" y="247502"/>
                </a:moveTo>
                <a:cubicBezTo>
                  <a:pt x="1464345" y="258662"/>
                  <a:pt x="1466660" y="262896"/>
                  <a:pt x="1470117" y="262896"/>
                </a:cubicBezTo>
                <a:lnTo>
                  <a:pt x="1477432" y="262896"/>
                </a:lnTo>
                <a:cubicBezTo>
                  <a:pt x="1479356" y="262896"/>
                  <a:pt x="1480509" y="263666"/>
                  <a:pt x="1480509" y="265974"/>
                </a:cubicBezTo>
                <a:lnTo>
                  <a:pt x="1480509" y="272902"/>
                </a:lnTo>
                <a:cubicBezTo>
                  <a:pt x="1480509" y="275596"/>
                  <a:pt x="1480128" y="277135"/>
                  <a:pt x="1477823" y="277135"/>
                </a:cubicBezTo>
                <a:cubicBezTo>
                  <a:pt x="1474737" y="277135"/>
                  <a:pt x="1457420" y="275980"/>
                  <a:pt x="1435484" y="275980"/>
                </a:cubicBezTo>
                <a:cubicBezTo>
                  <a:pt x="1409319" y="275980"/>
                  <a:pt x="1395079" y="277135"/>
                  <a:pt x="1391612" y="277135"/>
                </a:cubicBezTo>
                <a:cubicBezTo>
                  <a:pt x="1390069" y="277135"/>
                  <a:pt x="1388916" y="275980"/>
                  <a:pt x="1388916" y="273287"/>
                </a:cubicBezTo>
                <a:lnTo>
                  <a:pt x="1388916" y="265974"/>
                </a:lnTo>
                <a:cubicBezTo>
                  <a:pt x="1388916" y="263281"/>
                  <a:pt x="1390460" y="262896"/>
                  <a:pt x="1394689" y="262896"/>
                </a:cubicBezTo>
                <a:lnTo>
                  <a:pt x="1400851" y="262896"/>
                </a:lnTo>
                <a:cubicBezTo>
                  <a:pt x="1407004" y="262896"/>
                  <a:pt x="1412396" y="261356"/>
                  <a:pt x="1413548" y="256353"/>
                </a:cubicBezTo>
                <a:cubicBezTo>
                  <a:pt x="1415472" y="249426"/>
                  <a:pt x="1415472" y="242883"/>
                  <a:pt x="1415472" y="231722"/>
                </a:cubicBezTo>
                <a:lnTo>
                  <a:pt x="1414701" y="75859"/>
                </a:lnTo>
                <a:cubicBezTo>
                  <a:pt x="1414701" y="57002"/>
                  <a:pt x="1409700" y="46226"/>
                  <a:pt x="1397003" y="41223"/>
                </a:cubicBezTo>
                <a:lnTo>
                  <a:pt x="1390069" y="38914"/>
                </a:lnTo>
                <a:cubicBezTo>
                  <a:pt x="1387764" y="37759"/>
                  <a:pt x="1386992" y="36605"/>
                  <a:pt x="1386992" y="35450"/>
                </a:cubicBezTo>
                <a:lnTo>
                  <a:pt x="1386992" y="31217"/>
                </a:lnTo>
                <a:cubicBezTo>
                  <a:pt x="1386992" y="29677"/>
                  <a:pt x="1388145" y="28138"/>
                  <a:pt x="1393536" y="26599"/>
                </a:cubicBezTo>
                <a:cubicBezTo>
                  <a:pt x="1414320" y="20441"/>
                  <a:pt x="1427788" y="14668"/>
                  <a:pt x="1450105" y="3892"/>
                </a:cubicBezTo>
                <a:cubicBezTo>
                  <a:pt x="1455115" y="1583"/>
                  <a:pt x="1457811" y="44"/>
                  <a:pt x="1461659" y="44"/>
                </a:cubicBezTo>
                <a:cubicBezTo>
                  <a:pt x="1465116" y="44"/>
                  <a:pt x="1465888" y="3123"/>
                  <a:pt x="1465116" y="9280"/>
                </a:cubicBezTo>
                <a:cubicBezTo>
                  <a:pt x="1464345" y="15438"/>
                  <a:pt x="1463964" y="91638"/>
                  <a:pt x="1463964" y="113574"/>
                </a:cubicBezTo>
                <a:lnTo>
                  <a:pt x="1463964" y="135895"/>
                </a:lnTo>
                <a:lnTo>
                  <a:pt x="1466660" y="135895"/>
                </a:lnTo>
                <a:cubicBezTo>
                  <a:pt x="1475508" y="121656"/>
                  <a:pt x="1493977" y="113190"/>
                  <a:pt x="1514761" y="113190"/>
                </a:cubicBezTo>
                <a:cubicBezTo>
                  <a:pt x="1531696" y="113190"/>
                  <a:pt x="1541316" y="118192"/>
                  <a:pt x="1552861" y="127813"/>
                </a:cubicBezTo>
                <a:cubicBezTo>
                  <a:pt x="1570568" y="142438"/>
                  <a:pt x="1569025" y="161296"/>
                  <a:pt x="1569025" y="185156"/>
                </a:cubicBezTo>
                <a:lnTo>
                  <a:pt x="1569025" y="208247"/>
                </a:lnTo>
                <a:cubicBezTo>
                  <a:pt x="1569025" y="227105"/>
                  <a:pt x="1568253" y="249810"/>
                  <a:pt x="1568253" y="256738"/>
                </a:cubicBezTo>
                <a:cubicBezTo>
                  <a:pt x="1568253" y="262126"/>
                  <a:pt x="1575568" y="262511"/>
                  <a:pt x="1580188" y="262511"/>
                </a:cubicBezTo>
                <a:lnTo>
                  <a:pt x="1587113" y="262511"/>
                </a:lnTo>
                <a:cubicBezTo>
                  <a:pt x="1590189" y="262511"/>
                  <a:pt x="1591351" y="263281"/>
                  <a:pt x="1591351" y="265205"/>
                </a:cubicBezTo>
                <a:lnTo>
                  <a:pt x="1591351" y="272902"/>
                </a:lnTo>
                <a:cubicBezTo>
                  <a:pt x="1591351" y="275211"/>
                  <a:pt x="1590580" y="276750"/>
                  <a:pt x="1588265" y="276750"/>
                </a:cubicBezTo>
                <a:cubicBezTo>
                  <a:pt x="1585579" y="276750"/>
                  <a:pt x="1573644" y="275596"/>
                  <a:pt x="1547479" y="275596"/>
                </a:cubicBezTo>
                <a:cubicBezTo>
                  <a:pt x="1521695" y="275596"/>
                  <a:pt x="1508217" y="276750"/>
                  <a:pt x="1504760" y="276750"/>
                </a:cubicBezTo>
                <a:cubicBezTo>
                  <a:pt x="1502064" y="276750"/>
                  <a:pt x="1501292" y="275596"/>
                  <a:pt x="1501292" y="272517"/>
                </a:cubicBezTo>
                <a:lnTo>
                  <a:pt x="1501292" y="265590"/>
                </a:lnTo>
                <a:cubicBezTo>
                  <a:pt x="1501292" y="263666"/>
                  <a:pt x="1501683" y="262511"/>
                  <a:pt x="1503988" y="262511"/>
                </a:cubicBezTo>
                <a:lnTo>
                  <a:pt x="1508989" y="262511"/>
                </a:lnTo>
                <a:cubicBezTo>
                  <a:pt x="1512456" y="262511"/>
                  <a:pt x="1517075" y="260586"/>
                  <a:pt x="1517847" y="255584"/>
                </a:cubicBezTo>
                <a:cubicBezTo>
                  <a:pt x="1518228" y="250195"/>
                  <a:pt x="1518999" y="230568"/>
                  <a:pt x="1518999" y="219408"/>
                </a:cubicBezTo>
                <a:lnTo>
                  <a:pt x="1518999" y="196702"/>
                </a:lnTo>
                <a:cubicBezTo>
                  <a:pt x="1518999" y="178229"/>
                  <a:pt x="1520152" y="152059"/>
                  <a:pt x="1510532" y="142438"/>
                </a:cubicBezTo>
                <a:cubicBezTo>
                  <a:pt x="1505141" y="137050"/>
                  <a:pt x="1500912" y="135510"/>
                  <a:pt x="1492825" y="135510"/>
                </a:cubicBezTo>
                <a:cubicBezTo>
                  <a:pt x="1484748" y="135510"/>
                  <a:pt x="1476280" y="142438"/>
                  <a:pt x="1470889" y="148596"/>
                </a:cubicBezTo>
                <a:cubicBezTo>
                  <a:pt x="1467812" y="152444"/>
                  <a:pt x="1464345" y="157062"/>
                  <a:pt x="1464345" y="167069"/>
                </a:cubicBezTo>
                <a:lnTo>
                  <a:pt x="1464345" y="247502"/>
                </a:lnTo>
                <a:lnTo>
                  <a:pt x="1464345" y="247502"/>
                </a:lnTo>
                <a:close/>
                <a:moveTo>
                  <a:pt x="1669475" y="133971"/>
                </a:moveTo>
                <a:lnTo>
                  <a:pt x="1672552" y="133971"/>
                </a:lnTo>
                <a:cubicBezTo>
                  <a:pt x="1676781" y="128969"/>
                  <a:pt x="1683325" y="124350"/>
                  <a:pt x="1690640" y="120502"/>
                </a:cubicBezTo>
                <a:cubicBezTo>
                  <a:pt x="1698717" y="115883"/>
                  <a:pt x="1707185" y="113574"/>
                  <a:pt x="1719501" y="113574"/>
                </a:cubicBezTo>
                <a:cubicBezTo>
                  <a:pt x="1734131" y="113574"/>
                  <a:pt x="1748371" y="115114"/>
                  <a:pt x="1757991" y="123965"/>
                </a:cubicBezTo>
                <a:cubicBezTo>
                  <a:pt x="1773765" y="138590"/>
                  <a:pt x="1774917" y="147826"/>
                  <a:pt x="1774917" y="166683"/>
                </a:cubicBezTo>
                <a:lnTo>
                  <a:pt x="1774917" y="206323"/>
                </a:lnTo>
                <a:cubicBezTo>
                  <a:pt x="1774917" y="219023"/>
                  <a:pt x="1774155" y="236726"/>
                  <a:pt x="1773384" y="249810"/>
                </a:cubicBezTo>
                <a:cubicBezTo>
                  <a:pt x="1772993" y="260971"/>
                  <a:pt x="1779156" y="262896"/>
                  <a:pt x="1782232" y="262896"/>
                </a:cubicBezTo>
                <a:lnTo>
                  <a:pt x="1792243" y="262896"/>
                </a:lnTo>
                <a:cubicBezTo>
                  <a:pt x="1795701" y="262896"/>
                  <a:pt x="1796472" y="264050"/>
                  <a:pt x="1796472" y="266359"/>
                </a:cubicBezTo>
                <a:lnTo>
                  <a:pt x="1796472" y="273287"/>
                </a:lnTo>
                <a:cubicBezTo>
                  <a:pt x="1796472" y="275980"/>
                  <a:pt x="1795701" y="277520"/>
                  <a:pt x="1793396" y="277520"/>
                </a:cubicBezTo>
                <a:cubicBezTo>
                  <a:pt x="1790700" y="277520"/>
                  <a:pt x="1779156" y="276365"/>
                  <a:pt x="1749133" y="276365"/>
                </a:cubicBezTo>
                <a:cubicBezTo>
                  <a:pt x="1724511" y="276365"/>
                  <a:pt x="1712576" y="277520"/>
                  <a:pt x="1709880" y="277520"/>
                </a:cubicBezTo>
                <a:cubicBezTo>
                  <a:pt x="1707575" y="277520"/>
                  <a:pt x="1706804" y="276365"/>
                  <a:pt x="1706804" y="273287"/>
                </a:cubicBezTo>
                <a:lnTo>
                  <a:pt x="1706804" y="266359"/>
                </a:lnTo>
                <a:cubicBezTo>
                  <a:pt x="1706804" y="263666"/>
                  <a:pt x="1707956" y="262896"/>
                  <a:pt x="1711804" y="262896"/>
                </a:cubicBezTo>
                <a:lnTo>
                  <a:pt x="1716043" y="262896"/>
                </a:lnTo>
                <a:cubicBezTo>
                  <a:pt x="1718729" y="262896"/>
                  <a:pt x="1722196" y="260971"/>
                  <a:pt x="1722968" y="254429"/>
                </a:cubicBezTo>
                <a:cubicBezTo>
                  <a:pt x="1724511" y="244808"/>
                  <a:pt x="1725273" y="232877"/>
                  <a:pt x="1725273" y="215560"/>
                </a:cubicBezTo>
                <a:lnTo>
                  <a:pt x="1725273" y="175150"/>
                </a:lnTo>
                <a:cubicBezTo>
                  <a:pt x="1725273" y="160911"/>
                  <a:pt x="1724120" y="151290"/>
                  <a:pt x="1716424" y="143977"/>
                </a:cubicBezTo>
                <a:cubicBezTo>
                  <a:pt x="1709499" y="137819"/>
                  <a:pt x="1704489" y="137050"/>
                  <a:pt x="1697955" y="137050"/>
                </a:cubicBezTo>
                <a:cubicBezTo>
                  <a:pt x="1691021" y="137050"/>
                  <a:pt x="1686411" y="138975"/>
                  <a:pt x="1678705" y="144362"/>
                </a:cubicBezTo>
                <a:cubicBezTo>
                  <a:pt x="1674095" y="147826"/>
                  <a:pt x="1671399" y="157832"/>
                  <a:pt x="1671399" y="173226"/>
                </a:cubicBezTo>
                <a:lnTo>
                  <a:pt x="1670247" y="250580"/>
                </a:lnTo>
                <a:cubicBezTo>
                  <a:pt x="1670247" y="257508"/>
                  <a:pt x="1672933" y="262896"/>
                  <a:pt x="1676400" y="262896"/>
                </a:cubicBezTo>
                <a:lnTo>
                  <a:pt x="1681401" y="262896"/>
                </a:lnTo>
                <a:cubicBezTo>
                  <a:pt x="1684477" y="262896"/>
                  <a:pt x="1685249" y="264050"/>
                  <a:pt x="1685249" y="266744"/>
                </a:cubicBezTo>
                <a:lnTo>
                  <a:pt x="1685249" y="273672"/>
                </a:lnTo>
                <a:cubicBezTo>
                  <a:pt x="1685249" y="275980"/>
                  <a:pt x="1684477" y="277135"/>
                  <a:pt x="1682553" y="277135"/>
                </a:cubicBezTo>
                <a:cubicBezTo>
                  <a:pt x="1679867" y="277135"/>
                  <a:pt x="1669856" y="275980"/>
                  <a:pt x="1645225" y="275980"/>
                </a:cubicBezTo>
                <a:cubicBezTo>
                  <a:pt x="1618669" y="275980"/>
                  <a:pt x="1606744" y="277135"/>
                  <a:pt x="1604429" y="277135"/>
                </a:cubicBezTo>
                <a:cubicBezTo>
                  <a:pt x="1602505" y="277135"/>
                  <a:pt x="1601743" y="275980"/>
                  <a:pt x="1601743" y="273672"/>
                </a:cubicBezTo>
                <a:lnTo>
                  <a:pt x="1601743" y="266359"/>
                </a:lnTo>
                <a:cubicBezTo>
                  <a:pt x="1601743" y="264050"/>
                  <a:pt x="1602505" y="262896"/>
                  <a:pt x="1605591" y="262896"/>
                </a:cubicBezTo>
                <a:lnTo>
                  <a:pt x="1611363" y="262896"/>
                </a:lnTo>
                <a:cubicBezTo>
                  <a:pt x="1615592" y="262896"/>
                  <a:pt x="1621755" y="261741"/>
                  <a:pt x="1621755" y="255584"/>
                </a:cubicBezTo>
                <a:lnTo>
                  <a:pt x="1621755" y="172456"/>
                </a:lnTo>
                <a:cubicBezTo>
                  <a:pt x="1621755" y="161296"/>
                  <a:pt x="1615212" y="154753"/>
                  <a:pt x="1606744" y="150905"/>
                </a:cubicBezTo>
                <a:lnTo>
                  <a:pt x="1603277" y="149366"/>
                </a:lnTo>
                <a:cubicBezTo>
                  <a:pt x="1600972" y="148211"/>
                  <a:pt x="1600581" y="146671"/>
                  <a:pt x="1600581" y="145132"/>
                </a:cubicBezTo>
                <a:lnTo>
                  <a:pt x="1600581" y="141668"/>
                </a:lnTo>
                <a:cubicBezTo>
                  <a:pt x="1600581" y="139744"/>
                  <a:pt x="1602124" y="138590"/>
                  <a:pt x="1604048" y="137819"/>
                </a:cubicBezTo>
                <a:lnTo>
                  <a:pt x="1652159" y="116268"/>
                </a:lnTo>
                <a:cubicBezTo>
                  <a:pt x="1655236" y="115114"/>
                  <a:pt x="1657931" y="113574"/>
                  <a:pt x="1660617" y="113574"/>
                </a:cubicBezTo>
                <a:cubicBezTo>
                  <a:pt x="1662932" y="113574"/>
                  <a:pt x="1665237" y="115498"/>
                  <a:pt x="1666008" y="118192"/>
                </a:cubicBezTo>
                <a:lnTo>
                  <a:pt x="1669475" y="133971"/>
                </a:lnTo>
                <a:lnTo>
                  <a:pt x="1669475" y="133971"/>
                </a:lnTo>
                <a:close/>
                <a:moveTo>
                  <a:pt x="1954263" y="85480"/>
                </a:moveTo>
                <a:lnTo>
                  <a:pt x="1951949" y="85480"/>
                </a:lnTo>
                <a:cubicBezTo>
                  <a:pt x="1947720" y="96256"/>
                  <a:pt x="1882292" y="270592"/>
                  <a:pt x="1880759" y="274056"/>
                </a:cubicBezTo>
                <a:cubicBezTo>
                  <a:pt x="1879216" y="278289"/>
                  <a:pt x="1877292" y="283293"/>
                  <a:pt x="1871520" y="283293"/>
                </a:cubicBezTo>
                <a:cubicBezTo>
                  <a:pt x="1867281" y="283293"/>
                  <a:pt x="1864976" y="280213"/>
                  <a:pt x="1863824" y="275980"/>
                </a:cubicBezTo>
                <a:lnTo>
                  <a:pt x="1779156" y="38529"/>
                </a:lnTo>
                <a:cubicBezTo>
                  <a:pt x="1775308" y="28138"/>
                  <a:pt x="1768764" y="25059"/>
                  <a:pt x="1763763" y="25059"/>
                </a:cubicBezTo>
                <a:lnTo>
                  <a:pt x="1754524" y="25059"/>
                </a:lnTo>
                <a:cubicBezTo>
                  <a:pt x="1752600" y="25059"/>
                  <a:pt x="1752219" y="23520"/>
                  <a:pt x="1752219" y="21980"/>
                </a:cubicBezTo>
                <a:lnTo>
                  <a:pt x="1752219" y="12359"/>
                </a:lnTo>
                <a:cubicBezTo>
                  <a:pt x="1752219" y="10435"/>
                  <a:pt x="1752600" y="9665"/>
                  <a:pt x="1755296" y="9665"/>
                </a:cubicBezTo>
                <a:cubicBezTo>
                  <a:pt x="1758372" y="9665"/>
                  <a:pt x="1769916" y="10820"/>
                  <a:pt x="1808407" y="10820"/>
                </a:cubicBezTo>
                <a:cubicBezTo>
                  <a:pt x="1835344" y="10820"/>
                  <a:pt x="1850736" y="9665"/>
                  <a:pt x="1854584" y="9665"/>
                </a:cubicBezTo>
                <a:cubicBezTo>
                  <a:pt x="1857280" y="9665"/>
                  <a:pt x="1857661" y="10820"/>
                  <a:pt x="1857661" y="12744"/>
                </a:cubicBezTo>
                <a:lnTo>
                  <a:pt x="1857661" y="21980"/>
                </a:lnTo>
                <a:cubicBezTo>
                  <a:pt x="1857661" y="23905"/>
                  <a:pt x="1857280" y="25059"/>
                  <a:pt x="1854584" y="25059"/>
                </a:cubicBezTo>
                <a:lnTo>
                  <a:pt x="1846507" y="25059"/>
                </a:lnTo>
                <a:cubicBezTo>
                  <a:pt x="1840344" y="25059"/>
                  <a:pt x="1836877" y="30447"/>
                  <a:pt x="1839192" y="37759"/>
                </a:cubicBezTo>
                <a:lnTo>
                  <a:pt x="1890379" y="200935"/>
                </a:lnTo>
                <a:lnTo>
                  <a:pt x="1892684" y="200935"/>
                </a:lnTo>
                <a:cubicBezTo>
                  <a:pt x="1897304" y="188235"/>
                  <a:pt x="1941948" y="68932"/>
                  <a:pt x="1941948" y="55462"/>
                </a:cubicBezTo>
                <a:cubicBezTo>
                  <a:pt x="1941948" y="46226"/>
                  <a:pt x="1938099" y="36220"/>
                  <a:pt x="1935023" y="31986"/>
                </a:cubicBezTo>
                <a:cubicBezTo>
                  <a:pt x="1931937" y="27753"/>
                  <a:pt x="1926936" y="25059"/>
                  <a:pt x="1923860" y="25059"/>
                </a:cubicBezTo>
                <a:lnTo>
                  <a:pt x="1916544" y="25059"/>
                </a:lnTo>
                <a:cubicBezTo>
                  <a:pt x="1914620" y="25059"/>
                  <a:pt x="1914239" y="24289"/>
                  <a:pt x="1914239" y="21980"/>
                </a:cubicBezTo>
                <a:lnTo>
                  <a:pt x="1914239" y="12359"/>
                </a:lnTo>
                <a:cubicBezTo>
                  <a:pt x="1914239" y="10820"/>
                  <a:pt x="1914620" y="9665"/>
                  <a:pt x="1916935" y="9665"/>
                </a:cubicBezTo>
                <a:cubicBezTo>
                  <a:pt x="1920392" y="9665"/>
                  <a:pt x="1933480" y="10820"/>
                  <a:pt x="1966189" y="10820"/>
                </a:cubicBezTo>
                <a:cubicBezTo>
                  <a:pt x="1997745" y="10820"/>
                  <a:pt x="2011985" y="9665"/>
                  <a:pt x="2015452" y="9665"/>
                </a:cubicBezTo>
                <a:cubicBezTo>
                  <a:pt x="2017757" y="9665"/>
                  <a:pt x="2018148" y="10820"/>
                  <a:pt x="2018148" y="13129"/>
                </a:cubicBezTo>
                <a:lnTo>
                  <a:pt x="2018148" y="22365"/>
                </a:lnTo>
                <a:cubicBezTo>
                  <a:pt x="2018148" y="23905"/>
                  <a:pt x="2017757" y="25059"/>
                  <a:pt x="2015452" y="25059"/>
                </a:cubicBezTo>
                <a:lnTo>
                  <a:pt x="2004289" y="25059"/>
                </a:lnTo>
                <a:cubicBezTo>
                  <a:pt x="1998136" y="25059"/>
                  <a:pt x="1995059" y="33141"/>
                  <a:pt x="1996983" y="39683"/>
                </a:cubicBezTo>
                <a:lnTo>
                  <a:pt x="2048551" y="200935"/>
                </a:lnTo>
                <a:lnTo>
                  <a:pt x="2050856" y="200935"/>
                </a:lnTo>
                <a:cubicBezTo>
                  <a:pt x="2068563" y="150135"/>
                  <a:pt x="2101272" y="55077"/>
                  <a:pt x="2101272" y="34680"/>
                </a:cubicBezTo>
                <a:cubicBezTo>
                  <a:pt x="2101272" y="30447"/>
                  <a:pt x="2096272" y="25059"/>
                  <a:pt x="2089347" y="25059"/>
                </a:cubicBezTo>
                <a:lnTo>
                  <a:pt x="2078565" y="25059"/>
                </a:lnTo>
                <a:cubicBezTo>
                  <a:pt x="2076260" y="25059"/>
                  <a:pt x="2075869" y="23905"/>
                  <a:pt x="2075869" y="21596"/>
                </a:cubicBezTo>
                <a:lnTo>
                  <a:pt x="2075869" y="12359"/>
                </a:lnTo>
                <a:cubicBezTo>
                  <a:pt x="2075869" y="10820"/>
                  <a:pt x="2076260" y="9665"/>
                  <a:pt x="2078955" y="9665"/>
                </a:cubicBezTo>
                <a:cubicBezTo>
                  <a:pt x="2082803" y="9665"/>
                  <a:pt x="2095881" y="10820"/>
                  <a:pt x="2118979" y="10820"/>
                </a:cubicBezTo>
                <a:cubicBezTo>
                  <a:pt x="2139753" y="10820"/>
                  <a:pt x="2150917" y="9665"/>
                  <a:pt x="2153612" y="9665"/>
                </a:cubicBezTo>
                <a:cubicBezTo>
                  <a:pt x="2155917" y="9665"/>
                  <a:pt x="2156308" y="10435"/>
                  <a:pt x="2156308" y="13129"/>
                </a:cubicBezTo>
                <a:lnTo>
                  <a:pt x="2156308" y="22365"/>
                </a:lnTo>
                <a:cubicBezTo>
                  <a:pt x="2156308" y="23905"/>
                  <a:pt x="2156308" y="25059"/>
                  <a:pt x="2153612" y="25059"/>
                </a:cubicBezTo>
                <a:lnTo>
                  <a:pt x="2146687" y="25059"/>
                </a:lnTo>
                <a:cubicBezTo>
                  <a:pt x="2140144" y="25059"/>
                  <a:pt x="2132829" y="29293"/>
                  <a:pt x="2128980" y="38529"/>
                </a:cubicBezTo>
                <a:cubicBezTo>
                  <a:pt x="2124361" y="50459"/>
                  <a:pt x="2049323" y="254044"/>
                  <a:pt x="2041617" y="271747"/>
                </a:cubicBezTo>
                <a:cubicBezTo>
                  <a:pt x="2039693" y="276365"/>
                  <a:pt x="2037007" y="283293"/>
                  <a:pt x="2030463" y="283293"/>
                </a:cubicBezTo>
                <a:cubicBezTo>
                  <a:pt x="2025072" y="283293"/>
                  <a:pt x="2023148" y="278289"/>
                  <a:pt x="2021224" y="273287"/>
                </a:cubicBezTo>
                <a:lnTo>
                  <a:pt x="1954263" y="85480"/>
                </a:lnTo>
                <a:lnTo>
                  <a:pt x="1954263" y="85480"/>
                </a:lnTo>
                <a:close/>
                <a:moveTo>
                  <a:pt x="2157841" y="182847"/>
                </a:moveTo>
                <a:lnTo>
                  <a:pt x="2157841" y="192853"/>
                </a:lnTo>
                <a:cubicBezTo>
                  <a:pt x="2157841" y="231722"/>
                  <a:pt x="2179777" y="250965"/>
                  <a:pt x="2207105" y="250965"/>
                </a:cubicBezTo>
                <a:cubicBezTo>
                  <a:pt x="2225583" y="250965"/>
                  <a:pt x="2240585" y="242498"/>
                  <a:pt x="2247900" y="230183"/>
                </a:cubicBezTo>
                <a:cubicBezTo>
                  <a:pt x="2248672" y="228259"/>
                  <a:pt x="2250205" y="227874"/>
                  <a:pt x="2251748" y="229029"/>
                </a:cubicBezTo>
                <a:lnTo>
                  <a:pt x="2258292" y="232492"/>
                </a:lnTo>
                <a:cubicBezTo>
                  <a:pt x="2259835" y="233262"/>
                  <a:pt x="2260987" y="235187"/>
                  <a:pt x="2257520" y="241344"/>
                </a:cubicBezTo>
                <a:cubicBezTo>
                  <a:pt x="2250596" y="255199"/>
                  <a:pt x="2226345" y="280983"/>
                  <a:pt x="2191331" y="280983"/>
                </a:cubicBezTo>
                <a:cubicBezTo>
                  <a:pt x="2167471" y="280983"/>
                  <a:pt x="2147459" y="276750"/>
                  <a:pt x="2135143" y="263281"/>
                </a:cubicBezTo>
                <a:cubicBezTo>
                  <a:pt x="2115893" y="242498"/>
                  <a:pt x="2109740" y="228259"/>
                  <a:pt x="2109359" y="199011"/>
                </a:cubicBezTo>
                <a:cubicBezTo>
                  <a:pt x="2109359" y="188620"/>
                  <a:pt x="2109359" y="168608"/>
                  <a:pt x="2126285" y="143977"/>
                </a:cubicBezTo>
                <a:cubicBezTo>
                  <a:pt x="2139753" y="123965"/>
                  <a:pt x="2162461" y="113190"/>
                  <a:pt x="2191331" y="113190"/>
                </a:cubicBezTo>
                <a:cubicBezTo>
                  <a:pt x="2252129" y="113190"/>
                  <a:pt x="2255215" y="171302"/>
                  <a:pt x="2255215" y="177075"/>
                </a:cubicBezTo>
                <a:cubicBezTo>
                  <a:pt x="2255215" y="182077"/>
                  <a:pt x="2251748" y="182462"/>
                  <a:pt x="2243671" y="182462"/>
                </a:cubicBezTo>
                <a:lnTo>
                  <a:pt x="2157841" y="182462"/>
                </a:lnTo>
                <a:lnTo>
                  <a:pt x="2157841" y="182847"/>
                </a:lnTo>
                <a:close/>
                <a:moveTo>
                  <a:pt x="2194408" y="168608"/>
                </a:moveTo>
                <a:cubicBezTo>
                  <a:pt x="2202485" y="168608"/>
                  <a:pt x="2206333" y="166683"/>
                  <a:pt x="2206333" y="161296"/>
                </a:cubicBezTo>
                <a:cubicBezTo>
                  <a:pt x="2206333" y="144747"/>
                  <a:pt x="2199408" y="128583"/>
                  <a:pt x="2187864" y="128583"/>
                </a:cubicBezTo>
                <a:cubicBezTo>
                  <a:pt x="2170157" y="128583"/>
                  <a:pt x="2160927" y="142438"/>
                  <a:pt x="2158232" y="168608"/>
                </a:cubicBezTo>
                <a:lnTo>
                  <a:pt x="2194408" y="168608"/>
                </a:lnTo>
                <a:close/>
                <a:moveTo>
                  <a:pt x="2389527" y="156292"/>
                </a:moveTo>
                <a:cubicBezTo>
                  <a:pt x="2389908" y="158217"/>
                  <a:pt x="2389527" y="158987"/>
                  <a:pt x="2387984" y="159756"/>
                </a:cubicBezTo>
                <a:lnTo>
                  <a:pt x="2381060" y="162835"/>
                </a:lnTo>
                <a:cubicBezTo>
                  <a:pt x="2379907" y="163604"/>
                  <a:pt x="2378745" y="163220"/>
                  <a:pt x="2377212" y="161680"/>
                </a:cubicBezTo>
                <a:lnTo>
                  <a:pt x="2356428" y="139360"/>
                </a:lnTo>
                <a:cubicBezTo>
                  <a:pt x="2351427" y="134356"/>
                  <a:pt x="2344493" y="128583"/>
                  <a:pt x="2333339" y="128583"/>
                </a:cubicBezTo>
                <a:cubicBezTo>
                  <a:pt x="2322176" y="128583"/>
                  <a:pt x="2311403" y="135895"/>
                  <a:pt x="2311403" y="148981"/>
                </a:cubicBezTo>
                <a:cubicBezTo>
                  <a:pt x="2312165" y="162065"/>
                  <a:pt x="2316785" y="165913"/>
                  <a:pt x="2344493" y="173226"/>
                </a:cubicBezTo>
                <a:cubicBezTo>
                  <a:pt x="2362972" y="178229"/>
                  <a:pt x="2371820" y="180538"/>
                  <a:pt x="2382984" y="192853"/>
                </a:cubicBezTo>
                <a:cubicBezTo>
                  <a:pt x="2392604" y="202474"/>
                  <a:pt x="2394909" y="211710"/>
                  <a:pt x="2394909" y="224796"/>
                </a:cubicBezTo>
                <a:cubicBezTo>
                  <a:pt x="2394909" y="258277"/>
                  <a:pt x="2368744" y="282138"/>
                  <a:pt x="2327948" y="282138"/>
                </a:cubicBezTo>
                <a:cubicBezTo>
                  <a:pt x="2307165" y="282138"/>
                  <a:pt x="2288696" y="274826"/>
                  <a:pt x="2284076" y="271362"/>
                </a:cubicBezTo>
                <a:cubicBezTo>
                  <a:pt x="2282533" y="270207"/>
                  <a:pt x="2282152" y="268668"/>
                  <a:pt x="2281771" y="266359"/>
                </a:cubicBezTo>
                <a:lnTo>
                  <a:pt x="2276761" y="230568"/>
                </a:lnTo>
                <a:cubicBezTo>
                  <a:pt x="2276761" y="228644"/>
                  <a:pt x="2277923" y="227874"/>
                  <a:pt x="2279456" y="227490"/>
                </a:cubicBezTo>
                <a:lnTo>
                  <a:pt x="2286381" y="225566"/>
                </a:lnTo>
                <a:cubicBezTo>
                  <a:pt x="2287543" y="225181"/>
                  <a:pt x="2288305" y="225566"/>
                  <a:pt x="2289077" y="227105"/>
                </a:cubicBezTo>
                <a:lnTo>
                  <a:pt x="2304088" y="249041"/>
                </a:lnTo>
                <a:cubicBezTo>
                  <a:pt x="2311013" y="258662"/>
                  <a:pt x="2319480" y="268283"/>
                  <a:pt x="2336797" y="268283"/>
                </a:cubicBezTo>
                <a:cubicBezTo>
                  <a:pt x="2350656" y="268283"/>
                  <a:pt x="2358733" y="258662"/>
                  <a:pt x="2358733" y="245578"/>
                </a:cubicBezTo>
                <a:cubicBezTo>
                  <a:pt x="2358733" y="230568"/>
                  <a:pt x="2347960" y="225566"/>
                  <a:pt x="2323719" y="218253"/>
                </a:cubicBezTo>
                <a:cubicBezTo>
                  <a:pt x="2297163" y="210556"/>
                  <a:pt x="2277923" y="197472"/>
                  <a:pt x="2277923" y="170532"/>
                </a:cubicBezTo>
                <a:cubicBezTo>
                  <a:pt x="2277923" y="152829"/>
                  <a:pt x="2283305" y="138205"/>
                  <a:pt x="2297544" y="127813"/>
                </a:cubicBezTo>
                <a:cubicBezTo>
                  <a:pt x="2312556" y="117038"/>
                  <a:pt x="2322948" y="114344"/>
                  <a:pt x="2338721" y="114344"/>
                </a:cubicBezTo>
                <a:cubicBezTo>
                  <a:pt x="2359124" y="114344"/>
                  <a:pt x="2371439" y="118962"/>
                  <a:pt x="2377983" y="122041"/>
                </a:cubicBezTo>
                <a:cubicBezTo>
                  <a:pt x="2383755" y="124735"/>
                  <a:pt x="2384517" y="126659"/>
                  <a:pt x="2384908" y="128969"/>
                </a:cubicBezTo>
                <a:lnTo>
                  <a:pt x="2389527" y="156292"/>
                </a:lnTo>
                <a:lnTo>
                  <a:pt x="2389527" y="156292"/>
                </a:lnTo>
                <a:close/>
                <a:moveTo>
                  <a:pt x="2479196" y="221332"/>
                </a:moveTo>
                <a:cubicBezTo>
                  <a:pt x="2479196" y="252119"/>
                  <a:pt x="2490740" y="258662"/>
                  <a:pt x="2499979" y="258662"/>
                </a:cubicBezTo>
                <a:cubicBezTo>
                  <a:pt x="2507676" y="258662"/>
                  <a:pt x="2513448" y="257508"/>
                  <a:pt x="2519601" y="254044"/>
                </a:cubicBezTo>
                <a:cubicBezTo>
                  <a:pt x="2520753" y="253275"/>
                  <a:pt x="2521915" y="253275"/>
                  <a:pt x="2523068" y="255584"/>
                </a:cubicBezTo>
                <a:lnTo>
                  <a:pt x="2525763" y="261356"/>
                </a:lnTo>
                <a:cubicBezTo>
                  <a:pt x="2526916" y="263281"/>
                  <a:pt x="2525763" y="265205"/>
                  <a:pt x="2524220" y="266359"/>
                </a:cubicBezTo>
                <a:cubicBezTo>
                  <a:pt x="2517677" y="270977"/>
                  <a:pt x="2501132" y="281369"/>
                  <a:pt x="2471881" y="281369"/>
                </a:cubicBezTo>
                <a:cubicBezTo>
                  <a:pt x="2446477" y="281369"/>
                  <a:pt x="2430323" y="263666"/>
                  <a:pt x="2430323" y="246732"/>
                </a:cubicBezTo>
                <a:cubicBezTo>
                  <a:pt x="2430323" y="233647"/>
                  <a:pt x="2431085" y="205169"/>
                  <a:pt x="2431085" y="190929"/>
                </a:cubicBezTo>
                <a:lnTo>
                  <a:pt x="2431475" y="141668"/>
                </a:lnTo>
                <a:lnTo>
                  <a:pt x="2410692" y="141668"/>
                </a:lnTo>
                <a:cubicBezTo>
                  <a:pt x="2407225" y="141668"/>
                  <a:pt x="2404529" y="140129"/>
                  <a:pt x="2404529" y="136280"/>
                </a:cubicBezTo>
                <a:cubicBezTo>
                  <a:pt x="2404529" y="132432"/>
                  <a:pt x="2406844" y="129738"/>
                  <a:pt x="2412616" y="127044"/>
                </a:cubicBezTo>
                <a:cubicBezTo>
                  <a:pt x="2424932" y="121272"/>
                  <a:pt x="2456488" y="93177"/>
                  <a:pt x="2470347" y="77783"/>
                </a:cubicBezTo>
                <a:cubicBezTo>
                  <a:pt x="2473033" y="74705"/>
                  <a:pt x="2475729" y="73935"/>
                  <a:pt x="2477272" y="73935"/>
                </a:cubicBezTo>
                <a:cubicBezTo>
                  <a:pt x="2480729" y="73935"/>
                  <a:pt x="2482272" y="76629"/>
                  <a:pt x="2482272" y="79708"/>
                </a:cubicBezTo>
                <a:lnTo>
                  <a:pt x="2480729" y="119347"/>
                </a:lnTo>
                <a:lnTo>
                  <a:pt x="2528459" y="119347"/>
                </a:lnTo>
                <a:cubicBezTo>
                  <a:pt x="2530764" y="119347"/>
                  <a:pt x="2531917" y="121272"/>
                  <a:pt x="2531145" y="122811"/>
                </a:cubicBezTo>
                <a:lnTo>
                  <a:pt x="2527297" y="138975"/>
                </a:lnTo>
                <a:cubicBezTo>
                  <a:pt x="2526916" y="140514"/>
                  <a:pt x="2526144" y="142053"/>
                  <a:pt x="2523839" y="142053"/>
                </a:cubicBezTo>
                <a:lnTo>
                  <a:pt x="2479967" y="142053"/>
                </a:lnTo>
                <a:cubicBezTo>
                  <a:pt x="2479196" y="157447"/>
                  <a:pt x="2479196" y="175535"/>
                  <a:pt x="2479196" y="192468"/>
                </a:cubicBezTo>
                <a:lnTo>
                  <a:pt x="2479196" y="221332"/>
                </a:lnTo>
                <a:close/>
                <a:moveTo>
                  <a:pt x="2611584" y="247502"/>
                </a:moveTo>
                <a:cubicBezTo>
                  <a:pt x="2611584" y="259047"/>
                  <a:pt x="2615432" y="262896"/>
                  <a:pt x="2623128" y="262896"/>
                </a:cubicBezTo>
                <a:lnTo>
                  <a:pt x="2638520" y="262896"/>
                </a:lnTo>
                <a:cubicBezTo>
                  <a:pt x="2640835" y="262896"/>
                  <a:pt x="2641216" y="264050"/>
                  <a:pt x="2641216" y="266359"/>
                </a:cubicBezTo>
                <a:lnTo>
                  <a:pt x="2641216" y="273672"/>
                </a:lnTo>
                <a:cubicBezTo>
                  <a:pt x="2641216" y="275980"/>
                  <a:pt x="2640835" y="277135"/>
                  <a:pt x="2639292" y="277135"/>
                </a:cubicBezTo>
                <a:cubicBezTo>
                  <a:pt x="2636977" y="277135"/>
                  <a:pt x="2619661" y="275980"/>
                  <a:pt x="2586181" y="275980"/>
                </a:cubicBezTo>
                <a:cubicBezTo>
                  <a:pt x="2557320" y="275980"/>
                  <a:pt x="2541537" y="277135"/>
                  <a:pt x="2539232" y="277135"/>
                </a:cubicBezTo>
                <a:cubicBezTo>
                  <a:pt x="2537689" y="277135"/>
                  <a:pt x="2536917" y="276365"/>
                  <a:pt x="2536917" y="273287"/>
                </a:cubicBezTo>
                <a:lnTo>
                  <a:pt x="2536917" y="266359"/>
                </a:lnTo>
                <a:cubicBezTo>
                  <a:pt x="2536917" y="263666"/>
                  <a:pt x="2537689" y="262896"/>
                  <a:pt x="2541156" y="262896"/>
                </a:cubicBezTo>
                <a:lnTo>
                  <a:pt x="2551929" y="262896"/>
                </a:lnTo>
                <a:cubicBezTo>
                  <a:pt x="2557701" y="262896"/>
                  <a:pt x="2560777" y="260586"/>
                  <a:pt x="2561549" y="254044"/>
                </a:cubicBezTo>
                <a:cubicBezTo>
                  <a:pt x="2562320" y="243654"/>
                  <a:pt x="2562320" y="230568"/>
                  <a:pt x="2562320" y="211710"/>
                </a:cubicBezTo>
                <a:lnTo>
                  <a:pt x="2562320" y="180538"/>
                </a:lnTo>
                <a:cubicBezTo>
                  <a:pt x="2562320" y="164374"/>
                  <a:pt x="2558472" y="157832"/>
                  <a:pt x="2547309" y="151290"/>
                </a:cubicBezTo>
                <a:lnTo>
                  <a:pt x="2540765" y="147441"/>
                </a:lnTo>
                <a:cubicBezTo>
                  <a:pt x="2538460" y="146286"/>
                  <a:pt x="2537689" y="145516"/>
                  <a:pt x="2537689" y="143977"/>
                </a:cubicBezTo>
                <a:lnTo>
                  <a:pt x="2537689" y="140514"/>
                </a:lnTo>
                <a:cubicBezTo>
                  <a:pt x="2537689" y="138975"/>
                  <a:pt x="2538460" y="138205"/>
                  <a:pt x="2540765" y="137435"/>
                </a:cubicBezTo>
                <a:lnTo>
                  <a:pt x="2593105" y="114729"/>
                </a:lnTo>
                <a:cubicBezTo>
                  <a:pt x="2595420" y="113959"/>
                  <a:pt x="2596953" y="113190"/>
                  <a:pt x="2599268" y="113190"/>
                </a:cubicBezTo>
                <a:cubicBezTo>
                  <a:pt x="2601963" y="113190"/>
                  <a:pt x="2603497" y="115498"/>
                  <a:pt x="2603887" y="117807"/>
                </a:cubicBezTo>
                <a:lnTo>
                  <a:pt x="2607345" y="147056"/>
                </a:lnTo>
                <a:lnTo>
                  <a:pt x="2610041" y="147056"/>
                </a:lnTo>
                <a:cubicBezTo>
                  <a:pt x="2621585" y="122426"/>
                  <a:pt x="2638139" y="111266"/>
                  <a:pt x="2654684" y="111266"/>
                </a:cubicBezTo>
                <a:cubicBezTo>
                  <a:pt x="2665848" y="111266"/>
                  <a:pt x="2674696" y="119732"/>
                  <a:pt x="2674696" y="132817"/>
                </a:cubicBezTo>
                <a:cubicBezTo>
                  <a:pt x="2674696" y="142823"/>
                  <a:pt x="2663152" y="153983"/>
                  <a:pt x="2650836" y="153983"/>
                </a:cubicBezTo>
                <a:cubicBezTo>
                  <a:pt x="2645445" y="153983"/>
                  <a:pt x="2640835" y="152829"/>
                  <a:pt x="2637368" y="150520"/>
                </a:cubicBezTo>
                <a:cubicBezTo>
                  <a:pt x="2634291" y="148596"/>
                  <a:pt x="2630824" y="147826"/>
                  <a:pt x="2628129" y="147826"/>
                </a:cubicBezTo>
                <a:cubicBezTo>
                  <a:pt x="2624281" y="147826"/>
                  <a:pt x="2620823" y="149750"/>
                  <a:pt x="2618508" y="154753"/>
                </a:cubicBezTo>
                <a:cubicBezTo>
                  <a:pt x="2613508" y="164759"/>
                  <a:pt x="2611965" y="172071"/>
                  <a:pt x="2611965" y="176690"/>
                </a:cubicBezTo>
                <a:lnTo>
                  <a:pt x="2611965" y="247502"/>
                </a:lnTo>
                <a:lnTo>
                  <a:pt x="2611584" y="247502"/>
                </a:lnTo>
                <a:close/>
                <a:moveTo>
                  <a:pt x="2825553" y="279829"/>
                </a:moveTo>
                <a:cubicBezTo>
                  <a:pt x="2823248" y="280598"/>
                  <a:pt x="2820553" y="281369"/>
                  <a:pt x="2817476" y="281369"/>
                </a:cubicBezTo>
                <a:cubicBezTo>
                  <a:pt x="2813628" y="281369"/>
                  <a:pt x="2811323" y="279444"/>
                  <a:pt x="2810932" y="276750"/>
                </a:cubicBezTo>
                <a:lnTo>
                  <a:pt x="2808627" y="256353"/>
                </a:lnTo>
                <a:lnTo>
                  <a:pt x="2806313" y="256353"/>
                </a:lnTo>
                <a:cubicBezTo>
                  <a:pt x="2799007" y="269438"/>
                  <a:pt x="2777071" y="280983"/>
                  <a:pt x="2757059" y="280983"/>
                </a:cubicBezTo>
                <a:cubicBezTo>
                  <a:pt x="2742048" y="280983"/>
                  <a:pt x="2730884" y="280983"/>
                  <a:pt x="2717797" y="263666"/>
                </a:cubicBezTo>
                <a:cubicBezTo>
                  <a:pt x="2702024" y="242883"/>
                  <a:pt x="2703557" y="230568"/>
                  <a:pt x="2703557" y="198626"/>
                </a:cubicBezTo>
                <a:lnTo>
                  <a:pt x="2703948" y="182077"/>
                </a:lnTo>
                <a:cubicBezTo>
                  <a:pt x="2703948" y="167838"/>
                  <a:pt x="2703948" y="152829"/>
                  <a:pt x="2703557" y="144747"/>
                </a:cubicBezTo>
                <a:cubicBezTo>
                  <a:pt x="2703176" y="135895"/>
                  <a:pt x="2695480" y="132432"/>
                  <a:pt x="2690860" y="131662"/>
                </a:cubicBezTo>
                <a:cubicBezTo>
                  <a:pt x="2684317" y="130508"/>
                  <a:pt x="2682783" y="130893"/>
                  <a:pt x="2682783" y="128969"/>
                </a:cubicBezTo>
                <a:lnTo>
                  <a:pt x="2682783" y="121656"/>
                </a:lnTo>
                <a:cubicBezTo>
                  <a:pt x="2682783" y="119347"/>
                  <a:pt x="2683545" y="118577"/>
                  <a:pt x="2687012" y="118577"/>
                </a:cubicBezTo>
                <a:lnTo>
                  <a:pt x="2741657" y="118577"/>
                </a:lnTo>
                <a:cubicBezTo>
                  <a:pt x="2745896" y="118577"/>
                  <a:pt x="2748591" y="117422"/>
                  <a:pt x="2750896" y="117422"/>
                </a:cubicBezTo>
                <a:cubicBezTo>
                  <a:pt x="2753592" y="117422"/>
                  <a:pt x="2755516" y="119347"/>
                  <a:pt x="2755135" y="122041"/>
                </a:cubicBezTo>
                <a:cubicBezTo>
                  <a:pt x="2754744" y="125504"/>
                  <a:pt x="2753592" y="142823"/>
                  <a:pt x="2753592" y="172456"/>
                </a:cubicBezTo>
                <a:lnTo>
                  <a:pt x="2753592" y="192853"/>
                </a:lnTo>
                <a:cubicBezTo>
                  <a:pt x="2753592" y="207862"/>
                  <a:pt x="2751277" y="235956"/>
                  <a:pt x="2760517" y="250580"/>
                </a:cubicBezTo>
                <a:cubicBezTo>
                  <a:pt x="2766289" y="259047"/>
                  <a:pt x="2772061" y="258277"/>
                  <a:pt x="2778995" y="258277"/>
                </a:cubicBezTo>
                <a:cubicBezTo>
                  <a:pt x="2785529" y="258277"/>
                  <a:pt x="2793616" y="253275"/>
                  <a:pt x="2799388" y="246347"/>
                </a:cubicBezTo>
                <a:cubicBezTo>
                  <a:pt x="2802855" y="242498"/>
                  <a:pt x="2805541" y="236726"/>
                  <a:pt x="2805541" y="232877"/>
                </a:cubicBezTo>
                <a:lnTo>
                  <a:pt x="2805160" y="144747"/>
                </a:lnTo>
                <a:cubicBezTo>
                  <a:pt x="2805160" y="135510"/>
                  <a:pt x="2798236" y="132432"/>
                  <a:pt x="2788996" y="131662"/>
                </a:cubicBezTo>
                <a:cubicBezTo>
                  <a:pt x="2784377" y="131278"/>
                  <a:pt x="2782453" y="130893"/>
                  <a:pt x="2782453" y="128969"/>
                </a:cubicBezTo>
                <a:lnTo>
                  <a:pt x="2782453" y="122041"/>
                </a:lnTo>
                <a:cubicBezTo>
                  <a:pt x="2782453" y="118962"/>
                  <a:pt x="2783224" y="118577"/>
                  <a:pt x="2787072" y="118577"/>
                </a:cubicBezTo>
                <a:lnTo>
                  <a:pt x="2842879" y="118577"/>
                </a:lnTo>
                <a:cubicBezTo>
                  <a:pt x="2847880" y="118577"/>
                  <a:pt x="2850956" y="117422"/>
                  <a:pt x="2853652" y="117422"/>
                </a:cubicBezTo>
                <a:cubicBezTo>
                  <a:pt x="2855957" y="117422"/>
                  <a:pt x="2857500" y="119347"/>
                  <a:pt x="2857119" y="121272"/>
                </a:cubicBezTo>
                <a:cubicBezTo>
                  <a:pt x="2856729" y="124735"/>
                  <a:pt x="2854805" y="134356"/>
                  <a:pt x="2854805" y="172071"/>
                </a:cubicBezTo>
                <a:lnTo>
                  <a:pt x="2854805" y="200165"/>
                </a:lnTo>
                <a:cubicBezTo>
                  <a:pt x="2854805" y="218253"/>
                  <a:pt x="2854805" y="236341"/>
                  <a:pt x="2855576" y="243269"/>
                </a:cubicBezTo>
                <a:cubicBezTo>
                  <a:pt x="2856729" y="254814"/>
                  <a:pt x="2860967" y="256353"/>
                  <a:pt x="2862501" y="256353"/>
                </a:cubicBezTo>
                <a:cubicBezTo>
                  <a:pt x="2864815" y="256353"/>
                  <a:pt x="2870197" y="256353"/>
                  <a:pt x="2874817" y="255199"/>
                </a:cubicBezTo>
                <a:cubicBezTo>
                  <a:pt x="2877893" y="254429"/>
                  <a:pt x="2879055" y="255199"/>
                  <a:pt x="2879436" y="256738"/>
                </a:cubicBezTo>
                <a:lnTo>
                  <a:pt x="2880589" y="263666"/>
                </a:lnTo>
                <a:cubicBezTo>
                  <a:pt x="2880979" y="265590"/>
                  <a:pt x="2880208" y="266359"/>
                  <a:pt x="2878665" y="266744"/>
                </a:cubicBezTo>
                <a:lnTo>
                  <a:pt x="2825553" y="279829"/>
                </a:lnTo>
                <a:lnTo>
                  <a:pt x="2825553" y="279829"/>
                </a:lnTo>
                <a:close/>
                <a:moveTo>
                  <a:pt x="2905992" y="175919"/>
                </a:moveTo>
                <a:cubicBezTo>
                  <a:pt x="2905992" y="163220"/>
                  <a:pt x="2904839" y="157447"/>
                  <a:pt x="2893676" y="151674"/>
                </a:cubicBezTo>
                <a:lnTo>
                  <a:pt x="2885208" y="147056"/>
                </a:lnTo>
                <a:cubicBezTo>
                  <a:pt x="2883284" y="145901"/>
                  <a:pt x="2882513" y="145132"/>
                  <a:pt x="2882513" y="143592"/>
                </a:cubicBezTo>
                <a:lnTo>
                  <a:pt x="2882513" y="138590"/>
                </a:lnTo>
                <a:cubicBezTo>
                  <a:pt x="2882513" y="137435"/>
                  <a:pt x="2883284" y="136665"/>
                  <a:pt x="2885208" y="135895"/>
                </a:cubicBezTo>
                <a:lnTo>
                  <a:pt x="2933700" y="116653"/>
                </a:lnTo>
                <a:cubicBezTo>
                  <a:pt x="2938701" y="114729"/>
                  <a:pt x="2941777" y="112805"/>
                  <a:pt x="2945244" y="112805"/>
                </a:cubicBezTo>
                <a:cubicBezTo>
                  <a:pt x="2947559" y="112805"/>
                  <a:pt x="2948711" y="115498"/>
                  <a:pt x="2949864" y="120502"/>
                </a:cubicBezTo>
                <a:lnTo>
                  <a:pt x="2952560" y="134356"/>
                </a:lnTo>
                <a:lnTo>
                  <a:pt x="2954093" y="134356"/>
                </a:lnTo>
                <a:cubicBezTo>
                  <a:pt x="2963332" y="122811"/>
                  <a:pt x="2982963" y="112805"/>
                  <a:pt x="3001823" y="112805"/>
                </a:cubicBezTo>
                <a:cubicBezTo>
                  <a:pt x="3022216" y="112805"/>
                  <a:pt x="3036065" y="118577"/>
                  <a:pt x="3048381" y="132047"/>
                </a:cubicBezTo>
                <a:cubicBezTo>
                  <a:pt x="3064164" y="149366"/>
                  <a:pt x="3069165" y="162450"/>
                  <a:pt x="3068784" y="184001"/>
                </a:cubicBezTo>
                <a:cubicBezTo>
                  <a:pt x="3069165" y="240959"/>
                  <a:pt x="3031065" y="280598"/>
                  <a:pt x="2983344" y="280598"/>
                </a:cubicBezTo>
                <a:cubicBezTo>
                  <a:pt x="2976801" y="280598"/>
                  <a:pt x="2964876" y="280213"/>
                  <a:pt x="2955255" y="274441"/>
                </a:cubicBezTo>
                <a:lnTo>
                  <a:pt x="2955636" y="331784"/>
                </a:lnTo>
                <a:cubicBezTo>
                  <a:pt x="2956017" y="362186"/>
                  <a:pt x="2959865" y="364110"/>
                  <a:pt x="2968724" y="364110"/>
                </a:cubicBezTo>
                <a:lnTo>
                  <a:pt x="2977953" y="364110"/>
                </a:lnTo>
                <a:cubicBezTo>
                  <a:pt x="2981039" y="364110"/>
                  <a:pt x="2981420" y="365650"/>
                  <a:pt x="2981420" y="367960"/>
                </a:cubicBezTo>
                <a:lnTo>
                  <a:pt x="2981420" y="374886"/>
                </a:lnTo>
                <a:cubicBezTo>
                  <a:pt x="2981420" y="377196"/>
                  <a:pt x="2980649" y="378350"/>
                  <a:pt x="2977953" y="378350"/>
                </a:cubicBezTo>
                <a:cubicBezTo>
                  <a:pt x="2976029" y="378350"/>
                  <a:pt x="2963332" y="377196"/>
                  <a:pt x="2929852" y="377196"/>
                </a:cubicBezTo>
                <a:cubicBezTo>
                  <a:pt x="2902525" y="377196"/>
                  <a:pt x="2889447" y="378350"/>
                  <a:pt x="2886361" y="378350"/>
                </a:cubicBezTo>
                <a:cubicBezTo>
                  <a:pt x="2883665" y="378350"/>
                  <a:pt x="2882903" y="377196"/>
                  <a:pt x="2882903" y="374501"/>
                </a:cubicBezTo>
                <a:lnTo>
                  <a:pt x="2882903" y="367190"/>
                </a:lnTo>
                <a:cubicBezTo>
                  <a:pt x="2882903" y="365265"/>
                  <a:pt x="2883665" y="364110"/>
                  <a:pt x="2887523" y="364110"/>
                </a:cubicBezTo>
                <a:lnTo>
                  <a:pt x="2895981" y="364110"/>
                </a:lnTo>
                <a:cubicBezTo>
                  <a:pt x="2902525" y="364110"/>
                  <a:pt x="2904839" y="360262"/>
                  <a:pt x="2905611" y="354489"/>
                </a:cubicBezTo>
                <a:cubicBezTo>
                  <a:pt x="2906373" y="346407"/>
                  <a:pt x="2906373" y="334862"/>
                  <a:pt x="2906373" y="313696"/>
                </a:cubicBezTo>
                <a:lnTo>
                  <a:pt x="2905992" y="175919"/>
                </a:lnTo>
                <a:lnTo>
                  <a:pt x="2905992" y="175919"/>
                </a:lnTo>
                <a:close/>
                <a:moveTo>
                  <a:pt x="2954865" y="236341"/>
                </a:moveTo>
                <a:cubicBezTo>
                  <a:pt x="2954865" y="242498"/>
                  <a:pt x="2957560" y="252119"/>
                  <a:pt x="2964876" y="257892"/>
                </a:cubicBezTo>
                <a:cubicBezTo>
                  <a:pt x="2970648" y="262511"/>
                  <a:pt x="2978344" y="266359"/>
                  <a:pt x="2987192" y="266359"/>
                </a:cubicBezTo>
                <a:cubicBezTo>
                  <a:pt x="3002976" y="266359"/>
                  <a:pt x="3016825" y="252505"/>
                  <a:pt x="3016825" y="216714"/>
                </a:cubicBezTo>
                <a:cubicBezTo>
                  <a:pt x="3016825" y="193238"/>
                  <a:pt x="3014129" y="139360"/>
                  <a:pt x="2977953" y="139360"/>
                </a:cubicBezTo>
                <a:cubicBezTo>
                  <a:pt x="2971029" y="139360"/>
                  <a:pt x="2960637" y="142438"/>
                  <a:pt x="2954865" y="149366"/>
                </a:cubicBezTo>
                <a:lnTo>
                  <a:pt x="2954865" y="236341"/>
                </a:lnTo>
                <a:close/>
              </a:path>
            </a:pathLst>
          </a:custGeom>
          <a:solidFill>
            <a:srgbClr val="213C5B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pic>
        <p:nvPicPr>
          <p:cNvPr id="40" name="Picture 39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6DCC3C97-0E1F-6C59-E787-4B5297972DDF}"/>
              </a:ext>
            </a:extLst>
          </p:cNvPr>
          <p:cNvPicPr>
            <a:picLocks noChangeAspect="1"/>
          </p:cNvPicPr>
          <p:nvPr/>
        </p:nvPicPr>
        <p:blipFill rotWithShape="1">
          <a:blip r:embed="rId20"/>
          <a:srcRect r="8656"/>
          <a:stretch/>
        </p:blipFill>
        <p:spPr>
          <a:xfrm>
            <a:off x="8083442" y="2093773"/>
            <a:ext cx="742331" cy="157187"/>
          </a:xfrm>
          <a:prstGeom prst="rect">
            <a:avLst/>
          </a:prstGeom>
        </p:spPr>
      </p:pic>
      <p:pic>
        <p:nvPicPr>
          <p:cNvPr id="47" name="Picture 46" descr="A picture containing text, tableware, plate, dishware&#10;&#10;Description automatically generated">
            <a:extLst>
              <a:ext uri="{FF2B5EF4-FFF2-40B4-BE49-F238E27FC236}">
                <a16:creationId xmlns:a16="http://schemas.microsoft.com/office/drawing/2014/main" id="{008DC67B-E053-E892-A661-AAD360990DFC}"/>
              </a:ext>
            </a:extLst>
          </p:cNvPr>
          <p:cNvPicPr>
            <a:picLocks noChangeAspect="1"/>
          </p:cNvPicPr>
          <p:nvPr/>
        </p:nvPicPr>
        <p:blipFill>
          <a:blip r:embed="rId21"/>
          <a:stretch>
            <a:fillRect/>
          </a:stretch>
        </p:blipFill>
        <p:spPr>
          <a:xfrm>
            <a:off x="8083442" y="1740180"/>
            <a:ext cx="629705" cy="1692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871474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1A6A978A-E65B-DC67-6740-5ABB58A2C05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988957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5" imgH="426" progId="TCLayout.ActiveDocument.1">
                  <p:embed/>
                </p:oleObj>
              </mc:Choice>
              <mc:Fallback>
                <p:oleObj name="think-cell Folie" r:id="rId4" imgW="425" imgH="42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1A6A978A-E65B-DC67-6740-5ABB58A2C05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6BBEB53-973A-69D6-041B-57D44C4055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GB" noProof="0" dirty="0"/>
              <a:t>Munich Re Group – Company Presentation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FDFE70A-A851-830B-B70B-96D334E362F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950CC6-EB0A-454E-89A4-14C6D99557B6}" type="datetime4">
              <a:rPr lang="en-GB" noProof="0" smtClean="0"/>
              <a:pPr/>
              <a:t>14 March 2024</a:t>
            </a:fld>
            <a:endParaRPr lang="en-GB" noProof="0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22DF4CD-80EB-9199-B899-9FA2E996762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94909C6-CC71-4962-A18E-AF0515723D95}" type="slidenum">
              <a:rPr lang="en-GB" noProof="0" smtClean="0"/>
              <a:pPr/>
              <a:t>4</a:t>
            </a:fld>
            <a:endParaRPr lang="en-GB" noProof="0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108A6CCA-BB9F-76AC-65A3-74B18AD4E3B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>
                <a:solidFill>
                  <a:schemeClr val="bg2"/>
                </a:solidFill>
              </a:rPr>
              <a:t>Munich Re Group</a:t>
            </a:r>
            <a:br>
              <a:rPr lang="en-GB" dirty="0"/>
            </a:br>
            <a:r>
              <a:rPr lang="en-GB" sz="1400" dirty="0">
                <a:solidFill>
                  <a:schemeClr val="tx2"/>
                </a:solidFill>
              </a:rPr>
              <a:t>Convincing through strong financials and stable partnership</a:t>
            </a:r>
            <a:endParaRPr lang="en-GB" sz="1600" dirty="0">
              <a:solidFill>
                <a:schemeClr val="tx2"/>
              </a:solidFill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0882EEFA-CBE1-D518-78EC-B82EA67A9BD1}"/>
              </a:ext>
            </a:extLst>
          </p:cNvPr>
          <p:cNvSpPr txBox="1"/>
          <p:nvPr/>
        </p:nvSpPr>
        <p:spPr>
          <a:xfrm>
            <a:off x="251999" y="1115999"/>
            <a:ext cx="2876392" cy="984885"/>
          </a:xfrm>
          <a:prstGeom prst="rect">
            <a:avLst/>
          </a:prstGeom>
          <a:noFill/>
          <a:effectLst/>
        </p:spPr>
        <p:txBody>
          <a:bodyPr wrap="square" lIns="0" tIns="0" rIns="0" bIns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0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rPr>
              <a:t>Munich Re Group commands</a:t>
            </a:r>
            <a:br>
              <a:rPr kumimoji="0" lang="en-GB" sz="1600" b="0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rPr>
            </a:br>
            <a:r>
              <a:rPr kumimoji="0" lang="en-GB" sz="1600" b="0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rPr>
              <a:t>the trust of financial markets,</a:t>
            </a:r>
            <a:br>
              <a:rPr kumimoji="0" lang="en-GB" sz="1600" b="0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rPr>
            </a:br>
            <a:r>
              <a:rPr kumimoji="0" lang="en-GB" sz="1600" b="0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rPr>
              <a:t>as evidenced by its excellent</a:t>
            </a:r>
            <a:br>
              <a:rPr kumimoji="0" lang="en-GB" sz="1600" b="0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rPr>
            </a:br>
            <a:r>
              <a:rPr kumimoji="0" lang="en-GB" sz="1600" b="0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rPr>
              <a:t>financial ratings. 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159FB1E5-5D5C-E325-8C19-A88A1977FAB2}"/>
              </a:ext>
            </a:extLst>
          </p:cNvPr>
          <p:cNvSpPr txBox="1"/>
          <p:nvPr/>
        </p:nvSpPr>
        <p:spPr>
          <a:xfrm>
            <a:off x="251999" y="2429132"/>
            <a:ext cx="1519647" cy="276999"/>
          </a:xfrm>
          <a:prstGeom prst="rect">
            <a:avLst/>
          </a:prstGeom>
          <a:noFill/>
          <a:effectLst/>
        </p:spPr>
        <p:txBody>
          <a:bodyPr wrap="none" lIns="0" tIns="0" rIns="0" bIns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</a:rPr>
              <a:t>A+ </a:t>
            </a:r>
            <a:r>
              <a: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</a:rPr>
              <a:t>(A.M. Best)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5F2F337B-116B-5967-0808-C987047827D5}"/>
              </a:ext>
            </a:extLst>
          </p:cNvPr>
          <p:cNvSpPr txBox="1"/>
          <p:nvPr/>
        </p:nvSpPr>
        <p:spPr>
          <a:xfrm>
            <a:off x="251999" y="3028477"/>
            <a:ext cx="1051570" cy="276999"/>
          </a:xfrm>
          <a:prstGeom prst="rect">
            <a:avLst/>
          </a:prstGeom>
          <a:noFill/>
          <a:effectLst/>
        </p:spPr>
        <p:txBody>
          <a:bodyPr wrap="none" lIns="0" tIns="0" rIns="0" bIns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</a:rPr>
              <a:t>AA </a:t>
            </a:r>
            <a:r>
              <a: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</a:rPr>
              <a:t>(Fitch)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A2159433-9500-AF31-5EF8-E687D21106F6}"/>
              </a:ext>
            </a:extLst>
          </p:cNvPr>
          <p:cNvSpPr txBox="1"/>
          <p:nvPr/>
        </p:nvSpPr>
        <p:spPr>
          <a:xfrm>
            <a:off x="251999" y="4227168"/>
            <a:ext cx="2500685" cy="276999"/>
          </a:xfrm>
          <a:prstGeom prst="rect">
            <a:avLst/>
          </a:prstGeom>
          <a:noFill/>
          <a:effectLst/>
        </p:spPr>
        <p:txBody>
          <a:bodyPr wrap="none" lIns="0" tIns="0" rIns="0" bIns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</a:rPr>
              <a:t>AA- </a:t>
            </a:r>
            <a:r>
              <a: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</a:rPr>
              <a:t>(Standard &amp; Poor’s)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EADE24D4-C49F-E57C-72D7-638BF58CA4F3}"/>
              </a:ext>
            </a:extLst>
          </p:cNvPr>
          <p:cNvSpPr txBox="1"/>
          <p:nvPr/>
        </p:nvSpPr>
        <p:spPr>
          <a:xfrm>
            <a:off x="251999" y="3627821"/>
            <a:ext cx="1500411" cy="276999"/>
          </a:xfrm>
          <a:prstGeom prst="rect">
            <a:avLst/>
          </a:prstGeom>
          <a:noFill/>
          <a:effectLst/>
        </p:spPr>
        <p:txBody>
          <a:bodyPr wrap="none" lIns="0" tIns="0" rIns="0" bIns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</a:rPr>
              <a:t>Aa3 </a:t>
            </a:r>
            <a:r>
              <a: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</a:rPr>
              <a:t>(Moody’s)</a:t>
            </a: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E04BC9B5-0926-F62D-4FBB-B5F41B8BA6E8}"/>
              </a:ext>
            </a:extLst>
          </p:cNvPr>
          <p:cNvGrpSpPr/>
          <p:nvPr/>
        </p:nvGrpSpPr>
        <p:grpSpPr>
          <a:xfrm>
            <a:off x="0" y="2876572"/>
            <a:ext cx="3202867" cy="1198688"/>
            <a:chOff x="306000" y="2892354"/>
            <a:chExt cx="2696400" cy="1123510"/>
          </a:xfrm>
        </p:grpSpPr>
        <p:cxnSp>
          <p:nvCxnSpPr>
            <p:cNvPr id="41" name="Straight Connector 40">
              <a:extLst>
                <a:ext uri="{FF2B5EF4-FFF2-40B4-BE49-F238E27FC236}">
                  <a16:creationId xmlns:a16="http://schemas.microsoft.com/office/drawing/2014/main" id="{26294768-9F24-A9FA-7E84-1A1BBCB6263D}"/>
                </a:ext>
              </a:extLst>
            </p:cNvPr>
            <p:cNvCxnSpPr>
              <a:cxnSpLocks/>
            </p:cNvCxnSpPr>
            <p:nvPr/>
          </p:nvCxnSpPr>
          <p:spPr>
            <a:xfrm>
              <a:off x="306000" y="2892354"/>
              <a:ext cx="2696400" cy="0"/>
            </a:xfrm>
            <a:prstGeom prst="line">
              <a:avLst/>
            </a:prstGeom>
            <a:noFill/>
            <a:ln w="6350" cap="flat" cmpd="sng" algn="ctr">
              <a:solidFill>
                <a:srgbClr val="4D4E53">
                  <a:lumMod val="40000"/>
                  <a:lumOff val="60000"/>
                </a:srgbClr>
              </a:solidFill>
              <a:prstDash val="solid"/>
              <a:miter lim="800000"/>
            </a:ln>
            <a:effectLst/>
          </p:spPr>
        </p:cxnSp>
        <p:cxnSp>
          <p:nvCxnSpPr>
            <p:cNvPr id="42" name="Straight Connector 41">
              <a:extLst>
                <a:ext uri="{FF2B5EF4-FFF2-40B4-BE49-F238E27FC236}">
                  <a16:creationId xmlns:a16="http://schemas.microsoft.com/office/drawing/2014/main" id="{ADF3C18E-A34A-896C-7B96-F9B05D15CDAF}"/>
                </a:ext>
              </a:extLst>
            </p:cNvPr>
            <p:cNvCxnSpPr>
              <a:cxnSpLocks/>
            </p:cNvCxnSpPr>
            <p:nvPr/>
          </p:nvCxnSpPr>
          <p:spPr>
            <a:xfrm>
              <a:off x="306000" y="3454109"/>
              <a:ext cx="2696400" cy="0"/>
            </a:xfrm>
            <a:prstGeom prst="line">
              <a:avLst/>
            </a:prstGeom>
            <a:noFill/>
            <a:ln w="6350" cap="flat" cmpd="sng" algn="ctr">
              <a:solidFill>
                <a:srgbClr val="4D4E53">
                  <a:lumMod val="40000"/>
                  <a:lumOff val="60000"/>
                </a:srgbClr>
              </a:solidFill>
              <a:prstDash val="solid"/>
              <a:miter lim="800000"/>
            </a:ln>
            <a:effectLst/>
          </p:spPr>
        </p:cxnSp>
        <p:cxnSp>
          <p:nvCxnSpPr>
            <p:cNvPr id="43" name="Straight Connector 42">
              <a:extLst>
                <a:ext uri="{FF2B5EF4-FFF2-40B4-BE49-F238E27FC236}">
                  <a16:creationId xmlns:a16="http://schemas.microsoft.com/office/drawing/2014/main" id="{C99D668E-2AFA-1E05-64DC-755D6FA081EE}"/>
                </a:ext>
              </a:extLst>
            </p:cNvPr>
            <p:cNvCxnSpPr>
              <a:cxnSpLocks/>
            </p:cNvCxnSpPr>
            <p:nvPr/>
          </p:nvCxnSpPr>
          <p:spPr>
            <a:xfrm>
              <a:off x="306000" y="4015864"/>
              <a:ext cx="2696400" cy="0"/>
            </a:xfrm>
            <a:prstGeom prst="line">
              <a:avLst/>
            </a:prstGeom>
            <a:noFill/>
            <a:ln w="6350" cap="flat" cmpd="sng" algn="ctr">
              <a:solidFill>
                <a:srgbClr val="4D4E53">
                  <a:lumMod val="40000"/>
                  <a:lumOff val="60000"/>
                </a:srgbClr>
              </a:solidFill>
              <a:prstDash val="solid"/>
              <a:miter lim="800000"/>
            </a:ln>
            <a:effectLst/>
          </p:spPr>
        </p:cxnSp>
      </p:grpSp>
      <p:sp>
        <p:nvSpPr>
          <p:cNvPr id="54" name="Freeform: Shape 53">
            <a:extLst>
              <a:ext uri="{FF2B5EF4-FFF2-40B4-BE49-F238E27FC236}">
                <a16:creationId xmlns:a16="http://schemas.microsoft.com/office/drawing/2014/main" id="{613B97BB-E553-27B2-6E2C-69772E46AD59}"/>
              </a:ext>
            </a:extLst>
          </p:cNvPr>
          <p:cNvSpPr/>
          <p:nvPr/>
        </p:nvSpPr>
        <p:spPr>
          <a:xfrm>
            <a:off x="3414242" y="1115999"/>
            <a:ext cx="5729758" cy="1798636"/>
          </a:xfrm>
          <a:custGeom>
            <a:avLst/>
            <a:gdLst>
              <a:gd name="connsiteX0" fmla="*/ 0 w 5729758"/>
              <a:gd name="connsiteY0" fmla="*/ 0 h 1798636"/>
              <a:gd name="connsiteX1" fmla="*/ 5214876 w 5729758"/>
              <a:gd name="connsiteY1" fmla="*/ 0 h 1798636"/>
              <a:gd name="connsiteX2" fmla="*/ 5723708 w 5729758"/>
              <a:gd name="connsiteY2" fmla="*/ 0 h 1798636"/>
              <a:gd name="connsiteX3" fmla="*/ 5729758 w 5729758"/>
              <a:gd name="connsiteY3" fmla="*/ 0 h 1798636"/>
              <a:gd name="connsiteX4" fmla="*/ 5729758 w 5729758"/>
              <a:gd name="connsiteY4" fmla="*/ 1797537 h 1798636"/>
              <a:gd name="connsiteX5" fmla="*/ 5723708 w 5729758"/>
              <a:gd name="connsiteY5" fmla="*/ 1797537 h 1798636"/>
              <a:gd name="connsiteX6" fmla="*/ 5723708 w 5729758"/>
              <a:gd name="connsiteY6" fmla="*/ 1798636 h 1798636"/>
              <a:gd name="connsiteX7" fmla="*/ 446573 w 5729758"/>
              <a:gd name="connsiteY7" fmla="*/ 1798636 h 17986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729758" h="1798636">
                <a:moveTo>
                  <a:pt x="0" y="0"/>
                </a:moveTo>
                <a:lnTo>
                  <a:pt x="5214876" y="0"/>
                </a:lnTo>
                <a:lnTo>
                  <a:pt x="5723708" y="0"/>
                </a:lnTo>
                <a:lnTo>
                  <a:pt x="5729758" y="0"/>
                </a:lnTo>
                <a:lnTo>
                  <a:pt x="5729758" y="1797537"/>
                </a:lnTo>
                <a:lnTo>
                  <a:pt x="5723708" y="1797537"/>
                </a:lnTo>
                <a:lnTo>
                  <a:pt x="5723708" y="1798636"/>
                </a:lnTo>
                <a:lnTo>
                  <a:pt x="446573" y="1798636"/>
                </a:lnTo>
                <a:close/>
              </a:path>
            </a:pathLst>
          </a:custGeom>
          <a:solidFill>
            <a:schemeClr val="bg2">
              <a:alpha val="10000"/>
            </a:schemeClr>
          </a:solidFill>
          <a:ln w="9525" cap="flat" cmpd="sng" algn="ctr">
            <a:noFill/>
            <a:prstDash val="solid"/>
            <a:miter lim="800000"/>
          </a:ln>
          <a:effectLst/>
        </p:spPr>
        <p:txBody>
          <a:bodyPr wrap="square" lIns="324000" tIns="144000" rIns="306000" bIns="144000" rtlCol="0" anchor="t" anchorCtr="0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 dirty="0">
                <a:ln>
                  <a:noFill/>
                </a:ln>
                <a:solidFill>
                  <a:schemeClr val="bg2">
                    <a:lumMod val="50000"/>
                  </a:schemeClr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t>… offers financial stability and reliability, even in the event of exceptionally high losses like the 2017 Atlantic hurricanes or</a:t>
            </a:r>
            <a:br>
              <a:rPr kumimoji="0" lang="en-GB" sz="1400" b="0" i="0" u="none" strike="noStrike" kern="0" cap="none" spc="0" normalizeH="0" baseline="0" noProof="0" dirty="0">
                <a:ln>
                  <a:noFill/>
                </a:ln>
                <a:solidFill>
                  <a:schemeClr val="bg2">
                    <a:lumMod val="50000"/>
                  </a:schemeClr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</a:br>
            <a:r>
              <a:rPr kumimoji="0" lang="en-GB" sz="1400" b="0" i="0" u="none" strike="noStrike" kern="0" cap="none" spc="0" normalizeH="0" baseline="0" noProof="0" dirty="0">
                <a:ln>
                  <a:noFill/>
                </a:ln>
                <a:solidFill>
                  <a:schemeClr val="bg2">
                    <a:lumMod val="50000"/>
                  </a:schemeClr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t>the 2019 Pacific typhoons. </a:t>
            </a:r>
          </a:p>
        </p:txBody>
      </p:sp>
      <p:sp>
        <p:nvSpPr>
          <p:cNvPr id="57" name="Freeform: Shape 56">
            <a:extLst>
              <a:ext uri="{FF2B5EF4-FFF2-40B4-BE49-F238E27FC236}">
                <a16:creationId xmlns:a16="http://schemas.microsoft.com/office/drawing/2014/main" id="{71FA12AC-68D9-21AC-9F3B-BD6B3AC2F456}"/>
              </a:ext>
            </a:extLst>
          </p:cNvPr>
          <p:cNvSpPr/>
          <p:nvPr/>
        </p:nvSpPr>
        <p:spPr>
          <a:xfrm flipH="1">
            <a:off x="3220007" y="3061363"/>
            <a:ext cx="5923993" cy="1798636"/>
          </a:xfrm>
          <a:custGeom>
            <a:avLst/>
            <a:gdLst>
              <a:gd name="connsiteX0" fmla="*/ 5283185 w 5923993"/>
              <a:gd name="connsiteY0" fmla="*/ 0 h 1798636"/>
              <a:gd name="connsiteX1" fmla="*/ 6050 w 5923993"/>
              <a:gd name="connsiteY1" fmla="*/ 0 h 1798636"/>
              <a:gd name="connsiteX2" fmla="*/ 6050 w 5923993"/>
              <a:gd name="connsiteY2" fmla="*/ 1099 h 1798636"/>
              <a:gd name="connsiteX3" fmla="*/ 0 w 5923993"/>
              <a:gd name="connsiteY3" fmla="*/ 1099 h 1798636"/>
              <a:gd name="connsiteX4" fmla="*/ 0 w 5923993"/>
              <a:gd name="connsiteY4" fmla="*/ 1798636 h 1798636"/>
              <a:gd name="connsiteX5" fmla="*/ 6050 w 5923993"/>
              <a:gd name="connsiteY5" fmla="*/ 1798636 h 1798636"/>
              <a:gd name="connsiteX6" fmla="*/ 514883 w 5923993"/>
              <a:gd name="connsiteY6" fmla="*/ 1798636 h 1798636"/>
              <a:gd name="connsiteX7" fmla="*/ 5923993 w 5923993"/>
              <a:gd name="connsiteY7" fmla="*/ 1798636 h 1798636"/>
              <a:gd name="connsiteX8" fmla="*/ 5923993 w 5923993"/>
              <a:gd name="connsiteY8" fmla="*/ 1798632 h 1798636"/>
              <a:gd name="connsiteX9" fmla="*/ 5729759 w 5923993"/>
              <a:gd name="connsiteY9" fmla="*/ 1798632 h 17986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5923993" h="1798636">
                <a:moveTo>
                  <a:pt x="5283185" y="0"/>
                </a:moveTo>
                <a:lnTo>
                  <a:pt x="6050" y="0"/>
                </a:lnTo>
                <a:lnTo>
                  <a:pt x="6050" y="1099"/>
                </a:lnTo>
                <a:lnTo>
                  <a:pt x="0" y="1099"/>
                </a:lnTo>
                <a:lnTo>
                  <a:pt x="0" y="1798636"/>
                </a:lnTo>
                <a:lnTo>
                  <a:pt x="6050" y="1798636"/>
                </a:lnTo>
                <a:lnTo>
                  <a:pt x="514883" y="1798636"/>
                </a:lnTo>
                <a:lnTo>
                  <a:pt x="5923993" y="1798636"/>
                </a:lnTo>
                <a:lnTo>
                  <a:pt x="5923993" y="1798632"/>
                </a:lnTo>
                <a:lnTo>
                  <a:pt x="5729759" y="1798632"/>
                </a:lnTo>
                <a:close/>
              </a:path>
            </a:pathLst>
          </a:custGeom>
          <a:solidFill>
            <a:schemeClr val="bg2">
              <a:alpha val="10000"/>
            </a:schemeClr>
          </a:solidFill>
          <a:ln w="9525" cap="flat" cmpd="sng" algn="ctr">
            <a:noFill/>
            <a:prstDash val="solid"/>
            <a:miter lim="800000"/>
          </a:ln>
          <a:effectLst/>
        </p:spPr>
        <p:txBody>
          <a:bodyPr wrap="square" lIns="684000" tIns="144000" rIns="306000" bIns="144000" rtlCol="0" anchor="t" anchorCtr="0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 dirty="0">
                <a:ln>
                  <a:noFill/>
                </a:ln>
                <a:solidFill>
                  <a:schemeClr val="bg2">
                    <a:lumMod val="50000"/>
                  </a:schemeClr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t>… is one of the world’s most sought-after risk partner for business, institutions and private individuals because of its close proximity to clients’ needs and reliable partnership. </a:t>
            </a:r>
          </a:p>
        </p:txBody>
      </p:sp>
      <p:sp>
        <p:nvSpPr>
          <p:cNvPr id="21" name="Freeform: Shape 20">
            <a:extLst>
              <a:ext uri="{FF2B5EF4-FFF2-40B4-BE49-F238E27FC236}">
                <a16:creationId xmlns:a16="http://schemas.microsoft.com/office/drawing/2014/main" id="{BE6C9F63-1D16-F552-4C03-4EDF19331668}"/>
              </a:ext>
            </a:extLst>
          </p:cNvPr>
          <p:cNvSpPr/>
          <p:nvPr/>
        </p:nvSpPr>
        <p:spPr>
          <a:xfrm>
            <a:off x="3414241" y="1115999"/>
            <a:ext cx="446573" cy="1798636"/>
          </a:xfrm>
          <a:custGeom>
            <a:avLst/>
            <a:gdLst>
              <a:gd name="connsiteX0" fmla="*/ 0 w 5847812"/>
              <a:gd name="connsiteY0" fmla="*/ 0 h 1685830"/>
              <a:gd name="connsiteX1" fmla="*/ 4887812 w 5847812"/>
              <a:gd name="connsiteY1" fmla="*/ 0 h 1685830"/>
              <a:gd name="connsiteX2" fmla="*/ 5364732 w 5847812"/>
              <a:gd name="connsiteY2" fmla="*/ 0 h 1685830"/>
              <a:gd name="connsiteX3" fmla="*/ 5847812 w 5847812"/>
              <a:gd name="connsiteY3" fmla="*/ 0 h 1685830"/>
              <a:gd name="connsiteX4" fmla="*/ 5847812 w 5847812"/>
              <a:gd name="connsiteY4" fmla="*/ 1684800 h 1685830"/>
              <a:gd name="connsiteX5" fmla="*/ 5364732 w 5847812"/>
              <a:gd name="connsiteY5" fmla="*/ 1684800 h 1685830"/>
              <a:gd name="connsiteX6" fmla="*/ 5364732 w 5847812"/>
              <a:gd name="connsiteY6" fmla="*/ 1685830 h 1685830"/>
              <a:gd name="connsiteX7" fmla="*/ 418565 w 5847812"/>
              <a:gd name="connsiteY7" fmla="*/ 1685830 h 1685830"/>
              <a:gd name="connsiteX0" fmla="*/ 5847812 w 5939252"/>
              <a:gd name="connsiteY0" fmla="*/ 1684800 h 1776240"/>
              <a:gd name="connsiteX1" fmla="*/ 5364732 w 5939252"/>
              <a:gd name="connsiteY1" fmla="*/ 1684800 h 1776240"/>
              <a:gd name="connsiteX2" fmla="*/ 5364732 w 5939252"/>
              <a:gd name="connsiteY2" fmla="*/ 1685830 h 1776240"/>
              <a:gd name="connsiteX3" fmla="*/ 418565 w 5939252"/>
              <a:gd name="connsiteY3" fmla="*/ 1685830 h 1776240"/>
              <a:gd name="connsiteX4" fmla="*/ 0 w 5939252"/>
              <a:gd name="connsiteY4" fmla="*/ 0 h 1776240"/>
              <a:gd name="connsiteX5" fmla="*/ 4887812 w 5939252"/>
              <a:gd name="connsiteY5" fmla="*/ 0 h 1776240"/>
              <a:gd name="connsiteX6" fmla="*/ 5364732 w 5939252"/>
              <a:gd name="connsiteY6" fmla="*/ 0 h 1776240"/>
              <a:gd name="connsiteX7" fmla="*/ 5847812 w 5939252"/>
              <a:gd name="connsiteY7" fmla="*/ 0 h 1776240"/>
              <a:gd name="connsiteX8" fmla="*/ 5939252 w 5939252"/>
              <a:gd name="connsiteY8" fmla="*/ 1776240 h 1776240"/>
              <a:gd name="connsiteX0" fmla="*/ 5847812 w 5847812"/>
              <a:gd name="connsiteY0" fmla="*/ 1684800 h 1685830"/>
              <a:gd name="connsiteX1" fmla="*/ 5364732 w 5847812"/>
              <a:gd name="connsiteY1" fmla="*/ 1684800 h 1685830"/>
              <a:gd name="connsiteX2" fmla="*/ 5364732 w 5847812"/>
              <a:gd name="connsiteY2" fmla="*/ 1685830 h 1685830"/>
              <a:gd name="connsiteX3" fmla="*/ 418565 w 5847812"/>
              <a:gd name="connsiteY3" fmla="*/ 1685830 h 1685830"/>
              <a:gd name="connsiteX4" fmla="*/ 0 w 5847812"/>
              <a:gd name="connsiteY4" fmla="*/ 0 h 1685830"/>
              <a:gd name="connsiteX5" fmla="*/ 4887812 w 5847812"/>
              <a:gd name="connsiteY5" fmla="*/ 0 h 1685830"/>
              <a:gd name="connsiteX6" fmla="*/ 5364732 w 5847812"/>
              <a:gd name="connsiteY6" fmla="*/ 0 h 1685830"/>
              <a:gd name="connsiteX7" fmla="*/ 5847812 w 5847812"/>
              <a:gd name="connsiteY7" fmla="*/ 0 h 1685830"/>
              <a:gd name="connsiteX0" fmla="*/ 5364732 w 5847812"/>
              <a:gd name="connsiteY0" fmla="*/ 1684800 h 1685830"/>
              <a:gd name="connsiteX1" fmla="*/ 5364732 w 5847812"/>
              <a:gd name="connsiteY1" fmla="*/ 1685830 h 1685830"/>
              <a:gd name="connsiteX2" fmla="*/ 418565 w 5847812"/>
              <a:gd name="connsiteY2" fmla="*/ 1685830 h 1685830"/>
              <a:gd name="connsiteX3" fmla="*/ 0 w 5847812"/>
              <a:gd name="connsiteY3" fmla="*/ 0 h 1685830"/>
              <a:gd name="connsiteX4" fmla="*/ 4887812 w 5847812"/>
              <a:gd name="connsiteY4" fmla="*/ 0 h 1685830"/>
              <a:gd name="connsiteX5" fmla="*/ 5364732 w 5847812"/>
              <a:gd name="connsiteY5" fmla="*/ 0 h 1685830"/>
              <a:gd name="connsiteX6" fmla="*/ 5847812 w 5847812"/>
              <a:gd name="connsiteY6" fmla="*/ 0 h 1685830"/>
              <a:gd name="connsiteX0" fmla="*/ 5364732 w 5847812"/>
              <a:gd name="connsiteY0" fmla="*/ 1684800 h 1685830"/>
              <a:gd name="connsiteX1" fmla="*/ 418565 w 5847812"/>
              <a:gd name="connsiteY1" fmla="*/ 1685830 h 1685830"/>
              <a:gd name="connsiteX2" fmla="*/ 0 w 5847812"/>
              <a:gd name="connsiteY2" fmla="*/ 0 h 1685830"/>
              <a:gd name="connsiteX3" fmla="*/ 4887812 w 5847812"/>
              <a:gd name="connsiteY3" fmla="*/ 0 h 1685830"/>
              <a:gd name="connsiteX4" fmla="*/ 5364732 w 5847812"/>
              <a:gd name="connsiteY4" fmla="*/ 0 h 1685830"/>
              <a:gd name="connsiteX5" fmla="*/ 5847812 w 5847812"/>
              <a:gd name="connsiteY5" fmla="*/ 0 h 1685830"/>
              <a:gd name="connsiteX0" fmla="*/ 418565 w 5847812"/>
              <a:gd name="connsiteY0" fmla="*/ 1685830 h 1685830"/>
              <a:gd name="connsiteX1" fmla="*/ 0 w 5847812"/>
              <a:gd name="connsiteY1" fmla="*/ 0 h 1685830"/>
              <a:gd name="connsiteX2" fmla="*/ 4887812 w 5847812"/>
              <a:gd name="connsiteY2" fmla="*/ 0 h 1685830"/>
              <a:gd name="connsiteX3" fmla="*/ 5364732 w 5847812"/>
              <a:gd name="connsiteY3" fmla="*/ 0 h 1685830"/>
              <a:gd name="connsiteX4" fmla="*/ 5847812 w 5847812"/>
              <a:gd name="connsiteY4" fmla="*/ 0 h 1685830"/>
              <a:gd name="connsiteX0" fmla="*/ 418565 w 5847812"/>
              <a:gd name="connsiteY0" fmla="*/ 1685830 h 1685830"/>
              <a:gd name="connsiteX1" fmla="*/ 0 w 5847812"/>
              <a:gd name="connsiteY1" fmla="*/ 0 h 1685830"/>
              <a:gd name="connsiteX2" fmla="*/ 5364732 w 5847812"/>
              <a:gd name="connsiteY2" fmla="*/ 0 h 1685830"/>
              <a:gd name="connsiteX3" fmla="*/ 5847812 w 5847812"/>
              <a:gd name="connsiteY3" fmla="*/ 0 h 1685830"/>
              <a:gd name="connsiteX0" fmla="*/ 418565 w 5847812"/>
              <a:gd name="connsiteY0" fmla="*/ 1685830 h 1685830"/>
              <a:gd name="connsiteX1" fmla="*/ 0 w 5847812"/>
              <a:gd name="connsiteY1" fmla="*/ 0 h 1685830"/>
              <a:gd name="connsiteX2" fmla="*/ 5847812 w 5847812"/>
              <a:gd name="connsiteY2" fmla="*/ 0 h 1685830"/>
              <a:gd name="connsiteX0" fmla="*/ 418565 w 418565"/>
              <a:gd name="connsiteY0" fmla="*/ 1685830 h 1685830"/>
              <a:gd name="connsiteX1" fmla="*/ 0 w 418565"/>
              <a:gd name="connsiteY1" fmla="*/ 0 h 16858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418565" h="1685830">
                <a:moveTo>
                  <a:pt x="418565" y="1685830"/>
                </a:moveTo>
                <a:lnTo>
                  <a:pt x="0" y="0"/>
                </a:lnTo>
              </a:path>
            </a:pathLst>
          </a:custGeom>
          <a:noFill/>
          <a:ln w="12700" cap="flat" cmpd="sng" algn="ctr">
            <a:solidFill>
              <a:schemeClr val="bg2"/>
            </a:solidFill>
            <a:prstDash val="solid"/>
            <a:miter lim="800000"/>
          </a:ln>
          <a:effectLst/>
        </p:spPr>
        <p:txBody>
          <a:bodyPr wrap="square" lIns="360000" tIns="144000" rIns="306000" bIns="144000" rtlCol="0" anchor="t" anchorCtr="0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400" b="0" i="0" u="none" strike="noStrike" kern="0" cap="none" spc="0" normalizeH="0" baseline="0" noProof="0" dirty="0">
              <a:ln>
                <a:noFill/>
              </a:ln>
              <a:solidFill>
                <a:srgbClr val="4D4E53"/>
              </a:solidFill>
              <a:effectLst/>
              <a:uLnTx/>
              <a:uFillTx/>
              <a:latin typeface="Arial"/>
              <a:ea typeface="Arial Unicode MS"/>
              <a:cs typeface="Arial"/>
            </a:endParaRPr>
          </a:p>
        </p:txBody>
      </p:sp>
      <p:sp>
        <p:nvSpPr>
          <p:cNvPr id="22" name="Freeform: Shape 21">
            <a:extLst>
              <a:ext uri="{FF2B5EF4-FFF2-40B4-BE49-F238E27FC236}">
                <a16:creationId xmlns:a16="http://schemas.microsoft.com/office/drawing/2014/main" id="{703C44E4-BB24-60DB-468A-77874E6E956B}"/>
              </a:ext>
            </a:extLst>
          </p:cNvPr>
          <p:cNvSpPr/>
          <p:nvPr/>
        </p:nvSpPr>
        <p:spPr>
          <a:xfrm flipH="1">
            <a:off x="3414241" y="3061363"/>
            <a:ext cx="446573" cy="1798632"/>
          </a:xfrm>
          <a:custGeom>
            <a:avLst/>
            <a:gdLst>
              <a:gd name="connsiteX0" fmla="*/ 5429248 w 6029865"/>
              <a:gd name="connsiteY0" fmla="*/ 0 h 1685830"/>
              <a:gd name="connsiteX1" fmla="*/ 483080 w 6029865"/>
              <a:gd name="connsiteY1" fmla="*/ 0 h 1685830"/>
              <a:gd name="connsiteX2" fmla="*/ 483080 w 6029865"/>
              <a:gd name="connsiteY2" fmla="*/ 1030 h 1685830"/>
              <a:gd name="connsiteX3" fmla="*/ 0 w 6029865"/>
              <a:gd name="connsiteY3" fmla="*/ 1030 h 1685830"/>
              <a:gd name="connsiteX4" fmla="*/ 0 w 6029865"/>
              <a:gd name="connsiteY4" fmla="*/ 1685830 h 1685830"/>
              <a:gd name="connsiteX5" fmla="*/ 483080 w 6029865"/>
              <a:gd name="connsiteY5" fmla="*/ 1685830 h 1685830"/>
              <a:gd name="connsiteX6" fmla="*/ 960000 w 6029865"/>
              <a:gd name="connsiteY6" fmla="*/ 1685830 h 1685830"/>
              <a:gd name="connsiteX7" fmla="*/ 6029865 w 6029865"/>
              <a:gd name="connsiteY7" fmla="*/ 1685830 h 1685830"/>
              <a:gd name="connsiteX8" fmla="*/ 6029865 w 6029865"/>
              <a:gd name="connsiteY8" fmla="*/ 1685826 h 1685830"/>
              <a:gd name="connsiteX9" fmla="*/ 5847813 w 6029865"/>
              <a:gd name="connsiteY9" fmla="*/ 1685826 h 1685830"/>
              <a:gd name="connsiteX0" fmla="*/ 483080 w 6029865"/>
              <a:gd name="connsiteY0" fmla="*/ 1030 h 1685830"/>
              <a:gd name="connsiteX1" fmla="*/ 0 w 6029865"/>
              <a:gd name="connsiteY1" fmla="*/ 1030 h 1685830"/>
              <a:gd name="connsiteX2" fmla="*/ 0 w 6029865"/>
              <a:gd name="connsiteY2" fmla="*/ 1685830 h 1685830"/>
              <a:gd name="connsiteX3" fmla="*/ 483080 w 6029865"/>
              <a:gd name="connsiteY3" fmla="*/ 1685830 h 1685830"/>
              <a:gd name="connsiteX4" fmla="*/ 960000 w 6029865"/>
              <a:gd name="connsiteY4" fmla="*/ 1685830 h 1685830"/>
              <a:gd name="connsiteX5" fmla="*/ 6029865 w 6029865"/>
              <a:gd name="connsiteY5" fmla="*/ 1685830 h 1685830"/>
              <a:gd name="connsiteX6" fmla="*/ 6029865 w 6029865"/>
              <a:gd name="connsiteY6" fmla="*/ 1685826 h 1685830"/>
              <a:gd name="connsiteX7" fmla="*/ 5847813 w 6029865"/>
              <a:gd name="connsiteY7" fmla="*/ 1685826 h 1685830"/>
              <a:gd name="connsiteX8" fmla="*/ 5429248 w 6029865"/>
              <a:gd name="connsiteY8" fmla="*/ 0 h 1685830"/>
              <a:gd name="connsiteX9" fmla="*/ 483080 w 6029865"/>
              <a:gd name="connsiteY9" fmla="*/ 0 h 1685830"/>
              <a:gd name="connsiteX10" fmla="*/ 574520 w 6029865"/>
              <a:gd name="connsiteY10" fmla="*/ 92470 h 1685830"/>
              <a:gd name="connsiteX0" fmla="*/ 483080 w 6029865"/>
              <a:gd name="connsiteY0" fmla="*/ 1030 h 1685830"/>
              <a:gd name="connsiteX1" fmla="*/ 0 w 6029865"/>
              <a:gd name="connsiteY1" fmla="*/ 1030 h 1685830"/>
              <a:gd name="connsiteX2" fmla="*/ 0 w 6029865"/>
              <a:gd name="connsiteY2" fmla="*/ 1685830 h 1685830"/>
              <a:gd name="connsiteX3" fmla="*/ 483080 w 6029865"/>
              <a:gd name="connsiteY3" fmla="*/ 1685830 h 1685830"/>
              <a:gd name="connsiteX4" fmla="*/ 960000 w 6029865"/>
              <a:gd name="connsiteY4" fmla="*/ 1685830 h 1685830"/>
              <a:gd name="connsiteX5" fmla="*/ 6029865 w 6029865"/>
              <a:gd name="connsiteY5" fmla="*/ 1685830 h 1685830"/>
              <a:gd name="connsiteX6" fmla="*/ 6029865 w 6029865"/>
              <a:gd name="connsiteY6" fmla="*/ 1685826 h 1685830"/>
              <a:gd name="connsiteX7" fmla="*/ 5847813 w 6029865"/>
              <a:gd name="connsiteY7" fmla="*/ 1685826 h 1685830"/>
              <a:gd name="connsiteX8" fmla="*/ 5429248 w 6029865"/>
              <a:gd name="connsiteY8" fmla="*/ 0 h 1685830"/>
              <a:gd name="connsiteX9" fmla="*/ 483080 w 6029865"/>
              <a:gd name="connsiteY9" fmla="*/ 0 h 1685830"/>
              <a:gd name="connsiteX0" fmla="*/ 483080 w 6029865"/>
              <a:gd name="connsiteY0" fmla="*/ 1030 h 1685830"/>
              <a:gd name="connsiteX1" fmla="*/ 0 w 6029865"/>
              <a:gd name="connsiteY1" fmla="*/ 1030 h 1685830"/>
              <a:gd name="connsiteX2" fmla="*/ 0 w 6029865"/>
              <a:gd name="connsiteY2" fmla="*/ 1685830 h 1685830"/>
              <a:gd name="connsiteX3" fmla="*/ 483080 w 6029865"/>
              <a:gd name="connsiteY3" fmla="*/ 1685830 h 1685830"/>
              <a:gd name="connsiteX4" fmla="*/ 960000 w 6029865"/>
              <a:gd name="connsiteY4" fmla="*/ 1685830 h 1685830"/>
              <a:gd name="connsiteX5" fmla="*/ 6029865 w 6029865"/>
              <a:gd name="connsiteY5" fmla="*/ 1685830 h 1685830"/>
              <a:gd name="connsiteX6" fmla="*/ 6029865 w 6029865"/>
              <a:gd name="connsiteY6" fmla="*/ 1685826 h 1685830"/>
              <a:gd name="connsiteX7" fmla="*/ 5847813 w 6029865"/>
              <a:gd name="connsiteY7" fmla="*/ 1685826 h 1685830"/>
              <a:gd name="connsiteX8" fmla="*/ 5429248 w 6029865"/>
              <a:gd name="connsiteY8" fmla="*/ 0 h 1685830"/>
              <a:gd name="connsiteX0" fmla="*/ 0 w 6029865"/>
              <a:gd name="connsiteY0" fmla="*/ 1030 h 1685830"/>
              <a:gd name="connsiteX1" fmla="*/ 0 w 6029865"/>
              <a:gd name="connsiteY1" fmla="*/ 1685830 h 1685830"/>
              <a:gd name="connsiteX2" fmla="*/ 483080 w 6029865"/>
              <a:gd name="connsiteY2" fmla="*/ 1685830 h 1685830"/>
              <a:gd name="connsiteX3" fmla="*/ 960000 w 6029865"/>
              <a:gd name="connsiteY3" fmla="*/ 1685830 h 1685830"/>
              <a:gd name="connsiteX4" fmla="*/ 6029865 w 6029865"/>
              <a:gd name="connsiteY4" fmla="*/ 1685830 h 1685830"/>
              <a:gd name="connsiteX5" fmla="*/ 6029865 w 6029865"/>
              <a:gd name="connsiteY5" fmla="*/ 1685826 h 1685830"/>
              <a:gd name="connsiteX6" fmla="*/ 5847813 w 6029865"/>
              <a:gd name="connsiteY6" fmla="*/ 1685826 h 1685830"/>
              <a:gd name="connsiteX7" fmla="*/ 5429248 w 6029865"/>
              <a:gd name="connsiteY7" fmla="*/ 0 h 1685830"/>
              <a:gd name="connsiteX0" fmla="*/ 0 w 6029865"/>
              <a:gd name="connsiteY0" fmla="*/ 1685830 h 1685830"/>
              <a:gd name="connsiteX1" fmla="*/ 483080 w 6029865"/>
              <a:gd name="connsiteY1" fmla="*/ 1685830 h 1685830"/>
              <a:gd name="connsiteX2" fmla="*/ 960000 w 6029865"/>
              <a:gd name="connsiteY2" fmla="*/ 1685830 h 1685830"/>
              <a:gd name="connsiteX3" fmla="*/ 6029865 w 6029865"/>
              <a:gd name="connsiteY3" fmla="*/ 1685830 h 1685830"/>
              <a:gd name="connsiteX4" fmla="*/ 6029865 w 6029865"/>
              <a:gd name="connsiteY4" fmla="*/ 1685826 h 1685830"/>
              <a:gd name="connsiteX5" fmla="*/ 5847813 w 6029865"/>
              <a:gd name="connsiteY5" fmla="*/ 1685826 h 1685830"/>
              <a:gd name="connsiteX6" fmla="*/ 5429248 w 6029865"/>
              <a:gd name="connsiteY6" fmla="*/ 0 h 1685830"/>
              <a:gd name="connsiteX0" fmla="*/ 0 w 6029865"/>
              <a:gd name="connsiteY0" fmla="*/ 1685830 h 1685830"/>
              <a:gd name="connsiteX1" fmla="*/ 960000 w 6029865"/>
              <a:gd name="connsiteY1" fmla="*/ 1685830 h 1685830"/>
              <a:gd name="connsiteX2" fmla="*/ 6029865 w 6029865"/>
              <a:gd name="connsiteY2" fmla="*/ 1685830 h 1685830"/>
              <a:gd name="connsiteX3" fmla="*/ 6029865 w 6029865"/>
              <a:gd name="connsiteY3" fmla="*/ 1685826 h 1685830"/>
              <a:gd name="connsiteX4" fmla="*/ 5847813 w 6029865"/>
              <a:gd name="connsiteY4" fmla="*/ 1685826 h 1685830"/>
              <a:gd name="connsiteX5" fmla="*/ 5429248 w 6029865"/>
              <a:gd name="connsiteY5" fmla="*/ 0 h 1685830"/>
              <a:gd name="connsiteX0" fmla="*/ 0 w 6029865"/>
              <a:gd name="connsiteY0" fmla="*/ 1685830 h 1685830"/>
              <a:gd name="connsiteX1" fmla="*/ 6029865 w 6029865"/>
              <a:gd name="connsiteY1" fmla="*/ 1685830 h 1685830"/>
              <a:gd name="connsiteX2" fmla="*/ 6029865 w 6029865"/>
              <a:gd name="connsiteY2" fmla="*/ 1685826 h 1685830"/>
              <a:gd name="connsiteX3" fmla="*/ 5847813 w 6029865"/>
              <a:gd name="connsiteY3" fmla="*/ 1685826 h 1685830"/>
              <a:gd name="connsiteX4" fmla="*/ 5429248 w 6029865"/>
              <a:gd name="connsiteY4" fmla="*/ 0 h 1685830"/>
              <a:gd name="connsiteX0" fmla="*/ 0 w 6029865"/>
              <a:gd name="connsiteY0" fmla="*/ 1685830 h 1685830"/>
              <a:gd name="connsiteX1" fmla="*/ 6029865 w 6029865"/>
              <a:gd name="connsiteY1" fmla="*/ 1685830 h 1685830"/>
              <a:gd name="connsiteX2" fmla="*/ 5847813 w 6029865"/>
              <a:gd name="connsiteY2" fmla="*/ 1685826 h 1685830"/>
              <a:gd name="connsiteX3" fmla="*/ 5429248 w 6029865"/>
              <a:gd name="connsiteY3" fmla="*/ 0 h 1685830"/>
              <a:gd name="connsiteX0" fmla="*/ 0 w 5847813"/>
              <a:gd name="connsiteY0" fmla="*/ 1685830 h 1685830"/>
              <a:gd name="connsiteX1" fmla="*/ 5847813 w 5847813"/>
              <a:gd name="connsiteY1" fmla="*/ 1685826 h 1685830"/>
              <a:gd name="connsiteX2" fmla="*/ 5429248 w 5847813"/>
              <a:gd name="connsiteY2" fmla="*/ 0 h 1685830"/>
              <a:gd name="connsiteX0" fmla="*/ 418565 w 418565"/>
              <a:gd name="connsiteY0" fmla="*/ 1685826 h 1685826"/>
              <a:gd name="connsiteX1" fmla="*/ 0 w 418565"/>
              <a:gd name="connsiteY1" fmla="*/ 0 h 16858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418565" h="1685826">
                <a:moveTo>
                  <a:pt x="418565" y="1685826"/>
                </a:moveTo>
                <a:lnTo>
                  <a:pt x="0" y="0"/>
                </a:lnTo>
              </a:path>
            </a:pathLst>
          </a:custGeom>
          <a:noFill/>
          <a:ln w="12700" cap="flat" cmpd="sng" algn="ctr">
            <a:solidFill>
              <a:schemeClr val="bg2"/>
            </a:solidFill>
            <a:prstDash val="solid"/>
            <a:miter lim="800000"/>
          </a:ln>
          <a:effectLst/>
        </p:spPr>
        <p:txBody>
          <a:bodyPr wrap="square" lIns="684000" tIns="144000" rIns="306000" bIns="144000" rtlCol="0" anchor="t" anchorCtr="0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400" b="0" i="0" u="none" strike="noStrike" kern="0" cap="none" spc="0" normalizeH="0" baseline="0" noProof="0" dirty="0">
              <a:ln>
                <a:noFill/>
              </a:ln>
              <a:solidFill>
                <a:srgbClr val="4D4E53"/>
              </a:solidFill>
              <a:effectLst/>
              <a:uLnTx/>
              <a:uFillTx/>
              <a:latin typeface="Arial"/>
              <a:ea typeface="Arial Unicode MS"/>
              <a:cs typeface="Arial"/>
            </a:endParaRP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6FEB67B2-3898-BAFA-0469-179DEEAEDEDC}"/>
              </a:ext>
            </a:extLst>
          </p:cNvPr>
          <p:cNvGrpSpPr/>
          <p:nvPr/>
        </p:nvGrpSpPr>
        <p:grpSpPr>
          <a:xfrm>
            <a:off x="8342513" y="2184129"/>
            <a:ext cx="549486" cy="574027"/>
            <a:chOff x="8342513" y="2184129"/>
            <a:chExt cx="549486" cy="574027"/>
          </a:xfrm>
        </p:grpSpPr>
        <p:sp>
          <p:nvSpPr>
            <p:cNvPr id="39" name="Freeform: Shape 38">
              <a:extLst>
                <a:ext uri="{FF2B5EF4-FFF2-40B4-BE49-F238E27FC236}">
                  <a16:creationId xmlns:a16="http://schemas.microsoft.com/office/drawing/2014/main" id="{37E3F319-58A4-B794-4CE9-947D7ACE7657}"/>
                </a:ext>
              </a:extLst>
            </p:cNvPr>
            <p:cNvSpPr/>
            <p:nvPr/>
          </p:nvSpPr>
          <p:spPr>
            <a:xfrm>
              <a:off x="8342513" y="2184129"/>
              <a:ext cx="549486" cy="574027"/>
            </a:xfrm>
            <a:custGeom>
              <a:avLst/>
              <a:gdLst>
                <a:gd name="connsiteX0" fmla="*/ 556452 w 1108903"/>
                <a:gd name="connsiteY0" fmla="*/ 89820 h 1158430"/>
                <a:gd name="connsiteX1" fmla="*/ 825819 w 1108903"/>
                <a:gd name="connsiteY1" fmla="*/ 215360 h 1158430"/>
                <a:gd name="connsiteX2" fmla="*/ 827058 w 1108903"/>
                <a:gd name="connsiteY2" fmla="*/ 215932 h 1158430"/>
                <a:gd name="connsiteX3" fmla="*/ 832487 w 1108903"/>
                <a:gd name="connsiteY3" fmla="*/ 231743 h 1158430"/>
                <a:gd name="connsiteX4" fmla="*/ 816675 w 1108903"/>
                <a:gd name="connsiteY4" fmla="*/ 237172 h 1158430"/>
                <a:gd name="connsiteX5" fmla="*/ 558643 w 1108903"/>
                <a:gd name="connsiteY5" fmla="*/ 115062 h 1158430"/>
                <a:gd name="connsiteX6" fmla="*/ 556262 w 1108903"/>
                <a:gd name="connsiteY6" fmla="*/ 114014 h 1158430"/>
                <a:gd name="connsiteX7" fmla="*/ 553976 w 1108903"/>
                <a:gd name="connsiteY7" fmla="*/ 114776 h 1158430"/>
                <a:gd name="connsiteX8" fmla="*/ 294991 w 1108903"/>
                <a:gd name="connsiteY8" fmla="*/ 234886 h 1158430"/>
                <a:gd name="connsiteX9" fmla="*/ 293438 w 1108903"/>
                <a:gd name="connsiteY9" fmla="*/ 235629 h 1158430"/>
                <a:gd name="connsiteX10" fmla="*/ 278132 w 1108903"/>
                <a:gd name="connsiteY10" fmla="*/ 228962 h 1158430"/>
                <a:gd name="connsiteX11" fmla="*/ 284799 w 1108903"/>
                <a:gd name="connsiteY11" fmla="*/ 213645 h 1158430"/>
                <a:gd name="connsiteX12" fmla="*/ 556452 w 1108903"/>
                <a:gd name="connsiteY12" fmla="*/ 89820 h 1158430"/>
                <a:gd name="connsiteX13" fmla="*/ 555690 w 1108903"/>
                <a:gd name="connsiteY13" fmla="*/ 24288 h 1158430"/>
                <a:gd name="connsiteX14" fmla="*/ 553309 w 1108903"/>
                <a:gd name="connsiteY14" fmla="*/ 25241 h 1158430"/>
                <a:gd name="connsiteX15" fmla="*/ 215933 w 1108903"/>
                <a:gd name="connsiteY15" fmla="*/ 183356 h 1158430"/>
                <a:gd name="connsiteX16" fmla="*/ 213552 w 1108903"/>
                <a:gd name="connsiteY16" fmla="*/ 184499 h 1158430"/>
                <a:gd name="connsiteX17" fmla="*/ 210504 w 1108903"/>
                <a:gd name="connsiteY17" fmla="*/ 196215 h 1158430"/>
                <a:gd name="connsiteX18" fmla="*/ 175738 w 1108903"/>
                <a:gd name="connsiteY18" fmla="*/ 286131 h 1158430"/>
                <a:gd name="connsiteX19" fmla="*/ 29910 w 1108903"/>
                <a:gd name="connsiteY19" fmla="*/ 311658 h 1158430"/>
                <a:gd name="connsiteX20" fmla="*/ 23529 w 1108903"/>
                <a:gd name="connsiteY20" fmla="*/ 319373 h 1158430"/>
                <a:gd name="connsiteX21" fmla="*/ 24290 w 1108903"/>
                <a:gd name="connsiteY21" fmla="*/ 324231 h 1158430"/>
                <a:gd name="connsiteX22" fmla="*/ 539688 w 1108903"/>
                <a:gd name="connsiteY22" fmla="*/ 1130141 h 1158430"/>
                <a:gd name="connsiteX23" fmla="*/ 549213 w 1108903"/>
                <a:gd name="connsiteY23" fmla="*/ 1134332 h 1158430"/>
                <a:gd name="connsiteX24" fmla="*/ 549690 w 1108903"/>
                <a:gd name="connsiteY24" fmla="*/ 1146905 h 1158430"/>
                <a:gd name="connsiteX25" fmla="*/ 561691 w 1108903"/>
                <a:gd name="connsiteY25" fmla="*/ 1146619 h 1158430"/>
                <a:gd name="connsiteX26" fmla="*/ 561691 w 1108903"/>
                <a:gd name="connsiteY26" fmla="*/ 1133856 h 1158430"/>
                <a:gd name="connsiteX27" fmla="*/ 569502 w 1108903"/>
                <a:gd name="connsiteY27" fmla="*/ 1130046 h 1158430"/>
                <a:gd name="connsiteX28" fmla="*/ 1085089 w 1108903"/>
                <a:gd name="connsiteY28" fmla="*/ 324326 h 1158430"/>
                <a:gd name="connsiteX29" fmla="*/ 1085756 w 1108903"/>
                <a:gd name="connsiteY29" fmla="*/ 320897 h 1158430"/>
                <a:gd name="connsiteX30" fmla="*/ 1085756 w 1108903"/>
                <a:gd name="connsiteY30" fmla="*/ 319944 h 1158430"/>
                <a:gd name="connsiteX31" fmla="*/ 1079375 w 1108903"/>
                <a:gd name="connsiteY31" fmla="*/ 311658 h 1158430"/>
                <a:gd name="connsiteX32" fmla="*/ 933166 w 1108903"/>
                <a:gd name="connsiteY32" fmla="*/ 285940 h 1158430"/>
                <a:gd name="connsiteX33" fmla="*/ 897924 w 1108903"/>
                <a:gd name="connsiteY33" fmla="*/ 190690 h 1158430"/>
                <a:gd name="connsiteX34" fmla="*/ 897352 w 1108903"/>
                <a:gd name="connsiteY34" fmla="*/ 188023 h 1158430"/>
                <a:gd name="connsiteX35" fmla="*/ 894971 w 1108903"/>
                <a:gd name="connsiteY35" fmla="*/ 186785 h 1158430"/>
                <a:gd name="connsiteX36" fmla="*/ 558072 w 1108903"/>
                <a:gd name="connsiteY36" fmla="*/ 25336 h 1158430"/>
                <a:gd name="connsiteX37" fmla="*/ 555880 w 1108903"/>
                <a:gd name="connsiteY37" fmla="*/ 0 h 1158430"/>
                <a:gd name="connsiteX38" fmla="*/ 556166 w 1108903"/>
                <a:gd name="connsiteY38" fmla="*/ 0 h 1158430"/>
                <a:gd name="connsiteX39" fmla="*/ 737332 w 1108903"/>
                <a:gd name="connsiteY39" fmla="*/ 83629 h 1158430"/>
                <a:gd name="connsiteX40" fmla="*/ 918307 w 1108903"/>
                <a:gd name="connsiteY40" fmla="*/ 176688 h 1158430"/>
                <a:gd name="connsiteX41" fmla="*/ 918879 w 1108903"/>
                <a:gd name="connsiteY41" fmla="*/ 178308 h 1158430"/>
                <a:gd name="connsiteX42" fmla="*/ 940595 w 1108903"/>
                <a:gd name="connsiteY42" fmla="*/ 260508 h 1158430"/>
                <a:gd name="connsiteX43" fmla="*/ 941738 w 1108903"/>
                <a:gd name="connsiteY43" fmla="*/ 263652 h 1158430"/>
                <a:gd name="connsiteX44" fmla="*/ 945072 w 1108903"/>
                <a:gd name="connsiteY44" fmla="*/ 264318 h 1158430"/>
                <a:gd name="connsiteX45" fmla="*/ 1082232 w 1108903"/>
                <a:gd name="connsiteY45" fmla="*/ 288417 h 1158430"/>
                <a:gd name="connsiteX46" fmla="*/ 1108902 w 1108903"/>
                <a:gd name="connsiteY46" fmla="*/ 319373 h 1158430"/>
                <a:gd name="connsiteX47" fmla="*/ 1108330 w 1108903"/>
                <a:gd name="connsiteY47" fmla="*/ 325183 h 1158430"/>
                <a:gd name="connsiteX48" fmla="*/ 1107759 w 1108903"/>
                <a:gd name="connsiteY48" fmla="*/ 328708 h 1158430"/>
                <a:gd name="connsiteX49" fmla="*/ 581979 w 1108903"/>
                <a:gd name="connsiteY49" fmla="*/ 1149762 h 1158430"/>
                <a:gd name="connsiteX50" fmla="*/ 556166 w 1108903"/>
                <a:gd name="connsiteY50" fmla="*/ 1158430 h 1158430"/>
                <a:gd name="connsiteX51" fmla="*/ 553404 w 1108903"/>
                <a:gd name="connsiteY51" fmla="*/ 1158430 h 1158430"/>
                <a:gd name="connsiteX52" fmla="*/ 526258 w 1108903"/>
                <a:gd name="connsiteY52" fmla="*/ 1149762 h 1158430"/>
                <a:gd name="connsiteX53" fmla="*/ 573 w 1108903"/>
                <a:gd name="connsiteY53" fmla="*/ 328326 h 1158430"/>
                <a:gd name="connsiteX54" fmla="*/ 573 w 1108903"/>
                <a:gd name="connsiteY54" fmla="*/ 325469 h 1158430"/>
                <a:gd name="connsiteX55" fmla="*/ 2 w 1108903"/>
                <a:gd name="connsiteY55" fmla="*/ 319373 h 1158430"/>
                <a:gd name="connsiteX56" fmla="*/ 26386 w 1108903"/>
                <a:gd name="connsiteY56" fmla="*/ 288417 h 1158430"/>
                <a:gd name="connsiteX57" fmla="*/ 163546 w 1108903"/>
                <a:gd name="connsiteY57" fmla="*/ 264318 h 1158430"/>
                <a:gd name="connsiteX58" fmla="*/ 166975 w 1108903"/>
                <a:gd name="connsiteY58" fmla="*/ 263747 h 1158430"/>
                <a:gd name="connsiteX59" fmla="*/ 168118 w 1108903"/>
                <a:gd name="connsiteY59" fmla="*/ 260508 h 1158430"/>
                <a:gd name="connsiteX60" fmla="*/ 187644 w 1108903"/>
                <a:gd name="connsiteY60" fmla="*/ 190500 h 1158430"/>
                <a:gd name="connsiteX61" fmla="*/ 194026 w 1108903"/>
                <a:gd name="connsiteY61" fmla="*/ 169735 h 1158430"/>
                <a:gd name="connsiteX62" fmla="*/ 373191 w 1108903"/>
                <a:gd name="connsiteY62" fmla="*/ 82105 h 1158430"/>
                <a:gd name="connsiteX63" fmla="*/ 555880 w 1108903"/>
                <a:gd name="connsiteY63" fmla="*/ 0 h 11584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</a:cxnLst>
              <a:rect l="l" t="t" r="r" b="b"/>
              <a:pathLst>
                <a:path w="1108903" h="1158430">
                  <a:moveTo>
                    <a:pt x="556452" y="89820"/>
                  </a:moveTo>
                  <a:cubicBezTo>
                    <a:pt x="569883" y="92773"/>
                    <a:pt x="700851" y="154686"/>
                    <a:pt x="825819" y="215360"/>
                  </a:cubicBezTo>
                  <a:lnTo>
                    <a:pt x="827058" y="215932"/>
                  </a:lnTo>
                  <a:cubicBezTo>
                    <a:pt x="832839" y="218865"/>
                    <a:pt x="835249" y="225875"/>
                    <a:pt x="832487" y="231743"/>
                  </a:cubicBezTo>
                  <a:cubicBezTo>
                    <a:pt x="829486" y="237448"/>
                    <a:pt x="822552" y="239830"/>
                    <a:pt x="816675" y="237172"/>
                  </a:cubicBezTo>
                  <a:cubicBezTo>
                    <a:pt x="723139" y="191262"/>
                    <a:pt x="587694" y="127730"/>
                    <a:pt x="558643" y="115062"/>
                  </a:cubicBezTo>
                  <a:lnTo>
                    <a:pt x="556262" y="114014"/>
                  </a:lnTo>
                  <a:lnTo>
                    <a:pt x="553976" y="114776"/>
                  </a:lnTo>
                  <a:cubicBezTo>
                    <a:pt x="524353" y="127063"/>
                    <a:pt x="388050" y="190595"/>
                    <a:pt x="294991" y="234886"/>
                  </a:cubicBezTo>
                  <a:cubicBezTo>
                    <a:pt x="294496" y="235172"/>
                    <a:pt x="293972" y="235420"/>
                    <a:pt x="293438" y="235629"/>
                  </a:cubicBezTo>
                  <a:cubicBezTo>
                    <a:pt x="287371" y="238020"/>
                    <a:pt x="280513" y="235029"/>
                    <a:pt x="278132" y="228962"/>
                  </a:cubicBezTo>
                  <a:cubicBezTo>
                    <a:pt x="275741" y="222885"/>
                    <a:pt x="278732" y="216036"/>
                    <a:pt x="284799" y="213645"/>
                  </a:cubicBezTo>
                  <a:cubicBezTo>
                    <a:pt x="504160" y="109537"/>
                    <a:pt x="549499" y="91154"/>
                    <a:pt x="556452" y="89820"/>
                  </a:cubicBezTo>
                  <a:close/>
                  <a:moveTo>
                    <a:pt x="555690" y="24288"/>
                  </a:moveTo>
                  <a:lnTo>
                    <a:pt x="553309" y="25241"/>
                  </a:lnTo>
                  <a:cubicBezTo>
                    <a:pt x="513304" y="42100"/>
                    <a:pt x="257843" y="161734"/>
                    <a:pt x="215933" y="183356"/>
                  </a:cubicBezTo>
                  <a:lnTo>
                    <a:pt x="213552" y="184499"/>
                  </a:lnTo>
                  <a:lnTo>
                    <a:pt x="210504" y="196215"/>
                  </a:lnTo>
                  <a:cubicBezTo>
                    <a:pt x="189168" y="280511"/>
                    <a:pt x="185263" y="284416"/>
                    <a:pt x="175738" y="286131"/>
                  </a:cubicBezTo>
                  <a:cubicBezTo>
                    <a:pt x="130113" y="294227"/>
                    <a:pt x="37435" y="310610"/>
                    <a:pt x="29910" y="311658"/>
                  </a:cubicBezTo>
                  <a:cubicBezTo>
                    <a:pt x="26176" y="312315"/>
                    <a:pt x="23471" y="315582"/>
                    <a:pt x="23529" y="319373"/>
                  </a:cubicBezTo>
                  <a:lnTo>
                    <a:pt x="24290" y="324231"/>
                  </a:lnTo>
                  <a:cubicBezTo>
                    <a:pt x="52389" y="483108"/>
                    <a:pt x="158688" y="879633"/>
                    <a:pt x="539688" y="1130141"/>
                  </a:cubicBezTo>
                  <a:cubicBezTo>
                    <a:pt x="542584" y="1132113"/>
                    <a:pt x="545813" y="1133532"/>
                    <a:pt x="549213" y="1134332"/>
                  </a:cubicBezTo>
                  <a:lnTo>
                    <a:pt x="549690" y="1146905"/>
                  </a:lnTo>
                  <a:lnTo>
                    <a:pt x="561691" y="1146619"/>
                  </a:lnTo>
                  <a:lnTo>
                    <a:pt x="561691" y="1133856"/>
                  </a:lnTo>
                  <a:cubicBezTo>
                    <a:pt x="564472" y="1132989"/>
                    <a:pt x="567111" y="1131703"/>
                    <a:pt x="569502" y="1130046"/>
                  </a:cubicBezTo>
                  <a:cubicBezTo>
                    <a:pt x="950216" y="879824"/>
                    <a:pt x="1056514" y="483203"/>
                    <a:pt x="1085089" y="324326"/>
                  </a:cubicBezTo>
                  <a:lnTo>
                    <a:pt x="1085756" y="320897"/>
                  </a:lnTo>
                  <a:lnTo>
                    <a:pt x="1085756" y="319944"/>
                  </a:lnTo>
                  <a:cubicBezTo>
                    <a:pt x="1086062" y="315953"/>
                    <a:pt x="1083309" y="312381"/>
                    <a:pt x="1079375" y="311658"/>
                  </a:cubicBezTo>
                  <a:cubicBezTo>
                    <a:pt x="1069278" y="310038"/>
                    <a:pt x="967647" y="292132"/>
                    <a:pt x="933166" y="285940"/>
                  </a:cubicBezTo>
                  <a:cubicBezTo>
                    <a:pt x="925451" y="284702"/>
                    <a:pt x="919259" y="283654"/>
                    <a:pt x="897924" y="190690"/>
                  </a:cubicBezTo>
                  <a:lnTo>
                    <a:pt x="897352" y="188023"/>
                  </a:lnTo>
                  <a:lnTo>
                    <a:pt x="894971" y="186785"/>
                  </a:lnTo>
                  <a:cubicBezTo>
                    <a:pt x="853347" y="163925"/>
                    <a:pt x="598458" y="43053"/>
                    <a:pt x="558072" y="25336"/>
                  </a:cubicBezTo>
                  <a:close/>
                  <a:moveTo>
                    <a:pt x="555880" y="0"/>
                  </a:moveTo>
                  <a:lnTo>
                    <a:pt x="556166" y="0"/>
                  </a:lnTo>
                  <a:cubicBezTo>
                    <a:pt x="559881" y="0"/>
                    <a:pt x="576455" y="6382"/>
                    <a:pt x="737332" y="83629"/>
                  </a:cubicBezTo>
                  <a:cubicBezTo>
                    <a:pt x="907639" y="164877"/>
                    <a:pt x="915926" y="170307"/>
                    <a:pt x="918307" y="176688"/>
                  </a:cubicBezTo>
                  <a:cubicBezTo>
                    <a:pt x="918526" y="177222"/>
                    <a:pt x="918716" y="177755"/>
                    <a:pt x="918879" y="178308"/>
                  </a:cubicBezTo>
                  <a:cubicBezTo>
                    <a:pt x="925546" y="207835"/>
                    <a:pt x="935166" y="245554"/>
                    <a:pt x="940595" y="260508"/>
                  </a:cubicBezTo>
                  <a:lnTo>
                    <a:pt x="941738" y="263652"/>
                  </a:lnTo>
                  <a:lnTo>
                    <a:pt x="945072" y="264318"/>
                  </a:lnTo>
                  <a:cubicBezTo>
                    <a:pt x="986982" y="271843"/>
                    <a:pt x="1073850" y="287083"/>
                    <a:pt x="1082232" y="288417"/>
                  </a:cubicBezTo>
                  <a:cubicBezTo>
                    <a:pt x="1097634" y="290569"/>
                    <a:pt x="1109055" y="303819"/>
                    <a:pt x="1108902" y="319373"/>
                  </a:cubicBezTo>
                  <a:cubicBezTo>
                    <a:pt x="1108902" y="321325"/>
                    <a:pt x="1108712" y="323269"/>
                    <a:pt x="1108330" y="325183"/>
                  </a:cubicBezTo>
                  <a:lnTo>
                    <a:pt x="1107759" y="328708"/>
                  </a:lnTo>
                  <a:cubicBezTo>
                    <a:pt x="1078994" y="490537"/>
                    <a:pt x="970218" y="894588"/>
                    <a:pt x="581979" y="1149762"/>
                  </a:cubicBezTo>
                  <a:cubicBezTo>
                    <a:pt x="574378" y="1155049"/>
                    <a:pt x="565425" y="1158059"/>
                    <a:pt x="556166" y="1158430"/>
                  </a:cubicBezTo>
                  <a:lnTo>
                    <a:pt x="553404" y="1158430"/>
                  </a:lnTo>
                  <a:cubicBezTo>
                    <a:pt x="543689" y="1158326"/>
                    <a:pt x="534231" y="1155306"/>
                    <a:pt x="526258" y="1149762"/>
                  </a:cubicBezTo>
                  <a:cubicBezTo>
                    <a:pt x="137829" y="894302"/>
                    <a:pt x="29148" y="490251"/>
                    <a:pt x="573" y="328326"/>
                  </a:cubicBezTo>
                  <a:lnTo>
                    <a:pt x="573" y="325469"/>
                  </a:lnTo>
                  <a:cubicBezTo>
                    <a:pt x="173" y="323459"/>
                    <a:pt x="-18" y="321421"/>
                    <a:pt x="2" y="319373"/>
                  </a:cubicBezTo>
                  <a:cubicBezTo>
                    <a:pt x="-46" y="303961"/>
                    <a:pt x="11156" y="290817"/>
                    <a:pt x="26386" y="288417"/>
                  </a:cubicBezTo>
                  <a:cubicBezTo>
                    <a:pt x="33054" y="287464"/>
                    <a:pt x="114111" y="273082"/>
                    <a:pt x="163546" y="264318"/>
                  </a:cubicBezTo>
                  <a:lnTo>
                    <a:pt x="166975" y="263747"/>
                  </a:lnTo>
                  <a:lnTo>
                    <a:pt x="168118" y="260508"/>
                  </a:lnTo>
                  <a:cubicBezTo>
                    <a:pt x="173928" y="244697"/>
                    <a:pt x="184311" y="203835"/>
                    <a:pt x="187644" y="190500"/>
                  </a:cubicBezTo>
                  <a:cubicBezTo>
                    <a:pt x="192407" y="172021"/>
                    <a:pt x="191359" y="173164"/>
                    <a:pt x="194026" y="169735"/>
                  </a:cubicBezTo>
                  <a:cubicBezTo>
                    <a:pt x="196693" y="166306"/>
                    <a:pt x="211076" y="158210"/>
                    <a:pt x="373191" y="82105"/>
                  </a:cubicBezTo>
                  <a:cubicBezTo>
                    <a:pt x="535307" y="6000"/>
                    <a:pt x="551499" y="0"/>
                    <a:pt x="555880" y="0"/>
                  </a:cubicBezTo>
                  <a:close/>
                </a:path>
              </a:pathLst>
            </a:custGeom>
            <a:solidFill>
              <a:schemeClr val="bg2">
                <a:lumMod val="50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40" name="Freeform: Shape 39">
              <a:extLst>
                <a:ext uri="{FF2B5EF4-FFF2-40B4-BE49-F238E27FC236}">
                  <a16:creationId xmlns:a16="http://schemas.microsoft.com/office/drawing/2014/main" id="{49405947-A76C-055C-F050-0AABD122D77E}"/>
                </a:ext>
              </a:extLst>
            </p:cNvPr>
            <p:cNvSpPr/>
            <p:nvPr/>
          </p:nvSpPr>
          <p:spPr>
            <a:xfrm>
              <a:off x="8514443" y="2358787"/>
              <a:ext cx="198149" cy="202718"/>
            </a:xfrm>
            <a:custGeom>
              <a:avLst/>
              <a:gdLst>
                <a:gd name="connsiteX0" fmla="*/ 238057 w 399880"/>
                <a:gd name="connsiteY0" fmla="*/ 18240 h 409100"/>
                <a:gd name="connsiteX1" fmla="*/ 229866 w 399880"/>
                <a:gd name="connsiteY1" fmla="*/ 22240 h 409100"/>
                <a:gd name="connsiteX2" fmla="*/ 229009 w 399880"/>
                <a:gd name="connsiteY2" fmla="*/ 23097 h 409100"/>
                <a:gd name="connsiteX3" fmla="*/ 229009 w 399880"/>
                <a:gd name="connsiteY3" fmla="*/ 24145 h 409100"/>
                <a:gd name="connsiteX4" fmla="*/ 127758 w 399880"/>
                <a:gd name="connsiteY4" fmla="*/ 198548 h 409100"/>
                <a:gd name="connsiteX5" fmla="*/ 68894 w 399880"/>
                <a:gd name="connsiteY5" fmla="*/ 198548 h 409100"/>
                <a:gd name="connsiteX6" fmla="*/ 68894 w 399880"/>
                <a:gd name="connsiteY6" fmla="*/ 372093 h 409100"/>
                <a:gd name="connsiteX7" fmla="*/ 137379 w 399880"/>
                <a:gd name="connsiteY7" fmla="*/ 372093 h 409100"/>
                <a:gd name="connsiteX8" fmla="*/ 142713 w 399880"/>
                <a:gd name="connsiteY8" fmla="*/ 373903 h 409100"/>
                <a:gd name="connsiteX9" fmla="*/ 200529 w 399880"/>
                <a:gd name="connsiteY9" fmla="*/ 392191 h 409100"/>
                <a:gd name="connsiteX10" fmla="*/ 352929 w 399880"/>
                <a:gd name="connsiteY10" fmla="*/ 392191 h 409100"/>
                <a:gd name="connsiteX11" fmla="*/ 360359 w 399880"/>
                <a:gd name="connsiteY11" fmla="*/ 392191 h 409100"/>
                <a:gd name="connsiteX12" fmla="*/ 361121 w 399880"/>
                <a:gd name="connsiteY12" fmla="*/ 392191 h 409100"/>
                <a:gd name="connsiteX13" fmla="*/ 375980 w 399880"/>
                <a:gd name="connsiteY13" fmla="*/ 386476 h 409100"/>
                <a:gd name="connsiteX14" fmla="*/ 382838 w 399880"/>
                <a:gd name="connsiteY14" fmla="*/ 371808 h 409100"/>
                <a:gd name="connsiteX15" fmla="*/ 362359 w 399880"/>
                <a:gd name="connsiteY15" fmla="*/ 349614 h 409100"/>
                <a:gd name="connsiteX16" fmla="*/ 351214 w 399880"/>
                <a:gd name="connsiteY16" fmla="*/ 349614 h 409100"/>
                <a:gd name="connsiteX17" fmla="*/ 346167 w 399880"/>
                <a:gd name="connsiteY17" fmla="*/ 347995 h 409100"/>
                <a:gd name="connsiteX18" fmla="*/ 341976 w 399880"/>
                <a:gd name="connsiteY18" fmla="*/ 340566 h 409100"/>
                <a:gd name="connsiteX19" fmla="*/ 350834 w 399880"/>
                <a:gd name="connsiteY19" fmla="*/ 331707 h 409100"/>
                <a:gd name="connsiteX20" fmla="*/ 361692 w 399880"/>
                <a:gd name="connsiteY20" fmla="*/ 331707 h 409100"/>
                <a:gd name="connsiteX21" fmla="*/ 382171 w 399880"/>
                <a:gd name="connsiteY21" fmla="*/ 309704 h 409100"/>
                <a:gd name="connsiteX22" fmla="*/ 382171 w 399880"/>
                <a:gd name="connsiteY22" fmla="*/ 309686 h 409100"/>
                <a:gd name="connsiteX23" fmla="*/ 360359 w 399880"/>
                <a:gd name="connsiteY23" fmla="*/ 289226 h 409100"/>
                <a:gd name="connsiteX24" fmla="*/ 350834 w 399880"/>
                <a:gd name="connsiteY24" fmla="*/ 289226 h 409100"/>
                <a:gd name="connsiteX25" fmla="*/ 342938 w 399880"/>
                <a:gd name="connsiteY25" fmla="*/ 281329 h 409100"/>
                <a:gd name="connsiteX26" fmla="*/ 350834 w 399880"/>
                <a:gd name="connsiteY26" fmla="*/ 271604 h 409100"/>
                <a:gd name="connsiteX27" fmla="*/ 360359 w 399880"/>
                <a:gd name="connsiteY27" fmla="*/ 271604 h 409100"/>
                <a:gd name="connsiteX28" fmla="*/ 380219 w 399880"/>
                <a:gd name="connsiteY28" fmla="*/ 251745 h 409100"/>
                <a:gd name="connsiteX29" fmla="*/ 360359 w 399880"/>
                <a:gd name="connsiteY29" fmla="*/ 229028 h 409100"/>
                <a:gd name="connsiteX30" fmla="*/ 350834 w 399880"/>
                <a:gd name="connsiteY30" fmla="*/ 229028 h 409100"/>
                <a:gd name="connsiteX31" fmla="*/ 344947 w 399880"/>
                <a:gd name="connsiteY31" fmla="*/ 223141 h 409100"/>
                <a:gd name="connsiteX32" fmla="*/ 350834 w 399880"/>
                <a:gd name="connsiteY32" fmla="*/ 211026 h 409100"/>
                <a:gd name="connsiteX33" fmla="*/ 360454 w 399880"/>
                <a:gd name="connsiteY33" fmla="*/ 211026 h 409100"/>
                <a:gd name="connsiteX34" fmla="*/ 380313 w 399880"/>
                <a:gd name="connsiteY34" fmla="*/ 191166 h 409100"/>
                <a:gd name="connsiteX35" fmla="*/ 360454 w 399880"/>
                <a:gd name="connsiteY35" fmla="*/ 168449 h 409100"/>
                <a:gd name="connsiteX36" fmla="*/ 235010 w 399880"/>
                <a:gd name="connsiteY36" fmla="*/ 168449 h 409100"/>
                <a:gd name="connsiteX37" fmla="*/ 233105 w 399880"/>
                <a:gd name="connsiteY37" fmla="*/ 168449 h 409100"/>
                <a:gd name="connsiteX38" fmla="*/ 226342 w 399880"/>
                <a:gd name="connsiteY38" fmla="*/ 157686 h 409100"/>
                <a:gd name="connsiteX39" fmla="*/ 251107 w 399880"/>
                <a:gd name="connsiteY39" fmla="*/ 47672 h 409100"/>
                <a:gd name="connsiteX40" fmla="*/ 251107 w 399880"/>
                <a:gd name="connsiteY40" fmla="*/ 46910 h 409100"/>
                <a:gd name="connsiteX41" fmla="*/ 246630 w 399880"/>
                <a:gd name="connsiteY41" fmla="*/ 21573 h 409100"/>
                <a:gd name="connsiteX42" fmla="*/ 245773 w 399880"/>
                <a:gd name="connsiteY42" fmla="*/ 20621 h 409100"/>
                <a:gd name="connsiteX43" fmla="*/ 238057 w 399880"/>
                <a:gd name="connsiteY43" fmla="*/ 18240 h 409100"/>
                <a:gd name="connsiteX44" fmla="*/ 236153 w 399880"/>
                <a:gd name="connsiteY44" fmla="*/ 237 h 409100"/>
                <a:gd name="connsiteX45" fmla="*/ 257965 w 399880"/>
                <a:gd name="connsiteY45" fmla="*/ 7381 h 409100"/>
                <a:gd name="connsiteX46" fmla="*/ 268538 w 399880"/>
                <a:gd name="connsiteY46" fmla="*/ 47005 h 409100"/>
                <a:gd name="connsiteX47" fmla="*/ 247488 w 399880"/>
                <a:gd name="connsiteY47" fmla="*/ 144636 h 409100"/>
                <a:gd name="connsiteX48" fmla="*/ 246059 w 399880"/>
                <a:gd name="connsiteY48" fmla="*/ 150542 h 409100"/>
                <a:gd name="connsiteX49" fmla="*/ 360739 w 399880"/>
                <a:gd name="connsiteY49" fmla="*/ 150542 h 409100"/>
                <a:gd name="connsiteX50" fmla="*/ 387695 w 399880"/>
                <a:gd name="connsiteY50" fmla="*/ 161400 h 409100"/>
                <a:gd name="connsiteX51" fmla="*/ 387743 w 399880"/>
                <a:gd name="connsiteY51" fmla="*/ 161448 h 409100"/>
                <a:gd name="connsiteX52" fmla="*/ 388743 w 399880"/>
                <a:gd name="connsiteY52" fmla="*/ 216264 h 409100"/>
                <a:gd name="connsiteX53" fmla="*/ 391886 w 399880"/>
                <a:gd name="connsiteY53" fmla="*/ 219884 h 409100"/>
                <a:gd name="connsiteX54" fmla="*/ 389029 w 399880"/>
                <a:gd name="connsiteY54" fmla="*/ 222646 h 409100"/>
                <a:gd name="connsiteX55" fmla="*/ 389029 w 399880"/>
                <a:gd name="connsiteY55" fmla="*/ 276367 h 409100"/>
                <a:gd name="connsiteX56" fmla="*/ 385886 w 399880"/>
                <a:gd name="connsiteY56" fmla="*/ 279605 h 409100"/>
                <a:gd name="connsiteX57" fmla="*/ 389029 w 399880"/>
                <a:gd name="connsiteY57" fmla="*/ 282939 h 409100"/>
                <a:gd name="connsiteX58" fmla="*/ 389029 w 399880"/>
                <a:gd name="connsiteY58" fmla="*/ 336470 h 409100"/>
                <a:gd name="connsiteX59" fmla="*/ 385886 w 399880"/>
                <a:gd name="connsiteY59" fmla="*/ 339708 h 409100"/>
                <a:gd name="connsiteX60" fmla="*/ 388934 w 399880"/>
                <a:gd name="connsiteY60" fmla="*/ 343042 h 409100"/>
                <a:gd name="connsiteX61" fmla="*/ 399582 w 399880"/>
                <a:gd name="connsiteY61" fmla="*/ 370074 h 409100"/>
                <a:gd name="connsiteX62" fmla="*/ 360359 w 399880"/>
                <a:gd name="connsiteY62" fmla="*/ 408765 h 409100"/>
                <a:gd name="connsiteX63" fmla="*/ 199291 w 399880"/>
                <a:gd name="connsiteY63" fmla="*/ 408765 h 409100"/>
                <a:gd name="connsiteX64" fmla="*/ 135474 w 399880"/>
                <a:gd name="connsiteY64" fmla="*/ 389715 h 409100"/>
                <a:gd name="connsiteX65" fmla="*/ 134235 w 399880"/>
                <a:gd name="connsiteY65" fmla="*/ 388952 h 409100"/>
                <a:gd name="connsiteX66" fmla="*/ 68703 w 399880"/>
                <a:gd name="connsiteY66" fmla="*/ 388952 h 409100"/>
                <a:gd name="connsiteX67" fmla="*/ 68703 w 399880"/>
                <a:gd name="connsiteY67" fmla="*/ 400287 h 409100"/>
                <a:gd name="connsiteX68" fmla="*/ 59845 w 399880"/>
                <a:gd name="connsiteY68" fmla="*/ 409050 h 409100"/>
                <a:gd name="connsiteX69" fmla="*/ 10029 w 399880"/>
                <a:gd name="connsiteY69" fmla="*/ 409050 h 409100"/>
                <a:gd name="connsiteX70" fmla="*/ 8191 w 399880"/>
                <a:gd name="connsiteY70" fmla="*/ 409050 h 409100"/>
                <a:gd name="connsiteX71" fmla="*/ 304 w 399880"/>
                <a:gd name="connsiteY71" fmla="*/ 399325 h 409100"/>
                <a:gd name="connsiteX72" fmla="*/ 10029 w 399880"/>
                <a:gd name="connsiteY72" fmla="*/ 391429 h 409100"/>
                <a:gd name="connsiteX73" fmla="*/ 51082 w 399880"/>
                <a:gd name="connsiteY73" fmla="*/ 391429 h 409100"/>
                <a:gd name="connsiteX74" fmla="*/ 51082 w 399880"/>
                <a:gd name="connsiteY74" fmla="*/ 178736 h 409100"/>
                <a:gd name="connsiteX75" fmla="*/ 8124 w 399880"/>
                <a:gd name="connsiteY75" fmla="*/ 178736 h 409100"/>
                <a:gd name="connsiteX76" fmla="*/ 28 w 399880"/>
                <a:gd name="connsiteY76" fmla="*/ 169211 h 409100"/>
                <a:gd name="connsiteX77" fmla="*/ 47 w 399880"/>
                <a:gd name="connsiteY77" fmla="*/ 169001 h 409100"/>
                <a:gd name="connsiteX78" fmla="*/ 10029 w 399880"/>
                <a:gd name="connsiteY78" fmla="*/ 161210 h 409100"/>
                <a:gd name="connsiteX79" fmla="*/ 59845 w 399880"/>
                <a:gd name="connsiteY79" fmla="*/ 161210 h 409100"/>
                <a:gd name="connsiteX80" fmla="*/ 68703 w 399880"/>
                <a:gd name="connsiteY80" fmla="*/ 169973 h 409100"/>
                <a:gd name="connsiteX81" fmla="*/ 68703 w 399880"/>
                <a:gd name="connsiteY81" fmla="*/ 180641 h 409100"/>
                <a:gd name="connsiteX82" fmla="*/ 123757 w 399880"/>
                <a:gd name="connsiteY82" fmla="*/ 180641 h 409100"/>
                <a:gd name="connsiteX83" fmla="*/ 125091 w 399880"/>
                <a:gd name="connsiteY83" fmla="*/ 179498 h 409100"/>
                <a:gd name="connsiteX84" fmla="*/ 212150 w 399880"/>
                <a:gd name="connsiteY84" fmla="*/ 17573 h 409100"/>
                <a:gd name="connsiteX85" fmla="*/ 212150 w 399880"/>
                <a:gd name="connsiteY85" fmla="*/ 16525 h 409100"/>
                <a:gd name="connsiteX86" fmla="*/ 236153 w 399880"/>
                <a:gd name="connsiteY86" fmla="*/ 237 h 409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</a:cxnLst>
              <a:rect l="l" t="t" r="r" b="b"/>
              <a:pathLst>
                <a:path w="399880" h="409100">
                  <a:moveTo>
                    <a:pt x="238057" y="18240"/>
                  </a:moveTo>
                  <a:cubicBezTo>
                    <a:pt x="234962" y="18640"/>
                    <a:pt x="232086" y="20040"/>
                    <a:pt x="229866" y="22240"/>
                  </a:cubicBezTo>
                  <a:lnTo>
                    <a:pt x="229009" y="23097"/>
                  </a:lnTo>
                  <a:lnTo>
                    <a:pt x="229009" y="24145"/>
                  </a:lnTo>
                  <a:cubicBezTo>
                    <a:pt x="218722" y="55673"/>
                    <a:pt x="153571" y="191880"/>
                    <a:pt x="127758" y="198548"/>
                  </a:cubicBezTo>
                  <a:lnTo>
                    <a:pt x="68894" y="198548"/>
                  </a:lnTo>
                  <a:lnTo>
                    <a:pt x="68894" y="372093"/>
                  </a:lnTo>
                  <a:lnTo>
                    <a:pt x="137379" y="372093"/>
                  </a:lnTo>
                  <a:cubicBezTo>
                    <a:pt x="139302" y="372141"/>
                    <a:pt x="141160" y="372779"/>
                    <a:pt x="142713" y="373903"/>
                  </a:cubicBezTo>
                  <a:cubicBezTo>
                    <a:pt x="159505" y="386076"/>
                    <a:pt x="179794" y="392486"/>
                    <a:pt x="200529" y="392191"/>
                  </a:cubicBezTo>
                  <a:lnTo>
                    <a:pt x="352929" y="392191"/>
                  </a:lnTo>
                  <a:lnTo>
                    <a:pt x="360359" y="392191"/>
                  </a:lnTo>
                  <a:lnTo>
                    <a:pt x="361121" y="392191"/>
                  </a:lnTo>
                  <a:cubicBezTo>
                    <a:pt x="366626" y="392277"/>
                    <a:pt x="371950" y="390229"/>
                    <a:pt x="375980" y="386476"/>
                  </a:cubicBezTo>
                  <a:cubicBezTo>
                    <a:pt x="380123" y="382685"/>
                    <a:pt x="382590" y="377418"/>
                    <a:pt x="382838" y="371808"/>
                  </a:cubicBezTo>
                  <a:cubicBezTo>
                    <a:pt x="383267" y="360044"/>
                    <a:pt x="374122" y="350129"/>
                    <a:pt x="362359" y="349614"/>
                  </a:cubicBezTo>
                  <a:lnTo>
                    <a:pt x="351214" y="349614"/>
                  </a:lnTo>
                  <a:cubicBezTo>
                    <a:pt x="349405" y="349624"/>
                    <a:pt x="347633" y="349052"/>
                    <a:pt x="346167" y="347995"/>
                  </a:cubicBezTo>
                  <a:cubicBezTo>
                    <a:pt x="343681" y="346319"/>
                    <a:pt x="342128" y="343566"/>
                    <a:pt x="341976" y="340566"/>
                  </a:cubicBezTo>
                  <a:cubicBezTo>
                    <a:pt x="341976" y="335670"/>
                    <a:pt x="345938" y="331707"/>
                    <a:pt x="350834" y="331707"/>
                  </a:cubicBezTo>
                  <a:lnTo>
                    <a:pt x="361692" y="331707"/>
                  </a:lnTo>
                  <a:cubicBezTo>
                    <a:pt x="373379" y="331193"/>
                    <a:pt x="382495" y="321401"/>
                    <a:pt x="382171" y="309704"/>
                  </a:cubicBezTo>
                  <a:cubicBezTo>
                    <a:pt x="382171" y="309695"/>
                    <a:pt x="382171" y="309695"/>
                    <a:pt x="382171" y="309686"/>
                  </a:cubicBezTo>
                  <a:cubicBezTo>
                    <a:pt x="381799" y="298008"/>
                    <a:pt x="372027" y="288854"/>
                    <a:pt x="360359" y="289226"/>
                  </a:cubicBezTo>
                  <a:lnTo>
                    <a:pt x="350834" y="289226"/>
                  </a:lnTo>
                  <a:cubicBezTo>
                    <a:pt x="346671" y="288788"/>
                    <a:pt x="343375" y="285502"/>
                    <a:pt x="342938" y="281329"/>
                  </a:cubicBezTo>
                  <a:cubicBezTo>
                    <a:pt x="342432" y="276462"/>
                    <a:pt x="345967" y="272109"/>
                    <a:pt x="350834" y="271604"/>
                  </a:cubicBezTo>
                  <a:lnTo>
                    <a:pt x="360359" y="271604"/>
                  </a:lnTo>
                  <a:cubicBezTo>
                    <a:pt x="371017" y="270890"/>
                    <a:pt x="379504" y="262403"/>
                    <a:pt x="380219" y="251745"/>
                  </a:cubicBezTo>
                  <a:cubicBezTo>
                    <a:pt x="381009" y="239982"/>
                    <a:pt x="372113" y="229818"/>
                    <a:pt x="360359" y="229028"/>
                  </a:cubicBezTo>
                  <a:lnTo>
                    <a:pt x="350834" y="229028"/>
                  </a:lnTo>
                  <a:cubicBezTo>
                    <a:pt x="348072" y="228075"/>
                    <a:pt x="345900" y="225903"/>
                    <a:pt x="344947" y="223141"/>
                  </a:cubicBezTo>
                  <a:cubicBezTo>
                    <a:pt x="343223" y="218169"/>
                    <a:pt x="345862" y="212750"/>
                    <a:pt x="350834" y="211026"/>
                  </a:cubicBezTo>
                  <a:lnTo>
                    <a:pt x="360454" y="211026"/>
                  </a:lnTo>
                  <a:cubicBezTo>
                    <a:pt x="371113" y="210311"/>
                    <a:pt x="379609" y="201824"/>
                    <a:pt x="380313" y="191166"/>
                  </a:cubicBezTo>
                  <a:cubicBezTo>
                    <a:pt x="381104" y="179402"/>
                    <a:pt x="372208" y="169239"/>
                    <a:pt x="360454" y="168449"/>
                  </a:cubicBezTo>
                  <a:lnTo>
                    <a:pt x="235010" y="168449"/>
                  </a:lnTo>
                  <a:cubicBezTo>
                    <a:pt x="234381" y="168544"/>
                    <a:pt x="233733" y="168544"/>
                    <a:pt x="233105" y="168449"/>
                  </a:cubicBezTo>
                  <a:cubicBezTo>
                    <a:pt x="228438" y="167106"/>
                    <a:pt x="225523" y="162476"/>
                    <a:pt x="226342" y="157686"/>
                  </a:cubicBezTo>
                  <a:cubicBezTo>
                    <a:pt x="233772" y="127777"/>
                    <a:pt x="251107" y="57197"/>
                    <a:pt x="251107" y="47672"/>
                  </a:cubicBezTo>
                  <a:lnTo>
                    <a:pt x="251107" y="46910"/>
                  </a:lnTo>
                  <a:cubicBezTo>
                    <a:pt x="252812" y="38204"/>
                    <a:pt x="251221" y="29165"/>
                    <a:pt x="246630" y="21573"/>
                  </a:cubicBezTo>
                  <a:lnTo>
                    <a:pt x="245773" y="20621"/>
                  </a:lnTo>
                  <a:cubicBezTo>
                    <a:pt x="243773" y="18573"/>
                    <a:pt x="240868" y="17677"/>
                    <a:pt x="238057" y="18240"/>
                  </a:cubicBezTo>
                  <a:close/>
                  <a:moveTo>
                    <a:pt x="236153" y="237"/>
                  </a:moveTo>
                  <a:cubicBezTo>
                    <a:pt x="244134" y="-839"/>
                    <a:pt x="252164" y="1799"/>
                    <a:pt x="257965" y="7381"/>
                  </a:cubicBezTo>
                  <a:cubicBezTo>
                    <a:pt x="266156" y="15477"/>
                    <a:pt x="269776" y="28622"/>
                    <a:pt x="268538" y="47005"/>
                  </a:cubicBezTo>
                  <a:cubicBezTo>
                    <a:pt x="268633" y="53577"/>
                    <a:pt x="261965" y="84629"/>
                    <a:pt x="247488" y="144636"/>
                  </a:cubicBezTo>
                  <a:lnTo>
                    <a:pt x="246059" y="150542"/>
                  </a:lnTo>
                  <a:lnTo>
                    <a:pt x="360739" y="150542"/>
                  </a:lnTo>
                  <a:cubicBezTo>
                    <a:pt x="370807" y="150456"/>
                    <a:pt x="380495" y="154361"/>
                    <a:pt x="387695" y="161400"/>
                  </a:cubicBezTo>
                  <a:cubicBezTo>
                    <a:pt x="387715" y="161419"/>
                    <a:pt x="387734" y="161429"/>
                    <a:pt x="387743" y="161448"/>
                  </a:cubicBezTo>
                  <a:cubicBezTo>
                    <a:pt x="403154" y="176307"/>
                    <a:pt x="403602" y="200853"/>
                    <a:pt x="388743" y="216264"/>
                  </a:cubicBezTo>
                  <a:lnTo>
                    <a:pt x="391886" y="219884"/>
                  </a:lnTo>
                  <a:lnTo>
                    <a:pt x="389029" y="222646"/>
                  </a:lnTo>
                  <a:cubicBezTo>
                    <a:pt x="403497" y="237629"/>
                    <a:pt x="403497" y="261384"/>
                    <a:pt x="389029" y="276367"/>
                  </a:cubicBezTo>
                  <a:lnTo>
                    <a:pt x="385886" y="279605"/>
                  </a:lnTo>
                  <a:lnTo>
                    <a:pt x="389029" y="282939"/>
                  </a:lnTo>
                  <a:cubicBezTo>
                    <a:pt x="403326" y="297922"/>
                    <a:pt x="403326" y="321487"/>
                    <a:pt x="389029" y="336470"/>
                  </a:cubicBezTo>
                  <a:lnTo>
                    <a:pt x="385886" y="339708"/>
                  </a:lnTo>
                  <a:lnTo>
                    <a:pt x="388934" y="343042"/>
                  </a:lnTo>
                  <a:cubicBezTo>
                    <a:pt x="395839" y="350348"/>
                    <a:pt x="399649" y="360025"/>
                    <a:pt x="399582" y="370074"/>
                  </a:cubicBezTo>
                  <a:cubicBezTo>
                    <a:pt x="399440" y="391591"/>
                    <a:pt x="381875" y="408917"/>
                    <a:pt x="360359" y="408765"/>
                  </a:cubicBezTo>
                  <a:lnTo>
                    <a:pt x="199291" y="408765"/>
                  </a:lnTo>
                  <a:cubicBezTo>
                    <a:pt x="176602" y="408888"/>
                    <a:pt x="154381" y="402259"/>
                    <a:pt x="135474" y="389715"/>
                  </a:cubicBezTo>
                  <a:lnTo>
                    <a:pt x="134235" y="388952"/>
                  </a:lnTo>
                  <a:lnTo>
                    <a:pt x="68703" y="388952"/>
                  </a:lnTo>
                  <a:lnTo>
                    <a:pt x="68703" y="400287"/>
                  </a:lnTo>
                  <a:cubicBezTo>
                    <a:pt x="68656" y="405145"/>
                    <a:pt x="64703" y="409050"/>
                    <a:pt x="59845" y="409050"/>
                  </a:cubicBezTo>
                  <a:lnTo>
                    <a:pt x="10029" y="409050"/>
                  </a:lnTo>
                  <a:cubicBezTo>
                    <a:pt x="9420" y="409117"/>
                    <a:pt x="8800" y="409117"/>
                    <a:pt x="8191" y="409050"/>
                  </a:cubicBezTo>
                  <a:cubicBezTo>
                    <a:pt x="3323" y="408545"/>
                    <a:pt x="-201" y="404193"/>
                    <a:pt x="304" y="399325"/>
                  </a:cubicBezTo>
                  <a:cubicBezTo>
                    <a:pt x="809" y="394458"/>
                    <a:pt x="5162" y="390924"/>
                    <a:pt x="10029" y="391429"/>
                  </a:cubicBezTo>
                  <a:lnTo>
                    <a:pt x="51082" y="391429"/>
                  </a:lnTo>
                  <a:lnTo>
                    <a:pt x="51082" y="178736"/>
                  </a:lnTo>
                  <a:lnTo>
                    <a:pt x="8124" y="178736"/>
                  </a:lnTo>
                  <a:cubicBezTo>
                    <a:pt x="3267" y="178336"/>
                    <a:pt x="-353" y="174078"/>
                    <a:pt x="28" y="169211"/>
                  </a:cubicBezTo>
                  <a:cubicBezTo>
                    <a:pt x="38" y="169144"/>
                    <a:pt x="47" y="169078"/>
                    <a:pt x="47" y="169001"/>
                  </a:cubicBezTo>
                  <a:cubicBezTo>
                    <a:pt x="657" y="164096"/>
                    <a:pt x="5124" y="160610"/>
                    <a:pt x="10029" y="161210"/>
                  </a:cubicBezTo>
                  <a:lnTo>
                    <a:pt x="59845" y="161210"/>
                  </a:lnTo>
                  <a:cubicBezTo>
                    <a:pt x="64703" y="161210"/>
                    <a:pt x="68656" y="165115"/>
                    <a:pt x="68703" y="169973"/>
                  </a:cubicBezTo>
                  <a:lnTo>
                    <a:pt x="68703" y="180641"/>
                  </a:lnTo>
                  <a:lnTo>
                    <a:pt x="123757" y="180641"/>
                  </a:lnTo>
                  <a:lnTo>
                    <a:pt x="125091" y="179498"/>
                  </a:lnTo>
                  <a:cubicBezTo>
                    <a:pt x="143474" y="163401"/>
                    <a:pt x="203196" y="49577"/>
                    <a:pt x="212150" y="17573"/>
                  </a:cubicBezTo>
                  <a:lnTo>
                    <a:pt x="212150" y="16525"/>
                  </a:lnTo>
                  <a:cubicBezTo>
                    <a:pt x="216731" y="7257"/>
                    <a:pt x="225847" y="1076"/>
                    <a:pt x="236153" y="237"/>
                  </a:cubicBez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8F9480B1-7B27-230A-9641-4D94AB72F074}"/>
              </a:ext>
            </a:extLst>
          </p:cNvPr>
          <p:cNvGrpSpPr/>
          <p:nvPr/>
        </p:nvGrpSpPr>
        <p:grpSpPr>
          <a:xfrm>
            <a:off x="8400577" y="3974198"/>
            <a:ext cx="491422" cy="663766"/>
            <a:chOff x="8400577" y="3974198"/>
            <a:chExt cx="491422" cy="663766"/>
          </a:xfrm>
        </p:grpSpPr>
        <p:grpSp>
          <p:nvGrpSpPr>
            <p:cNvPr id="25" name="Group 24">
              <a:extLst>
                <a:ext uri="{FF2B5EF4-FFF2-40B4-BE49-F238E27FC236}">
                  <a16:creationId xmlns:a16="http://schemas.microsoft.com/office/drawing/2014/main" id="{77F5EFB6-AA1E-A892-8157-DF93A66414CD}"/>
                </a:ext>
              </a:extLst>
            </p:cNvPr>
            <p:cNvGrpSpPr/>
            <p:nvPr/>
          </p:nvGrpSpPr>
          <p:grpSpPr>
            <a:xfrm>
              <a:off x="8400577" y="4356515"/>
              <a:ext cx="491422" cy="281449"/>
              <a:chOff x="6960939" y="1880042"/>
              <a:chExt cx="478103" cy="273822"/>
            </a:xfrm>
            <a:solidFill>
              <a:schemeClr val="bg2">
                <a:lumMod val="50000"/>
              </a:schemeClr>
            </a:solidFill>
          </p:grpSpPr>
          <p:sp>
            <p:nvSpPr>
              <p:cNvPr id="27" name="Freihandform: Form 924">
                <a:extLst>
                  <a:ext uri="{FF2B5EF4-FFF2-40B4-BE49-F238E27FC236}">
                    <a16:creationId xmlns:a16="http://schemas.microsoft.com/office/drawing/2014/main" id="{7DD33CC5-A62D-C76A-C131-511ADD298947}"/>
                  </a:ext>
                </a:extLst>
              </p:cNvPr>
              <p:cNvSpPr/>
              <p:nvPr/>
            </p:nvSpPr>
            <p:spPr>
              <a:xfrm>
                <a:off x="7046646" y="1880042"/>
                <a:ext cx="178498" cy="167380"/>
              </a:xfrm>
              <a:custGeom>
                <a:avLst/>
                <a:gdLst>
                  <a:gd name="connsiteX0" fmla="*/ 24768 w 178498"/>
                  <a:gd name="connsiteY0" fmla="*/ 167381 h 167380"/>
                  <a:gd name="connsiteX1" fmla="*/ 5015 w 178498"/>
                  <a:gd name="connsiteY1" fmla="*/ 167381 h 167380"/>
                  <a:gd name="connsiteX2" fmla="*/ 0 w 178498"/>
                  <a:gd name="connsiteY2" fmla="*/ 162366 h 167380"/>
                  <a:gd name="connsiteX3" fmla="*/ 0 w 178498"/>
                  <a:gd name="connsiteY3" fmla="*/ 39226 h 167380"/>
                  <a:gd name="connsiteX4" fmla="*/ 5015 w 178498"/>
                  <a:gd name="connsiteY4" fmla="*/ 34210 h 167380"/>
                  <a:gd name="connsiteX5" fmla="*/ 27570 w 178498"/>
                  <a:gd name="connsiteY5" fmla="*/ 34210 h 167380"/>
                  <a:gd name="connsiteX6" fmla="*/ 84671 w 178498"/>
                  <a:gd name="connsiteY6" fmla="*/ 0 h 167380"/>
                  <a:gd name="connsiteX7" fmla="*/ 151383 w 178498"/>
                  <a:gd name="connsiteY7" fmla="*/ 0 h 167380"/>
                  <a:gd name="connsiteX8" fmla="*/ 177972 w 178498"/>
                  <a:gd name="connsiteY8" fmla="*/ 13028 h 167380"/>
                  <a:gd name="connsiteX9" fmla="*/ 175731 w 178498"/>
                  <a:gd name="connsiteY9" fmla="*/ 19753 h 167380"/>
                  <a:gd name="connsiteX10" fmla="*/ 169006 w 178498"/>
                  <a:gd name="connsiteY10" fmla="*/ 17511 h 167380"/>
                  <a:gd name="connsiteX11" fmla="*/ 151383 w 178498"/>
                  <a:gd name="connsiteY11" fmla="*/ 10031 h 167380"/>
                  <a:gd name="connsiteX12" fmla="*/ 84671 w 178498"/>
                  <a:gd name="connsiteY12" fmla="*/ 10031 h 167380"/>
                  <a:gd name="connsiteX13" fmla="*/ 35163 w 178498"/>
                  <a:gd name="connsiteY13" fmla="*/ 41383 h 167380"/>
                  <a:gd name="connsiteX14" fmla="*/ 30624 w 178498"/>
                  <a:gd name="connsiteY14" fmla="*/ 44241 h 167380"/>
                  <a:gd name="connsiteX15" fmla="*/ 10003 w 178498"/>
                  <a:gd name="connsiteY15" fmla="*/ 44241 h 167380"/>
                  <a:gd name="connsiteX16" fmla="*/ 10003 w 178498"/>
                  <a:gd name="connsiteY16" fmla="*/ 157350 h 167380"/>
                  <a:gd name="connsiteX17" fmla="*/ 24740 w 178498"/>
                  <a:gd name="connsiteY17" fmla="*/ 157350 h 167380"/>
                  <a:gd name="connsiteX18" fmla="*/ 29755 w 178498"/>
                  <a:gd name="connsiteY18" fmla="*/ 162366 h 167380"/>
                  <a:gd name="connsiteX19" fmla="*/ 24768 w 178498"/>
                  <a:gd name="connsiteY19" fmla="*/ 167381 h 1673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178498" h="167380">
                    <a:moveTo>
                      <a:pt x="24768" y="167381"/>
                    </a:moveTo>
                    <a:lnTo>
                      <a:pt x="5015" y="167381"/>
                    </a:lnTo>
                    <a:cubicBezTo>
                      <a:pt x="2241" y="167381"/>
                      <a:pt x="0" y="165140"/>
                      <a:pt x="0" y="162366"/>
                    </a:cubicBezTo>
                    <a:lnTo>
                      <a:pt x="0" y="39226"/>
                    </a:lnTo>
                    <a:cubicBezTo>
                      <a:pt x="0" y="36452"/>
                      <a:pt x="2241" y="34210"/>
                      <a:pt x="5015" y="34210"/>
                    </a:cubicBezTo>
                    <a:lnTo>
                      <a:pt x="27570" y="34210"/>
                    </a:lnTo>
                    <a:cubicBezTo>
                      <a:pt x="38805" y="13337"/>
                      <a:pt x="60884" y="0"/>
                      <a:pt x="84671" y="0"/>
                    </a:cubicBezTo>
                    <a:lnTo>
                      <a:pt x="151383" y="0"/>
                    </a:lnTo>
                    <a:cubicBezTo>
                      <a:pt x="164887" y="0"/>
                      <a:pt x="173601" y="4259"/>
                      <a:pt x="177972" y="13028"/>
                    </a:cubicBezTo>
                    <a:cubicBezTo>
                      <a:pt x="179205" y="15494"/>
                      <a:pt x="178196" y="18520"/>
                      <a:pt x="175731" y="19753"/>
                    </a:cubicBezTo>
                    <a:cubicBezTo>
                      <a:pt x="173265" y="21014"/>
                      <a:pt x="170239" y="20005"/>
                      <a:pt x="169006" y="17511"/>
                    </a:cubicBezTo>
                    <a:cubicBezTo>
                      <a:pt x="167269" y="14037"/>
                      <a:pt x="163683" y="10031"/>
                      <a:pt x="151383" y="10031"/>
                    </a:cubicBezTo>
                    <a:lnTo>
                      <a:pt x="84671" y="10031"/>
                    </a:lnTo>
                    <a:cubicBezTo>
                      <a:pt x="63658" y="10031"/>
                      <a:pt x="44241" y="22331"/>
                      <a:pt x="35163" y="41383"/>
                    </a:cubicBezTo>
                    <a:cubicBezTo>
                      <a:pt x="34322" y="43120"/>
                      <a:pt x="32557" y="44241"/>
                      <a:pt x="30624" y="44241"/>
                    </a:cubicBezTo>
                    <a:lnTo>
                      <a:pt x="10003" y="44241"/>
                    </a:lnTo>
                    <a:lnTo>
                      <a:pt x="10003" y="157350"/>
                    </a:lnTo>
                    <a:lnTo>
                      <a:pt x="24740" y="157350"/>
                    </a:lnTo>
                    <a:cubicBezTo>
                      <a:pt x="27514" y="157350"/>
                      <a:pt x="29755" y="159592"/>
                      <a:pt x="29755" y="162366"/>
                    </a:cubicBezTo>
                    <a:cubicBezTo>
                      <a:pt x="29783" y="165140"/>
                      <a:pt x="27542" y="167381"/>
                      <a:pt x="24768" y="167381"/>
                    </a:cubicBezTo>
                    <a:close/>
                  </a:path>
                </a:pathLst>
              </a:custGeom>
              <a:grpFill/>
              <a:ln w="279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8" name="Freihandform: Form 925">
                <a:extLst>
                  <a:ext uri="{FF2B5EF4-FFF2-40B4-BE49-F238E27FC236}">
                    <a16:creationId xmlns:a16="http://schemas.microsoft.com/office/drawing/2014/main" id="{AE9F6C36-33EF-BBFD-962A-8FA43CA28B98}"/>
                  </a:ext>
                </a:extLst>
              </p:cNvPr>
              <p:cNvSpPr/>
              <p:nvPr/>
            </p:nvSpPr>
            <p:spPr>
              <a:xfrm>
                <a:off x="7230390" y="1890521"/>
                <a:ext cx="123280" cy="202824"/>
              </a:xfrm>
              <a:custGeom>
                <a:avLst/>
                <a:gdLst>
                  <a:gd name="connsiteX0" fmla="*/ 118265 w 123280"/>
                  <a:gd name="connsiteY0" fmla="*/ 202824 h 202824"/>
                  <a:gd name="connsiteX1" fmla="*/ 83158 w 123280"/>
                  <a:gd name="connsiteY1" fmla="*/ 202824 h 202824"/>
                  <a:gd name="connsiteX2" fmla="*/ 78143 w 123280"/>
                  <a:gd name="connsiteY2" fmla="*/ 197809 h 202824"/>
                  <a:gd name="connsiteX3" fmla="*/ 83158 w 123280"/>
                  <a:gd name="connsiteY3" fmla="*/ 192794 h 202824"/>
                  <a:gd name="connsiteX4" fmla="*/ 113250 w 123280"/>
                  <a:gd name="connsiteY4" fmla="*/ 192794 h 202824"/>
                  <a:gd name="connsiteX5" fmla="*/ 113250 w 123280"/>
                  <a:gd name="connsiteY5" fmla="*/ 62593 h 202824"/>
                  <a:gd name="connsiteX6" fmla="*/ 87557 w 123280"/>
                  <a:gd name="connsiteY6" fmla="*/ 62593 h 202824"/>
                  <a:gd name="connsiteX7" fmla="*/ 82570 w 123280"/>
                  <a:gd name="connsiteY7" fmla="*/ 58222 h 202824"/>
                  <a:gd name="connsiteX8" fmla="*/ 5015 w 123280"/>
                  <a:gd name="connsiteY8" fmla="*/ 10031 h 202824"/>
                  <a:gd name="connsiteX9" fmla="*/ 0 w 123280"/>
                  <a:gd name="connsiteY9" fmla="*/ 5015 h 202824"/>
                  <a:gd name="connsiteX10" fmla="*/ 5015 w 123280"/>
                  <a:gd name="connsiteY10" fmla="*/ 0 h 202824"/>
                  <a:gd name="connsiteX11" fmla="*/ 91816 w 123280"/>
                  <a:gd name="connsiteY11" fmla="*/ 52562 h 202824"/>
                  <a:gd name="connsiteX12" fmla="*/ 118265 w 123280"/>
                  <a:gd name="connsiteY12" fmla="*/ 52562 h 202824"/>
                  <a:gd name="connsiteX13" fmla="*/ 123280 w 123280"/>
                  <a:gd name="connsiteY13" fmla="*/ 57577 h 202824"/>
                  <a:gd name="connsiteX14" fmla="*/ 123280 w 123280"/>
                  <a:gd name="connsiteY14" fmla="*/ 197809 h 202824"/>
                  <a:gd name="connsiteX15" fmla="*/ 118265 w 123280"/>
                  <a:gd name="connsiteY15" fmla="*/ 202824 h 2028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123280" h="202824">
                    <a:moveTo>
                      <a:pt x="118265" y="202824"/>
                    </a:moveTo>
                    <a:lnTo>
                      <a:pt x="83158" y="202824"/>
                    </a:lnTo>
                    <a:cubicBezTo>
                      <a:pt x="80384" y="202824"/>
                      <a:pt x="78143" y="200583"/>
                      <a:pt x="78143" y="197809"/>
                    </a:cubicBezTo>
                    <a:cubicBezTo>
                      <a:pt x="78143" y="195035"/>
                      <a:pt x="80384" y="192794"/>
                      <a:pt x="83158" y="192794"/>
                    </a:cubicBezTo>
                    <a:lnTo>
                      <a:pt x="113250" y="192794"/>
                    </a:lnTo>
                    <a:lnTo>
                      <a:pt x="113250" y="62593"/>
                    </a:lnTo>
                    <a:lnTo>
                      <a:pt x="87557" y="62593"/>
                    </a:lnTo>
                    <a:cubicBezTo>
                      <a:pt x="85035" y="62593"/>
                      <a:pt x="82906" y="60716"/>
                      <a:pt x="82570" y="58222"/>
                    </a:cubicBezTo>
                    <a:cubicBezTo>
                      <a:pt x="78535" y="27150"/>
                      <a:pt x="50993" y="10031"/>
                      <a:pt x="5015" y="10031"/>
                    </a:cubicBezTo>
                    <a:cubicBezTo>
                      <a:pt x="2241" y="10031"/>
                      <a:pt x="0" y="7789"/>
                      <a:pt x="0" y="5015"/>
                    </a:cubicBezTo>
                    <a:cubicBezTo>
                      <a:pt x="0" y="2241"/>
                      <a:pt x="2241" y="0"/>
                      <a:pt x="5015" y="0"/>
                    </a:cubicBezTo>
                    <a:cubicBezTo>
                      <a:pt x="70130" y="0"/>
                      <a:pt x="87557" y="31128"/>
                      <a:pt x="91816" y="52562"/>
                    </a:cubicBezTo>
                    <a:lnTo>
                      <a:pt x="118265" y="52562"/>
                    </a:lnTo>
                    <a:cubicBezTo>
                      <a:pt x="121039" y="52562"/>
                      <a:pt x="123280" y="54804"/>
                      <a:pt x="123280" y="57577"/>
                    </a:cubicBezTo>
                    <a:lnTo>
                      <a:pt x="123280" y="197809"/>
                    </a:lnTo>
                    <a:cubicBezTo>
                      <a:pt x="123280" y="200555"/>
                      <a:pt x="121039" y="202824"/>
                      <a:pt x="118265" y="202824"/>
                    </a:cubicBezTo>
                    <a:close/>
                  </a:path>
                </a:pathLst>
              </a:custGeom>
              <a:grpFill/>
              <a:ln w="279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9" name="Freihandform: Form 926">
                <a:extLst>
                  <a:ext uri="{FF2B5EF4-FFF2-40B4-BE49-F238E27FC236}">
                    <a16:creationId xmlns:a16="http://schemas.microsoft.com/office/drawing/2014/main" id="{69423F8A-BE8C-16BD-E49C-0393CFF4025C}"/>
                  </a:ext>
                </a:extLst>
              </p:cNvPr>
              <p:cNvSpPr/>
              <p:nvPr/>
            </p:nvSpPr>
            <p:spPr>
              <a:xfrm>
                <a:off x="7343500" y="1931932"/>
                <a:ext cx="95542" cy="170799"/>
              </a:xfrm>
              <a:custGeom>
                <a:avLst/>
                <a:gdLst>
                  <a:gd name="connsiteX0" fmla="*/ 90527 w 95542"/>
                  <a:gd name="connsiteY0" fmla="*/ 170799 h 170799"/>
                  <a:gd name="connsiteX1" fmla="*/ 5015 w 95542"/>
                  <a:gd name="connsiteY1" fmla="*/ 170799 h 170799"/>
                  <a:gd name="connsiteX2" fmla="*/ 0 w 95542"/>
                  <a:gd name="connsiteY2" fmla="*/ 165784 h 170799"/>
                  <a:gd name="connsiteX3" fmla="*/ 0 w 95542"/>
                  <a:gd name="connsiteY3" fmla="*/ 5015 h 170799"/>
                  <a:gd name="connsiteX4" fmla="*/ 5015 w 95542"/>
                  <a:gd name="connsiteY4" fmla="*/ 0 h 170799"/>
                  <a:gd name="connsiteX5" fmla="*/ 90527 w 95542"/>
                  <a:gd name="connsiteY5" fmla="*/ 0 h 170799"/>
                  <a:gd name="connsiteX6" fmla="*/ 95542 w 95542"/>
                  <a:gd name="connsiteY6" fmla="*/ 5015 h 170799"/>
                  <a:gd name="connsiteX7" fmla="*/ 90527 w 95542"/>
                  <a:gd name="connsiteY7" fmla="*/ 10031 h 170799"/>
                  <a:gd name="connsiteX8" fmla="*/ 10031 w 95542"/>
                  <a:gd name="connsiteY8" fmla="*/ 10031 h 170799"/>
                  <a:gd name="connsiteX9" fmla="*/ 10031 w 95542"/>
                  <a:gd name="connsiteY9" fmla="*/ 160769 h 170799"/>
                  <a:gd name="connsiteX10" fmla="*/ 90527 w 95542"/>
                  <a:gd name="connsiteY10" fmla="*/ 160769 h 170799"/>
                  <a:gd name="connsiteX11" fmla="*/ 95542 w 95542"/>
                  <a:gd name="connsiteY11" fmla="*/ 165784 h 170799"/>
                  <a:gd name="connsiteX12" fmla="*/ 90527 w 95542"/>
                  <a:gd name="connsiteY12" fmla="*/ 170799 h 1707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95542" h="170799">
                    <a:moveTo>
                      <a:pt x="90527" y="170799"/>
                    </a:moveTo>
                    <a:lnTo>
                      <a:pt x="5015" y="170799"/>
                    </a:lnTo>
                    <a:cubicBezTo>
                      <a:pt x="2241" y="170799"/>
                      <a:pt x="0" y="168558"/>
                      <a:pt x="0" y="165784"/>
                    </a:cubicBezTo>
                    <a:lnTo>
                      <a:pt x="0" y="5015"/>
                    </a:lnTo>
                    <a:cubicBezTo>
                      <a:pt x="0" y="2241"/>
                      <a:pt x="2241" y="0"/>
                      <a:pt x="5015" y="0"/>
                    </a:cubicBezTo>
                    <a:lnTo>
                      <a:pt x="90527" y="0"/>
                    </a:lnTo>
                    <a:cubicBezTo>
                      <a:pt x="93301" y="0"/>
                      <a:pt x="95542" y="2241"/>
                      <a:pt x="95542" y="5015"/>
                    </a:cubicBezTo>
                    <a:cubicBezTo>
                      <a:pt x="95542" y="7789"/>
                      <a:pt x="93301" y="10031"/>
                      <a:pt x="90527" y="10031"/>
                    </a:cubicBezTo>
                    <a:lnTo>
                      <a:pt x="10031" y="10031"/>
                    </a:lnTo>
                    <a:lnTo>
                      <a:pt x="10031" y="160769"/>
                    </a:lnTo>
                    <a:lnTo>
                      <a:pt x="90527" y="160769"/>
                    </a:lnTo>
                    <a:cubicBezTo>
                      <a:pt x="93301" y="160769"/>
                      <a:pt x="95542" y="163010"/>
                      <a:pt x="95542" y="165784"/>
                    </a:cubicBezTo>
                    <a:cubicBezTo>
                      <a:pt x="95542" y="168558"/>
                      <a:pt x="93301" y="170799"/>
                      <a:pt x="90527" y="170799"/>
                    </a:cubicBezTo>
                    <a:close/>
                  </a:path>
                </a:pathLst>
              </a:custGeom>
              <a:grpFill/>
              <a:ln w="279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0" name="Freihandform: Form 927">
                <a:extLst>
                  <a:ext uri="{FF2B5EF4-FFF2-40B4-BE49-F238E27FC236}">
                    <a16:creationId xmlns:a16="http://schemas.microsoft.com/office/drawing/2014/main" id="{22378A0C-D526-5253-F65E-E77C2225E455}"/>
                  </a:ext>
                </a:extLst>
              </p:cNvPr>
              <p:cNvSpPr/>
              <p:nvPr/>
            </p:nvSpPr>
            <p:spPr>
              <a:xfrm>
                <a:off x="7202347" y="1962110"/>
                <a:ext cx="143190" cy="181163"/>
              </a:xfrm>
              <a:custGeom>
                <a:avLst/>
                <a:gdLst>
                  <a:gd name="connsiteX0" fmla="*/ 20786 w 143190"/>
                  <a:gd name="connsiteY0" fmla="*/ 181164 h 181163"/>
                  <a:gd name="connsiteX1" fmla="*/ 19385 w 143190"/>
                  <a:gd name="connsiteY1" fmla="*/ 181108 h 181163"/>
                  <a:gd name="connsiteX2" fmla="*/ 6385 w 143190"/>
                  <a:gd name="connsiteY2" fmla="*/ 174944 h 181163"/>
                  <a:gd name="connsiteX3" fmla="*/ 1258 w 143190"/>
                  <a:gd name="connsiteY3" fmla="*/ 169116 h 181163"/>
                  <a:gd name="connsiteX4" fmla="*/ 1706 w 143190"/>
                  <a:gd name="connsiteY4" fmla="*/ 162027 h 181163"/>
                  <a:gd name="connsiteX5" fmla="*/ 8767 w 143190"/>
                  <a:gd name="connsiteY5" fmla="*/ 162476 h 181163"/>
                  <a:gd name="connsiteX6" fmla="*/ 13894 w 143190"/>
                  <a:gd name="connsiteY6" fmla="*/ 168303 h 181163"/>
                  <a:gd name="connsiteX7" fmla="*/ 20002 w 143190"/>
                  <a:gd name="connsiteY7" fmla="*/ 171077 h 181163"/>
                  <a:gd name="connsiteX8" fmla="*/ 31321 w 143190"/>
                  <a:gd name="connsiteY8" fmla="*/ 166790 h 181163"/>
                  <a:gd name="connsiteX9" fmla="*/ 37009 w 143190"/>
                  <a:gd name="connsiteY9" fmla="*/ 156087 h 181163"/>
                  <a:gd name="connsiteX10" fmla="*/ 35020 w 143190"/>
                  <a:gd name="connsiteY10" fmla="*/ 149699 h 181163"/>
                  <a:gd name="connsiteX11" fmla="*/ 1454 w 143190"/>
                  <a:gd name="connsiteY11" fmla="*/ 111875 h 181163"/>
                  <a:gd name="connsiteX12" fmla="*/ 1874 w 143190"/>
                  <a:gd name="connsiteY12" fmla="*/ 104814 h 181163"/>
                  <a:gd name="connsiteX13" fmla="*/ 8935 w 143190"/>
                  <a:gd name="connsiteY13" fmla="*/ 105206 h 181163"/>
                  <a:gd name="connsiteX14" fmla="*/ 56398 w 143190"/>
                  <a:gd name="connsiteY14" fmla="*/ 157993 h 181163"/>
                  <a:gd name="connsiteX15" fmla="*/ 73853 w 143190"/>
                  <a:gd name="connsiteY15" fmla="*/ 156508 h 181163"/>
                  <a:gd name="connsiteX16" fmla="*/ 77551 w 143190"/>
                  <a:gd name="connsiteY16" fmla="*/ 139417 h 181163"/>
                  <a:gd name="connsiteX17" fmla="*/ 6973 w 143190"/>
                  <a:gd name="connsiteY17" fmla="*/ 59873 h 181163"/>
                  <a:gd name="connsiteX18" fmla="*/ 6581 w 143190"/>
                  <a:gd name="connsiteY18" fmla="*/ 53709 h 181163"/>
                  <a:gd name="connsiteX19" fmla="*/ 10560 w 143190"/>
                  <a:gd name="connsiteY19" fmla="*/ 51327 h 181163"/>
                  <a:gd name="connsiteX20" fmla="*/ 14762 w 143190"/>
                  <a:gd name="connsiteY20" fmla="*/ 52812 h 181163"/>
                  <a:gd name="connsiteX21" fmla="*/ 82903 w 143190"/>
                  <a:gd name="connsiteY21" fmla="*/ 130227 h 181163"/>
                  <a:gd name="connsiteX22" fmla="*/ 100330 w 143190"/>
                  <a:gd name="connsiteY22" fmla="*/ 128714 h 181163"/>
                  <a:gd name="connsiteX23" fmla="*/ 105850 w 143190"/>
                  <a:gd name="connsiteY23" fmla="*/ 119328 h 181163"/>
                  <a:gd name="connsiteX24" fmla="*/ 104029 w 143190"/>
                  <a:gd name="connsiteY24" fmla="*/ 111622 h 181163"/>
                  <a:gd name="connsiteX25" fmla="*/ 29080 w 143190"/>
                  <a:gd name="connsiteY25" fmla="*/ 27148 h 181163"/>
                  <a:gd name="connsiteX26" fmla="*/ 28659 w 143190"/>
                  <a:gd name="connsiteY26" fmla="*/ 21012 h 181163"/>
                  <a:gd name="connsiteX27" fmla="*/ 32638 w 143190"/>
                  <a:gd name="connsiteY27" fmla="*/ 18602 h 181163"/>
                  <a:gd name="connsiteX28" fmla="*/ 36841 w 143190"/>
                  <a:gd name="connsiteY28" fmla="*/ 20115 h 181163"/>
                  <a:gd name="connsiteX29" fmla="*/ 110052 w 143190"/>
                  <a:gd name="connsiteY29" fmla="*/ 103273 h 181163"/>
                  <a:gd name="connsiteX30" fmla="*/ 117449 w 143190"/>
                  <a:gd name="connsiteY30" fmla="*/ 106047 h 181163"/>
                  <a:gd name="connsiteX31" fmla="*/ 127452 w 143190"/>
                  <a:gd name="connsiteY31" fmla="*/ 101760 h 181163"/>
                  <a:gd name="connsiteX32" fmla="*/ 131178 w 143190"/>
                  <a:gd name="connsiteY32" fmla="*/ 84669 h 181163"/>
                  <a:gd name="connsiteX33" fmla="*/ 63458 w 143190"/>
                  <a:gd name="connsiteY33" fmla="*/ 8347 h 181163"/>
                  <a:gd name="connsiteX34" fmla="*/ 63878 w 143190"/>
                  <a:gd name="connsiteY34" fmla="*/ 1259 h 181163"/>
                  <a:gd name="connsiteX35" fmla="*/ 70967 w 143190"/>
                  <a:gd name="connsiteY35" fmla="*/ 1679 h 181163"/>
                  <a:gd name="connsiteX36" fmla="*/ 138715 w 143190"/>
                  <a:gd name="connsiteY36" fmla="*/ 78029 h 181163"/>
                  <a:gd name="connsiteX37" fmla="*/ 134120 w 143190"/>
                  <a:gd name="connsiteY37" fmla="*/ 109297 h 181163"/>
                  <a:gd name="connsiteX38" fmla="*/ 117925 w 143190"/>
                  <a:gd name="connsiteY38" fmla="*/ 116077 h 181163"/>
                  <a:gd name="connsiteX39" fmla="*/ 116048 w 143190"/>
                  <a:gd name="connsiteY39" fmla="*/ 116077 h 181163"/>
                  <a:gd name="connsiteX40" fmla="*/ 115740 w 143190"/>
                  <a:gd name="connsiteY40" fmla="*/ 121009 h 181163"/>
                  <a:gd name="connsiteX41" fmla="*/ 106942 w 143190"/>
                  <a:gd name="connsiteY41" fmla="*/ 136223 h 181163"/>
                  <a:gd name="connsiteX42" fmla="*/ 89403 w 143190"/>
                  <a:gd name="connsiteY42" fmla="*/ 143003 h 181163"/>
                  <a:gd name="connsiteX43" fmla="*/ 80437 w 143190"/>
                  <a:gd name="connsiteY43" fmla="*/ 164017 h 181163"/>
                  <a:gd name="connsiteX44" fmla="*/ 48861 w 143190"/>
                  <a:gd name="connsiteY44" fmla="*/ 164633 h 181163"/>
                  <a:gd name="connsiteX45" fmla="*/ 46115 w 143190"/>
                  <a:gd name="connsiteY45" fmla="*/ 161579 h 181163"/>
                  <a:gd name="connsiteX46" fmla="*/ 37905 w 143190"/>
                  <a:gd name="connsiteY46" fmla="*/ 174299 h 181163"/>
                  <a:gd name="connsiteX47" fmla="*/ 20786 w 143190"/>
                  <a:gd name="connsiteY47" fmla="*/ 181164 h 1811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</a:cxnLst>
                <a:rect l="l" t="t" r="r" b="b"/>
                <a:pathLst>
                  <a:path w="143190" h="181163">
                    <a:moveTo>
                      <a:pt x="20786" y="181164"/>
                    </a:moveTo>
                    <a:cubicBezTo>
                      <a:pt x="20310" y="181164"/>
                      <a:pt x="19862" y="181164"/>
                      <a:pt x="19385" y="181108"/>
                    </a:cubicBezTo>
                    <a:cubicBezTo>
                      <a:pt x="14202" y="180772"/>
                      <a:pt x="9579" y="178586"/>
                      <a:pt x="6385" y="174944"/>
                    </a:cubicBezTo>
                    <a:lnTo>
                      <a:pt x="1258" y="169116"/>
                    </a:lnTo>
                    <a:cubicBezTo>
                      <a:pt x="-592" y="167043"/>
                      <a:pt x="-367" y="163877"/>
                      <a:pt x="1706" y="162027"/>
                    </a:cubicBezTo>
                    <a:cubicBezTo>
                      <a:pt x="3779" y="160206"/>
                      <a:pt x="6945" y="160402"/>
                      <a:pt x="8767" y="162476"/>
                    </a:cubicBezTo>
                    <a:lnTo>
                      <a:pt x="13894" y="168303"/>
                    </a:lnTo>
                    <a:cubicBezTo>
                      <a:pt x="15743" y="170377"/>
                      <a:pt x="18237" y="170965"/>
                      <a:pt x="20002" y="171077"/>
                    </a:cubicBezTo>
                    <a:cubicBezTo>
                      <a:pt x="23896" y="171329"/>
                      <a:pt x="27959" y="169760"/>
                      <a:pt x="31321" y="166790"/>
                    </a:cubicBezTo>
                    <a:cubicBezTo>
                      <a:pt x="34683" y="163820"/>
                      <a:pt x="36757" y="159926"/>
                      <a:pt x="37009" y="156087"/>
                    </a:cubicBezTo>
                    <a:cubicBezTo>
                      <a:pt x="37121" y="154322"/>
                      <a:pt x="36869" y="151773"/>
                      <a:pt x="35020" y="149699"/>
                    </a:cubicBezTo>
                    <a:lnTo>
                      <a:pt x="1454" y="111875"/>
                    </a:lnTo>
                    <a:cubicBezTo>
                      <a:pt x="-367" y="109801"/>
                      <a:pt x="-199" y="106635"/>
                      <a:pt x="1874" y="104814"/>
                    </a:cubicBezTo>
                    <a:cubicBezTo>
                      <a:pt x="3947" y="102965"/>
                      <a:pt x="7113" y="103161"/>
                      <a:pt x="8935" y="105206"/>
                    </a:cubicBezTo>
                    <a:lnTo>
                      <a:pt x="56398" y="157993"/>
                    </a:lnTo>
                    <a:cubicBezTo>
                      <a:pt x="60152" y="162251"/>
                      <a:pt x="68109" y="161551"/>
                      <a:pt x="73853" y="156508"/>
                    </a:cubicBezTo>
                    <a:cubicBezTo>
                      <a:pt x="79569" y="151464"/>
                      <a:pt x="81278" y="143647"/>
                      <a:pt x="77551" y="139417"/>
                    </a:cubicBezTo>
                    <a:lnTo>
                      <a:pt x="6973" y="59873"/>
                    </a:lnTo>
                    <a:cubicBezTo>
                      <a:pt x="5432" y="58164"/>
                      <a:pt x="5292" y="55614"/>
                      <a:pt x="6581" y="53709"/>
                    </a:cubicBezTo>
                    <a:cubicBezTo>
                      <a:pt x="7450" y="52420"/>
                      <a:pt x="9019" y="51411"/>
                      <a:pt x="10560" y="51327"/>
                    </a:cubicBezTo>
                    <a:cubicBezTo>
                      <a:pt x="12045" y="51271"/>
                      <a:pt x="13754" y="51635"/>
                      <a:pt x="14762" y="52812"/>
                    </a:cubicBezTo>
                    <a:lnTo>
                      <a:pt x="82903" y="130227"/>
                    </a:lnTo>
                    <a:cubicBezTo>
                      <a:pt x="86629" y="134429"/>
                      <a:pt x="94586" y="133757"/>
                      <a:pt x="100330" y="128714"/>
                    </a:cubicBezTo>
                    <a:cubicBezTo>
                      <a:pt x="103300" y="126108"/>
                      <a:pt x="105261" y="122774"/>
                      <a:pt x="105850" y="119328"/>
                    </a:cubicBezTo>
                    <a:cubicBezTo>
                      <a:pt x="106382" y="116274"/>
                      <a:pt x="105738" y="113556"/>
                      <a:pt x="104029" y="111622"/>
                    </a:cubicBezTo>
                    <a:lnTo>
                      <a:pt x="29080" y="27148"/>
                    </a:lnTo>
                    <a:cubicBezTo>
                      <a:pt x="27567" y="25438"/>
                      <a:pt x="27399" y="22917"/>
                      <a:pt x="28659" y="21012"/>
                    </a:cubicBezTo>
                    <a:cubicBezTo>
                      <a:pt x="29528" y="19723"/>
                      <a:pt x="31069" y="18714"/>
                      <a:pt x="32638" y="18602"/>
                    </a:cubicBezTo>
                    <a:cubicBezTo>
                      <a:pt x="34207" y="18490"/>
                      <a:pt x="35832" y="18938"/>
                      <a:pt x="36841" y="20115"/>
                    </a:cubicBezTo>
                    <a:lnTo>
                      <a:pt x="110052" y="103273"/>
                    </a:lnTo>
                    <a:cubicBezTo>
                      <a:pt x="111762" y="105206"/>
                      <a:pt x="114423" y="106215"/>
                      <a:pt x="117449" y="106047"/>
                    </a:cubicBezTo>
                    <a:cubicBezTo>
                      <a:pt x="120923" y="105907"/>
                      <a:pt x="124482" y="104366"/>
                      <a:pt x="127452" y="101760"/>
                    </a:cubicBezTo>
                    <a:cubicBezTo>
                      <a:pt x="133195" y="96717"/>
                      <a:pt x="134877" y="88900"/>
                      <a:pt x="131178" y="84669"/>
                    </a:cubicBezTo>
                    <a:lnTo>
                      <a:pt x="63458" y="8347"/>
                    </a:lnTo>
                    <a:cubicBezTo>
                      <a:pt x="61609" y="6274"/>
                      <a:pt x="61805" y="3108"/>
                      <a:pt x="63878" y="1259"/>
                    </a:cubicBezTo>
                    <a:cubicBezTo>
                      <a:pt x="65952" y="-563"/>
                      <a:pt x="69118" y="-394"/>
                      <a:pt x="70967" y="1679"/>
                    </a:cubicBezTo>
                    <a:lnTo>
                      <a:pt x="138715" y="78029"/>
                    </a:lnTo>
                    <a:cubicBezTo>
                      <a:pt x="146168" y="86490"/>
                      <a:pt x="144095" y="100527"/>
                      <a:pt x="134120" y="109297"/>
                    </a:cubicBezTo>
                    <a:cubicBezTo>
                      <a:pt x="129441" y="113416"/>
                      <a:pt x="123669" y="115825"/>
                      <a:pt x="117925" y="116077"/>
                    </a:cubicBezTo>
                    <a:cubicBezTo>
                      <a:pt x="117281" y="116105"/>
                      <a:pt x="116665" y="116105"/>
                      <a:pt x="116048" y="116077"/>
                    </a:cubicBezTo>
                    <a:cubicBezTo>
                      <a:pt x="116132" y="117674"/>
                      <a:pt x="116048" y="119328"/>
                      <a:pt x="115740" y="121009"/>
                    </a:cubicBezTo>
                    <a:cubicBezTo>
                      <a:pt x="114760" y="126696"/>
                      <a:pt x="111649" y="132104"/>
                      <a:pt x="106942" y="136223"/>
                    </a:cubicBezTo>
                    <a:cubicBezTo>
                      <a:pt x="101731" y="140818"/>
                      <a:pt x="95399" y="143087"/>
                      <a:pt x="89403" y="143003"/>
                    </a:cubicBezTo>
                    <a:cubicBezTo>
                      <a:pt x="90131" y="150232"/>
                      <a:pt x="86993" y="158245"/>
                      <a:pt x="80437" y="164017"/>
                    </a:cubicBezTo>
                    <a:cubicBezTo>
                      <a:pt x="70463" y="172786"/>
                      <a:pt x="56313" y="173067"/>
                      <a:pt x="48861" y="164633"/>
                    </a:cubicBezTo>
                    <a:lnTo>
                      <a:pt x="46115" y="161579"/>
                    </a:lnTo>
                    <a:cubicBezTo>
                      <a:pt x="44770" y="166314"/>
                      <a:pt x="41912" y="170797"/>
                      <a:pt x="37905" y="174299"/>
                    </a:cubicBezTo>
                    <a:cubicBezTo>
                      <a:pt x="33030" y="178726"/>
                      <a:pt x="26838" y="181164"/>
                      <a:pt x="20786" y="181164"/>
                    </a:cubicBezTo>
                    <a:close/>
                  </a:path>
                </a:pathLst>
              </a:custGeom>
              <a:grpFill/>
              <a:ln w="279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grpSp>
            <p:nvGrpSpPr>
              <p:cNvPr id="31" name="Grafik 39">
                <a:extLst>
                  <a:ext uri="{FF2B5EF4-FFF2-40B4-BE49-F238E27FC236}">
                    <a16:creationId xmlns:a16="http://schemas.microsoft.com/office/drawing/2014/main" id="{F979290D-71E0-8705-8C3F-706346817632}"/>
                  </a:ext>
                </a:extLst>
              </p:cNvPr>
              <p:cNvGrpSpPr/>
              <p:nvPr/>
            </p:nvGrpSpPr>
            <p:grpSpPr>
              <a:xfrm>
                <a:off x="7059039" y="2010542"/>
                <a:ext cx="169346" cy="143322"/>
                <a:chOff x="7059039" y="2010542"/>
                <a:chExt cx="169346" cy="143322"/>
              </a:xfrm>
              <a:grpFill/>
            </p:grpSpPr>
            <p:grpSp>
              <p:nvGrpSpPr>
                <p:cNvPr id="34" name="Grafik 39">
                  <a:extLst>
                    <a:ext uri="{FF2B5EF4-FFF2-40B4-BE49-F238E27FC236}">
                      <a16:creationId xmlns:a16="http://schemas.microsoft.com/office/drawing/2014/main" id="{D7ADAF50-6A57-0E36-C511-7671527EDF46}"/>
                    </a:ext>
                  </a:extLst>
                </p:cNvPr>
                <p:cNvGrpSpPr/>
                <p:nvPr/>
              </p:nvGrpSpPr>
              <p:grpSpPr>
                <a:xfrm>
                  <a:off x="7059039" y="2010542"/>
                  <a:ext cx="151733" cy="121860"/>
                  <a:chOff x="7059039" y="2010542"/>
                  <a:chExt cx="151733" cy="121860"/>
                </a:xfrm>
                <a:grpFill/>
              </p:grpSpPr>
              <p:sp>
                <p:nvSpPr>
                  <p:cNvPr id="36" name="Freihandform: Form 930">
                    <a:extLst>
                      <a:ext uri="{FF2B5EF4-FFF2-40B4-BE49-F238E27FC236}">
                        <a16:creationId xmlns:a16="http://schemas.microsoft.com/office/drawing/2014/main" id="{8D2A4F47-F4B5-EB22-CCAD-9CC9E015DBA5}"/>
                      </a:ext>
                    </a:extLst>
                  </p:cNvPr>
                  <p:cNvSpPr/>
                  <p:nvPr/>
                </p:nvSpPr>
                <p:spPr>
                  <a:xfrm>
                    <a:off x="7059039" y="2010542"/>
                    <a:ext cx="66207" cy="71960"/>
                  </a:xfrm>
                  <a:custGeom>
                    <a:avLst/>
                    <a:gdLst>
                      <a:gd name="connsiteX0" fmla="*/ 26329 w 66207"/>
                      <a:gd name="connsiteY0" fmla="*/ 71960 h 71960"/>
                      <a:gd name="connsiteX1" fmla="*/ 11115 w 66207"/>
                      <a:gd name="connsiteY1" fmla="*/ 67057 h 71960"/>
                      <a:gd name="connsiteX2" fmla="*/ 580 w 66207"/>
                      <a:gd name="connsiteY2" fmla="*/ 51395 h 71960"/>
                      <a:gd name="connsiteX3" fmla="*/ 4054 w 66207"/>
                      <a:gd name="connsiteY3" fmla="*/ 33407 h 71960"/>
                      <a:gd name="connsiteX4" fmla="*/ 21033 w 66207"/>
                      <a:gd name="connsiteY4" fmla="*/ 9423 h 71960"/>
                      <a:gd name="connsiteX5" fmla="*/ 36835 w 66207"/>
                      <a:gd name="connsiteY5" fmla="*/ 177 h 71960"/>
                      <a:gd name="connsiteX6" fmla="*/ 55103 w 66207"/>
                      <a:gd name="connsiteY6" fmla="*/ 4912 h 71960"/>
                      <a:gd name="connsiteX7" fmla="*/ 65862 w 66207"/>
                      <a:gd name="connsiteY7" fmla="*/ 21723 h 71960"/>
                      <a:gd name="connsiteX8" fmla="*/ 62164 w 66207"/>
                      <a:gd name="connsiteY8" fmla="*/ 38562 h 71960"/>
                      <a:gd name="connsiteX9" fmla="*/ 45185 w 66207"/>
                      <a:gd name="connsiteY9" fmla="*/ 62546 h 71960"/>
                      <a:gd name="connsiteX10" fmla="*/ 26329 w 66207"/>
                      <a:gd name="connsiteY10" fmla="*/ 71960 h 71960"/>
                      <a:gd name="connsiteX11" fmla="*/ 39861 w 66207"/>
                      <a:gd name="connsiteY11" fmla="*/ 10040 h 71960"/>
                      <a:gd name="connsiteX12" fmla="*/ 38040 w 66207"/>
                      <a:gd name="connsiteY12" fmla="*/ 10152 h 71960"/>
                      <a:gd name="connsiteX13" fmla="*/ 29214 w 66207"/>
                      <a:gd name="connsiteY13" fmla="*/ 15251 h 71960"/>
                      <a:gd name="connsiteX14" fmla="*/ 12235 w 66207"/>
                      <a:gd name="connsiteY14" fmla="*/ 39235 h 71960"/>
                      <a:gd name="connsiteX15" fmla="*/ 10358 w 66207"/>
                      <a:gd name="connsiteY15" fmla="*/ 49265 h 71960"/>
                      <a:gd name="connsiteX16" fmla="*/ 16886 w 66207"/>
                      <a:gd name="connsiteY16" fmla="*/ 58875 h 71960"/>
                      <a:gd name="connsiteX17" fmla="*/ 36975 w 66207"/>
                      <a:gd name="connsiteY17" fmla="*/ 56746 h 71960"/>
                      <a:gd name="connsiteX18" fmla="*/ 53954 w 66207"/>
                      <a:gd name="connsiteY18" fmla="*/ 32790 h 71960"/>
                      <a:gd name="connsiteX19" fmla="*/ 53954 w 66207"/>
                      <a:gd name="connsiteY19" fmla="*/ 32790 h 71960"/>
                      <a:gd name="connsiteX20" fmla="*/ 55944 w 66207"/>
                      <a:gd name="connsiteY20" fmla="*/ 23460 h 71960"/>
                      <a:gd name="connsiteX21" fmla="*/ 49275 w 66207"/>
                      <a:gd name="connsiteY21" fmla="*/ 13150 h 71960"/>
                      <a:gd name="connsiteX22" fmla="*/ 39861 w 66207"/>
                      <a:gd name="connsiteY22" fmla="*/ 10040 h 7196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</a:cxnLst>
                    <a:rect l="l" t="t" r="r" b="b"/>
                    <a:pathLst>
                      <a:path w="66207" h="71960">
                        <a:moveTo>
                          <a:pt x="26329" y="71960"/>
                        </a:moveTo>
                        <a:cubicBezTo>
                          <a:pt x="21117" y="71960"/>
                          <a:pt x="15794" y="70363"/>
                          <a:pt x="11115" y="67057"/>
                        </a:cubicBezTo>
                        <a:cubicBezTo>
                          <a:pt x="5707" y="63218"/>
                          <a:pt x="1953" y="57671"/>
                          <a:pt x="580" y="51395"/>
                        </a:cubicBezTo>
                        <a:cubicBezTo>
                          <a:pt x="-849" y="44978"/>
                          <a:pt x="384" y="38590"/>
                          <a:pt x="4054" y="33407"/>
                        </a:cubicBezTo>
                        <a:lnTo>
                          <a:pt x="21033" y="9423"/>
                        </a:lnTo>
                        <a:cubicBezTo>
                          <a:pt x="24703" y="4240"/>
                          <a:pt x="30307" y="962"/>
                          <a:pt x="36835" y="177"/>
                        </a:cubicBezTo>
                        <a:cubicBezTo>
                          <a:pt x="43251" y="-579"/>
                          <a:pt x="49696" y="1102"/>
                          <a:pt x="55103" y="4912"/>
                        </a:cubicBezTo>
                        <a:cubicBezTo>
                          <a:pt x="60819" y="8975"/>
                          <a:pt x="64742" y="15083"/>
                          <a:pt x="65862" y="21723"/>
                        </a:cubicBezTo>
                        <a:cubicBezTo>
                          <a:pt x="66899" y="27747"/>
                          <a:pt x="65582" y="33743"/>
                          <a:pt x="62164" y="38562"/>
                        </a:cubicBezTo>
                        <a:lnTo>
                          <a:pt x="45185" y="62546"/>
                        </a:lnTo>
                        <a:cubicBezTo>
                          <a:pt x="40814" y="68710"/>
                          <a:pt x="33725" y="71960"/>
                          <a:pt x="26329" y="71960"/>
                        </a:cubicBezTo>
                        <a:close/>
                        <a:moveTo>
                          <a:pt x="39861" y="10040"/>
                        </a:moveTo>
                        <a:cubicBezTo>
                          <a:pt x="39245" y="10040"/>
                          <a:pt x="38657" y="10068"/>
                          <a:pt x="38040" y="10152"/>
                        </a:cubicBezTo>
                        <a:cubicBezTo>
                          <a:pt x="34342" y="10600"/>
                          <a:pt x="31204" y="12421"/>
                          <a:pt x="29214" y="15251"/>
                        </a:cubicBezTo>
                        <a:lnTo>
                          <a:pt x="12235" y="39235"/>
                        </a:lnTo>
                        <a:cubicBezTo>
                          <a:pt x="10218" y="42065"/>
                          <a:pt x="9574" y="45623"/>
                          <a:pt x="10358" y="49265"/>
                        </a:cubicBezTo>
                        <a:cubicBezTo>
                          <a:pt x="11199" y="53076"/>
                          <a:pt x="13524" y="56494"/>
                          <a:pt x="16886" y="58875"/>
                        </a:cubicBezTo>
                        <a:cubicBezTo>
                          <a:pt x="23723" y="63695"/>
                          <a:pt x="32717" y="62770"/>
                          <a:pt x="36975" y="56746"/>
                        </a:cubicBezTo>
                        <a:lnTo>
                          <a:pt x="53954" y="32790"/>
                        </a:lnTo>
                        <a:cubicBezTo>
                          <a:pt x="53954" y="32790"/>
                          <a:pt x="53954" y="32790"/>
                          <a:pt x="53954" y="32790"/>
                        </a:cubicBezTo>
                        <a:cubicBezTo>
                          <a:pt x="55832" y="30157"/>
                          <a:pt x="56532" y="26823"/>
                          <a:pt x="55944" y="23460"/>
                        </a:cubicBezTo>
                        <a:cubicBezTo>
                          <a:pt x="55271" y="19426"/>
                          <a:pt x="52834" y="15671"/>
                          <a:pt x="49275" y="13150"/>
                        </a:cubicBezTo>
                        <a:cubicBezTo>
                          <a:pt x="46446" y="11104"/>
                          <a:pt x="43139" y="10040"/>
                          <a:pt x="39861" y="10040"/>
                        </a:cubicBezTo>
                        <a:close/>
                      </a:path>
                    </a:pathLst>
                  </a:custGeom>
                  <a:grpFill/>
                  <a:ln w="2793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37" name="Freihandform: Form 931">
                    <a:extLst>
                      <a:ext uri="{FF2B5EF4-FFF2-40B4-BE49-F238E27FC236}">
                        <a16:creationId xmlns:a16="http://schemas.microsoft.com/office/drawing/2014/main" id="{EAAE7899-F435-8BC0-A989-5B7D7837A67C}"/>
                      </a:ext>
                    </a:extLst>
                  </p:cNvPr>
                  <p:cNvSpPr/>
                  <p:nvPr/>
                </p:nvSpPr>
                <p:spPr>
                  <a:xfrm>
                    <a:off x="7093162" y="2016905"/>
                    <a:ext cx="79548" cy="90056"/>
                  </a:xfrm>
                  <a:custGeom>
                    <a:avLst/>
                    <a:gdLst>
                      <a:gd name="connsiteX0" fmla="*/ 27005 w 79548"/>
                      <a:gd name="connsiteY0" fmla="*/ 90057 h 90056"/>
                      <a:gd name="connsiteX1" fmla="*/ 11427 w 79548"/>
                      <a:gd name="connsiteY1" fmla="*/ 85070 h 90056"/>
                      <a:gd name="connsiteX2" fmla="*/ 387 w 79548"/>
                      <a:gd name="connsiteY2" fmla="*/ 67558 h 90056"/>
                      <a:gd name="connsiteX3" fmla="*/ 4982 w 79548"/>
                      <a:gd name="connsiteY3" fmla="*/ 47385 h 90056"/>
                      <a:gd name="connsiteX4" fmla="*/ 30423 w 79548"/>
                      <a:gd name="connsiteY4" fmla="*/ 11438 h 90056"/>
                      <a:gd name="connsiteX5" fmla="*/ 47934 w 79548"/>
                      <a:gd name="connsiteY5" fmla="*/ 399 h 90056"/>
                      <a:gd name="connsiteX6" fmla="*/ 68107 w 79548"/>
                      <a:gd name="connsiteY6" fmla="*/ 4994 h 90056"/>
                      <a:gd name="connsiteX7" fmla="*/ 79147 w 79548"/>
                      <a:gd name="connsiteY7" fmla="*/ 22505 h 90056"/>
                      <a:gd name="connsiteX8" fmla="*/ 74580 w 79548"/>
                      <a:gd name="connsiteY8" fmla="*/ 42678 h 90056"/>
                      <a:gd name="connsiteX9" fmla="*/ 49139 w 79548"/>
                      <a:gd name="connsiteY9" fmla="*/ 78626 h 90056"/>
                      <a:gd name="connsiteX10" fmla="*/ 31628 w 79548"/>
                      <a:gd name="connsiteY10" fmla="*/ 89665 h 90056"/>
                      <a:gd name="connsiteX11" fmla="*/ 27005 w 79548"/>
                      <a:gd name="connsiteY11" fmla="*/ 90057 h 90056"/>
                      <a:gd name="connsiteX12" fmla="*/ 52557 w 79548"/>
                      <a:gd name="connsiteY12" fmla="*/ 10037 h 90056"/>
                      <a:gd name="connsiteX13" fmla="*/ 49644 w 79548"/>
                      <a:gd name="connsiteY13" fmla="*/ 10289 h 90056"/>
                      <a:gd name="connsiteX14" fmla="*/ 38632 w 79548"/>
                      <a:gd name="connsiteY14" fmla="*/ 17238 h 90056"/>
                      <a:gd name="connsiteX15" fmla="*/ 13192 w 79548"/>
                      <a:gd name="connsiteY15" fmla="*/ 53185 h 90056"/>
                      <a:gd name="connsiteX16" fmla="*/ 13192 w 79548"/>
                      <a:gd name="connsiteY16" fmla="*/ 53185 h 90056"/>
                      <a:gd name="connsiteX17" fmla="*/ 10306 w 79548"/>
                      <a:gd name="connsiteY17" fmla="*/ 65877 h 90056"/>
                      <a:gd name="connsiteX18" fmla="*/ 17226 w 79548"/>
                      <a:gd name="connsiteY18" fmla="*/ 76888 h 90056"/>
                      <a:gd name="connsiteX19" fmla="*/ 29919 w 79548"/>
                      <a:gd name="connsiteY19" fmla="*/ 79774 h 90056"/>
                      <a:gd name="connsiteX20" fmla="*/ 40930 w 79548"/>
                      <a:gd name="connsiteY20" fmla="*/ 72826 h 90056"/>
                      <a:gd name="connsiteX21" fmla="*/ 66370 w 79548"/>
                      <a:gd name="connsiteY21" fmla="*/ 36878 h 90056"/>
                      <a:gd name="connsiteX22" fmla="*/ 69256 w 79548"/>
                      <a:gd name="connsiteY22" fmla="*/ 24186 h 90056"/>
                      <a:gd name="connsiteX23" fmla="*/ 62308 w 79548"/>
                      <a:gd name="connsiteY23" fmla="*/ 13175 h 90056"/>
                      <a:gd name="connsiteX24" fmla="*/ 52557 w 79548"/>
                      <a:gd name="connsiteY24" fmla="*/ 10037 h 90056"/>
                      <a:gd name="connsiteX25" fmla="*/ 9101 w 79548"/>
                      <a:gd name="connsiteY25" fmla="*/ 50271 h 90056"/>
                      <a:gd name="connsiteX26" fmla="*/ 9157 w 79548"/>
                      <a:gd name="connsiteY26" fmla="*/ 50271 h 90056"/>
                      <a:gd name="connsiteX27" fmla="*/ 9101 w 79548"/>
                      <a:gd name="connsiteY27" fmla="*/ 50271 h 9005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  <a:cxn ang="0">
                        <a:pos x="connsiteX25" y="connsiteY25"/>
                      </a:cxn>
                      <a:cxn ang="0">
                        <a:pos x="connsiteX26" y="connsiteY26"/>
                      </a:cxn>
                      <a:cxn ang="0">
                        <a:pos x="connsiteX27" y="connsiteY27"/>
                      </a:cxn>
                    </a:cxnLst>
                    <a:rect l="l" t="t" r="r" b="b"/>
                    <a:pathLst>
                      <a:path w="79548" h="90056">
                        <a:moveTo>
                          <a:pt x="27005" y="90057"/>
                        </a:moveTo>
                        <a:cubicBezTo>
                          <a:pt x="21457" y="90057"/>
                          <a:pt x="16050" y="88348"/>
                          <a:pt x="11427" y="85070"/>
                        </a:cubicBezTo>
                        <a:cubicBezTo>
                          <a:pt x="5543" y="80895"/>
                          <a:pt x="1620" y="74675"/>
                          <a:pt x="387" y="67558"/>
                        </a:cubicBezTo>
                        <a:cubicBezTo>
                          <a:pt x="-817" y="60442"/>
                          <a:pt x="808" y="53269"/>
                          <a:pt x="4982" y="47385"/>
                        </a:cubicBezTo>
                        <a:lnTo>
                          <a:pt x="30423" y="11438"/>
                        </a:lnTo>
                        <a:cubicBezTo>
                          <a:pt x="34598" y="5554"/>
                          <a:pt x="40818" y="1631"/>
                          <a:pt x="47934" y="399"/>
                        </a:cubicBezTo>
                        <a:cubicBezTo>
                          <a:pt x="55051" y="-834"/>
                          <a:pt x="62224" y="819"/>
                          <a:pt x="68107" y="4994"/>
                        </a:cubicBezTo>
                        <a:cubicBezTo>
                          <a:pt x="73991" y="9168"/>
                          <a:pt x="77914" y="15388"/>
                          <a:pt x="79147" y="22505"/>
                        </a:cubicBezTo>
                        <a:cubicBezTo>
                          <a:pt x="80379" y="29622"/>
                          <a:pt x="78755" y="36794"/>
                          <a:pt x="74580" y="42678"/>
                        </a:cubicBezTo>
                        <a:lnTo>
                          <a:pt x="49139" y="78626"/>
                        </a:lnTo>
                        <a:cubicBezTo>
                          <a:pt x="44965" y="84509"/>
                          <a:pt x="38744" y="88432"/>
                          <a:pt x="31628" y="89665"/>
                        </a:cubicBezTo>
                        <a:cubicBezTo>
                          <a:pt x="30087" y="89917"/>
                          <a:pt x="28518" y="90057"/>
                          <a:pt x="27005" y="90057"/>
                        </a:cubicBezTo>
                        <a:close/>
                        <a:moveTo>
                          <a:pt x="52557" y="10037"/>
                        </a:moveTo>
                        <a:cubicBezTo>
                          <a:pt x="51605" y="10037"/>
                          <a:pt x="50624" y="10121"/>
                          <a:pt x="49644" y="10289"/>
                        </a:cubicBezTo>
                        <a:cubicBezTo>
                          <a:pt x="45161" y="11046"/>
                          <a:pt x="41266" y="13511"/>
                          <a:pt x="38632" y="17238"/>
                        </a:cubicBezTo>
                        <a:lnTo>
                          <a:pt x="13192" y="53185"/>
                        </a:lnTo>
                        <a:cubicBezTo>
                          <a:pt x="13192" y="53185"/>
                          <a:pt x="13192" y="53185"/>
                          <a:pt x="13192" y="53185"/>
                        </a:cubicBezTo>
                        <a:cubicBezTo>
                          <a:pt x="10558" y="56883"/>
                          <a:pt x="9521" y="61394"/>
                          <a:pt x="10306" y="65877"/>
                        </a:cubicBezTo>
                        <a:cubicBezTo>
                          <a:pt x="11062" y="70360"/>
                          <a:pt x="13528" y="74255"/>
                          <a:pt x="17226" y="76888"/>
                        </a:cubicBezTo>
                        <a:cubicBezTo>
                          <a:pt x="20925" y="79522"/>
                          <a:pt x="25436" y="80531"/>
                          <a:pt x="29919" y="79774"/>
                        </a:cubicBezTo>
                        <a:cubicBezTo>
                          <a:pt x="34402" y="79018"/>
                          <a:pt x="38324" y="76552"/>
                          <a:pt x="40930" y="72826"/>
                        </a:cubicBezTo>
                        <a:lnTo>
                          <a:pt x="66370" y="36878"/>
                        </a:lnTo>
                        <a:cubicBezTo>
                          <a:pt x="69004" y="33180"/>
                          <a:pt x="70013" y="28669"/>
                          <a:pt x="69256" y="24186"/>
                        </a:cubicBezTo>
                        <a:cubicBezTo>
                          <a:pt x="68500" y="19703"/>
                          <a:pt x="66034" y="15781"/>
                          <a:pt x="62308" y="13175"/>
                        </a:cubicBezTo>
                        <a:cubicBezTo>
                          <a:pt x="59422" y="11102"/>
                          <a:pt x="56032" y="10037"/>
                          <a:pt x="52557" y="10037"/>
                        </a:cubicBezTo>
                        <a:close/>
                        <a:moveTo>
                          <a:pt x="9101" y="50271"/>
                        </a:moveTo>
                        <a:lnTo>
                          <a:pt x="9157" y="50271"/>
                        </a:lnTo>
                        <a:lnTo>
                          <a:pt x="9101" y="50271"/>
                        </a:lnTo>
                        <a:close/>
                      </a:path>
                    </a:pathLst>
                  </a:custGeom>
                  <a:grpFill/>
                  <a:ln w="2793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38" name="Freihandform: Form 932">
                    <a:extLst>
                      <a:ext uri="{FF2B5EF4-FFF2-40B4-BE49-F238E27FC236}">
                        <a16:creationId xmlns:a16="http://schemas.microsoft.com/office/drawing/2014/main" id="{CCAAB222-5AD6-19A5-8EEE-2D723BD85EBA}"/>
                      </a:ext>
                    </a:extLst>
                  </p:cNvPr>
                  <p:cNvSpPr/>
                  <p:nvPr/>
                </p:nvSpPr>
                <p:spPr>
                  <a:xfrm>
                    <a:off x="7129126" y="2039388"/>
                    <a:ext cx="81646" cy="93014"/>
                  </a:xfrm>
                  <a:custGeom>
                    <a:avLst/>
                    <a:gdLst>
                      <a:gd name="connsiteX0" fmla="*/ 26988 w 81646"/>
                      <a:gd name="connsiteY0" fmla="*/ 93015 h 93014"/>
                      <a:gd name="connsiteX1" fmla="*/ 11410 w 81646"/>
                      <a:gd name="connsiteY1" fmla="*/ 88028 h 93014"/>
                      <a:gd name="connsiteX2" fmla="*/ 4966 w 81646"/>
                      <a:gd name="connsiteY2" fmla="*/ 50343 h 93014"/>
                      <a:gd name="connsiteX3" fmla="*/ 4966 w 81646"/>
                      <a:gd name="connsiteY3" fmla="*/ 50343 h 93014"/>
                      <a:gd name="connsiteX4" fmla="*/ 32536 w 81646"/>
                      <a:gd name="connsiteY4" fmla="*/ 11398 h 93014"/>
                      <a:gd name="connsiteX5" fmla="*/ 70220 w 81646"/>
                      <a:gd name="connsiteY5" fmla="*/ 4953 h 93014"/>
                      <a:gd name="connsiteX6" fmla="*/ 81259 w 81646"/>
                      <a:gd name="connsiteY6" fmla="*/ 22465 h 93014"/>
                      <a:gd name="connsiteX7" fmla="*/ 76664 w 81646"/>
                      <a:gd name="connsiteY7" fmla="*/ 42638 h 93014"/>
                      <a:gd name="connsiteX8" fmla="*/ 49094 w 81646"/>
                      <a:gd name="connsiteY8" fmla="*/ 81583 h 93014"/>
                      <a:gd name="connsiteX9" fmla="*/ 31583 w 81646"/>
                      <a:gd name="connsiteY9" fmla="*/ 92623 h 93014"/>
                      <a:gd name="connsiteX10" fmla="*/ 26988 w 81646"/>
                      <a:gd name="connsiteY10" fmla="*/ 93015 h 93014"/>
                      <a:gd name="connsiteX11" fmla="*/ 13175 w 81646"/>
                      <a:gd name="connsiteY11" fmla="*/ 56143 h 93014"/>
                      <a:gd name="connsiteX12" fmla="*/ 17238 w 81646"/>
                      <a:gd name="connsiteY12" fmla="*/ 79846 h 93014"/>
                      <a:gd name="connsiteX13" fmla="*/ 29930 w 81646"/>
                      <a:gd name="connsiteY13" fmla="*/ 82732 h 93014"/>
                      <a:gd name="connsiteX14" fmla="*/ 40941 w 81646"/>
                      <a:gd name="connsiteY14" fmla="*/ 75784 h 93014"/>
                      <a:gd name="connsiteX15" fmla="*/ 68511 w 81646"/>
                      <a:gd name="connsiteY15" fmla="*/ 36838 h 93014"/>
                      <a:gd name="connsiteX16" fmla="*/ 71397 w 81646"/>
                      <a:gd name="connsiteY16" fmla="*/ 24146 h 93014"/>
                      <a:gd name="connsiteX17" fmla="*/ 64448 w 81646"/>
                      <a:gd name="connsiteY17" fmla="*/ 13135 h 93014"/>
                      <a:gd name="connsiteX18" fmla="*/ 40745 w 81646"/>
                      <a:gd name="connsiteY18" fmla="*/ 17197 h 93014"/>
                      <a:gd name="connsiteX19" fmla="*/ 13175 w 81646"/>
                      <a:gd name="connsiteY19" fmla="*/ 56143 h 9301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</a:cxnLst>
                    <a:rect l="l" t="t" r="r" b="b"/>
                    <a:pathLst>
                      <a:path w="81646" h="93014">
                        <a:moveTo>
                          <a:pt x="26988" y="93015"/>
                        </a:moveTo>
                        <a:cubicBezTo>
                          <a:pt x="21440" y="93015"/>
                          <a:pt x="16033" y="91306"/>
                          <a:pt x="11410" y="88028"/>
                        </a:cubicBezTo>
                        <a:cubicBezTo>
                          <a:pt x="-750" y="79426"/>
                          <a:pt x="-3664" y="62503"/>
                          <a:pt x="4966" y="50343"/>
                        </a:cubicBezTo>
                        <a:cubicBezTo>
                          <a:pt x="4966" y="50343"/>
                          <a:pt x="4966" y="50343"/>
                          <a:pt x="4966" y="50343"/>
                        </a:cubicBezTo>
                        <a:lnTo>
                          <a:pt x="32536" y="11398"/>
                        </a:lnTo>
                        <a:cubicBezTo>
                          <a:pt x="41137" y="-762"/>
                          <a:pt x="58060" y="-3648"/>
                          <a:pt x="70220" y="4953"/>
                        </a:cubicBezTo>
                        <a:cubicBezTo>
                          <a:pt x="76104" y="9128"/>
                          <a:pt x="80027" y="15348"/>
                          <a:pt x="81259" y="22465"/>
                        </a:cubicBezTo>
                        <a:cubicBezTo>
                          <a:pt x="82464" y="29582"/>
                          <a:pt x="80839" y="36754"/>
                          <a:pt x="76664" y="42638"/>
                        </a:cubicBezTo>
                        <a:lnTo>
                          <a:pt x="49094" y="81583"/>
                        </a:lnTo>
                        <a:cubicBezTo>
                          <a:pt x="44920" y="87495"/>
                          <a:pt x="38700" y="91390"/>
                          <a:pt x="31583" y="92623"/>
                        </a:cubicBezTo>
                        <a:cubicBezTo>
                          <a:pt x="30070" y="92903"/>
                          <a:pt x="28529" y="93015"/>
                          <a:pt x="26988" y="93015"/>
                        </a:cubicBezTo>
                        <a:close/>
                        <a:moveTo>
                          <a:pt x="13175" y="56143"/>
                        </a:moveTo>
                        <a:cubicBezTo>
                          <a:pt x="7768" y="63792"/>
                          <a:pt x="9589" y="74439"/>
                          <a:pt x="17238" y="79846"/>
                        </a:cubicBezTo>
                        <a:cubicBezTo>
                          <a:pt x="20936" y="82480"/>
                          <a:pt x="25447" y="83489"/>
                          <a:pt x="29930" y="82732"/>
                        </a:cubicBezTo>
                        <a:cubicBezTo>
                          <a:pt x="34413" y="81976"/>
                          <a:pt x="38335" y="79510"/>
                          <a:pt x="40941" y="75784"/>
                        </a:cubicBezTo>
                        <a:lnTo>
                          <a:pt x="68511" y="36838"/>
                        </a:lnTo>
                        <a:cubicBezTo>
                          <a:pt x="71145" y="33140"/>
                          <a:pt x="72153" y="28629"/>
                          <a:pt x="71397" y="24146"/>
                        </a:cubicBezTo>
                        <a:cubicBezTo>
                          <a:pt x="70640" y="19663"/>
                          <a:pt x="68175" y="15768"/>
                          <a:pt x="64448" y="13135"/>
                        </a:cubicBezTo>
                        <a:cubicBezTo>
                          <a:pt x="56799" y="7727"/>
                          <a:pt x="46180" y="9520"/>
                          <a:pt x="40745" y="17197"/>
                        </a:cubicBezTo>
                        <a:lnTo>
                          <a:pt x="13175" y="56143"/>
                        </a:lnTo>
                        <a:close/>
                      </a:path>
                    </a:pathLst>
                  </a:custGeom>
                  <a:grpFill/>
                  <a:ln w="2793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</a:endParaRPr>
                  </a:p>
                </p:txBody>
              </p:sp>
            </p:grpSp>
            <p:sp>
              <p:nvSpPr>
                <p:cNvPr id="35" name="Freihandform: Form 933">
                  <a:extLst>
                    <a:ext uri="{FF2B5EF4-FFF2-40B4-BE49-F238E27FC236}">
                      <a16:creationId xmlns:a16="http://schemas.microsoft.com/office/drawing/2014/main" id="{413AB7D0-5A45-3770-D236-6DC910F37AD7}"/>
                    </a:ext>
                  </a:extLst>
                </p:cNvPr>
                <p:cNvSpPr/>
                <p:nvPr/>
              </p:nvSpPr>
              <p:spPr>
                <a:xfrm>
                  <a:off x="7162609" y="2079195"/>
                  <a:ext cx="65776" cy="74669"/>
                </a:xfrm>
                <a:custGeom>
                  <a:avLst/>
                  <a:gdLst>
                    <a:gd name="connsiteX0" fmla="*/ 22280 w 65776"/>
                    <a:gd name="connsiteY0" fmla="*/ 74670 h 74669"/>
                    <a:gd name="connsiteX1" fmla="*/ 9391 w 65776"/>
                    <a:gd name="connsiteY1" fmla="*/ 70495 h 74669"/>
                    <a:gd name="connsiteX2" fmla="*/ 3536 w 65776"/>
                    <a:gd name="connsiteY2" fmla="*/ 41496 h 74669"/>
                    <a:gd name="connsiteX3" fmla="*/ 27043 w 65776"/>
                    <a:gd name="connsiteY3" fmla="*/ 8266 h 74669"/>
                    <a:gd name="connsiteX4" fmla="*/ 56350 w 65776"/>
                    <a:gd name="connsiteY4" fmla="*/ 4148 h 74669"/>
                    <a:gd name="connsiteX5" fmla="*/ 65316 w 65776"/>
                    <a:gd name="connsiteY5" fmla="*/ 17596 h 74669"/>
                    <a:gd name="connsiteX6" fmla="*/ 62234 w 65776"/>
                    <a:gd name="connsiteY6" fmla="*/ 33147 h 74669"/>
                    <a:gd name="connsiteX7" fmla="*/ 38727 w 65776"/>
                    <a:gd name="connsiteY7" fmla="*/ 66376 h 74669"/>
                    <a:gd name="connsiteX8" fmla="*/ 25082 w 65776"/>
                    <a:gd name="connsiteY8" fmla="*/ 74473 h 74669"/>
                    <a:gd name="connsiteX9" fmla="*/ 22280 w 65776"/>
                    <a:gd name="connsiteY9" fmla="*/ 74670 h 74669"/>
                    <a:gd name="connsiteX10" fmla="*/ 43434 w 65776"/>
                    <a:gd name="connsiteY10" fmla="*/ 10060 h 74669"/>
                    <a:gd name="connsiteX11" fmla="*/ 35224 w 65776"/>
                    <a:gd name="connsiteY11" fmla="*/ 14094 h 74669"/>
                    <a:gd name="connsiteX12" fmla="*/ 11717 w 65776"/>
                    <a:gd name="connsiteY12" fmla="*/ 47324 h 74669"/>
                    <a:gd name="connsiteX13" fmla="*/ 11717 w 65776"/>
                    <a:gd name="connsiteY13" fmla="*/ 47324 h 74669"/>
                    <a:gd name="connsiteX14" fmla="*/ 15163 w 65776"/>
                    <a:gd name="connsiteY14" fmla="*/ 62314 h 74669"/>
                    <a:gd name="connsiteX15" fmla="*/ 23737 w 65776"/>
                    <a:gd name="connsiteY15" fmla="*/ 64527 h 74669"/>
                    <a:gd name="connsiteX16" fmla="*/ 30489 w 65776"/>
                    <a:gd name="connsiteY16" fmla="*/ 60604 h 74669"/>
                    <a:gd name="connsiteX17" fmla="*/ 53996 w 65776"/>
                    <a:gd name="connsiteY17" fmla="*/ 27375 h 74669"/>
                    <a:gd name="connsiteX18" fmla="*/ 55481 w 65776"/>
                    <a:gd name="connsiteY18" fmla="*/ 19698 h 74669"/>
                    <a:gd name="connsiteX19" fmla="*/ 50522 w 65776"/>
                    <a:gd name="connsiteY19" fmla="*/ 12357 h 74669"/>
                    <a:gd name="connsiteX20" fmla="*/ 43434 w 65776"/>
                    <a:gd name="connsiteY20" fmla="*/ 10060 h 74669"/>
                    <a:gd name="connsiteX21" fmla="*/ 7626 w 65776"/>
                    <a:gd name="connsiteY21" fmla="*/ 44410 h 74669"/>
                    <a:gd name="connsiteX22" fmla="*/ 7682 w 65776"/>
                    <a:gd name="connsiteY22" fmla="*/ 44410 h 74669"/>
                    <a:gd name="connsiteX23" fmla="*/ 7626 w 65776"/>
                    <a:gd name="connsiteY23" fmla="*/ 44410 h 7466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</a:cxnLst>
                  <a:rect l="l" t="t" r="r" b="b"/>
                  <a:pathLst>
                    <a:path w="65776" h="74669">
                      <a:moveTo>
                        <a:pt x="22280" y="74670"/>
                      </a:moveTo>
                      <a:cubicBezTo>
                        <a:pt x="17741" y="74670"/>
                        <a:pt x="13230" y="73241"/>
                        <a:pt x="9391" y="70495"/>
                      </a:cubicBezTo>
                      <a:cubicBezTo>
                        <a:pt x="-303" y="63630"/>
                        <a:pt x="-2909" y="50630"/>
                        <a:pt x="3536" y="41496"/>
                      </a:cubicBezTo>
                      <a:lnTo>
                        <a:pt x="27043" y="8266"/>
                      </a:lnTo>
                      <a:cubicBezTo>
                        <a:pt x="33515" y="-868"/>
                        <a:pt x="46656" y="-2717"/>
                        <a:pt x="56350" y="4148"/>
                      </a:cubicBezTo>
                      <a:cubicBezTo>
                        <a:pt x="60973" y="7426"/>
                        <a:pt x="64167" y="12217"/>
                        <a:pt x="65316" y="17596"/>
                      </a:cubicBezTo>
                      <a:cubicBezTo>
                        <a:pt x="66493" y="23144"/>
                        <a:pt x="65400" y="28664"/>
                        <a:pt x="62234" y="33147"/>
                      </a:cubicBezTo>
                      <a:lnTo>
                        <a:pt x="38727" y="66376"/>
                      </a:lnTo>
                      <a:cubicBezTo>
                        <a:pt x="35561" y="70859"/>
                        <a:pt x="30713" y="73717"/>
                        <a:pt x="25082" y="74473"/>
                      </a:cubicBezTo>
                      <a:cubicBezTo>
                        <a:pt x="24129" y="74614"/>
                        <a:pt x="23204" y="74670"/>
                        <a:pt x="22280" y="74670"/>
                      </a:cubicBezTo>
                      <a:close/>
                      <a:moveTo>
                        <a:pt x="43434" y="10060"/>
                      </a:moveTo>
                      <a:cubicBezTo>
                        <a:pt x="40183" y="10060"/>
                        <a:pt x="37101" y="11432"/>
                        <a:pt x="35224" y="14094"/>
                      </a:cubicBezTo>
                      <a:lnTo>
                        <a:pt x="11717" y="47324"/>
                      </a:lnTo>
                      <a:lnTo>
                        <a:pt x="11717" y="47324"/>
                      </a:lnTo>
                      <a:cubicBezTo>
                        <a:pt x="8439" y="51919"/>
                        <a:pt x="10008" y="58671"/>
                        <a:pt x="15163" y="62314"/>
                      </a:cubicBezTo>
                      <a:cubicBezTo>
                        <a:pt x="17741" y="64135"/>
                        <a:pt x="20795" y="64919"/>
                        <a:pt x="23737" y="64527"/>
                      </a:cubicBezTo>
                      <a:cubicBezTo>
                        <a:pt x="26539" y="64163"/>
                        <a:pt x="28948" y="62762"/>
                        <a:pt x="30489" y="60604"/>
                      </a:cubicBezTo>
                      <a:lnTo>
                        <a:pt x="53996" y="27375"/>
                      </a:lnTo>
                      <a:cubicBezTo>
                        <a:pt x="55538" y="25189"/>
                        <a:pt x="56070" y="22472"/>
                        <a:pt x="55481" y="19698"/>
                      </a:cubicBezTo>
                      <a:cubicBezTo>
                        <a:pt x="54865" y="16784"/>
                        <a:pt x="53100" y="14178"/>
                        <a:pt x="50522" y="12357"/>
                      </a:cubicBezTo>
                      <a:cubicBezTo>
                        <a:pt x="48365" y="10816"/>
                        <a:pt x="45843" y="10060"/>
                        <a:pt x="43434" y="10060"/>
                      </a:cubicBezTo>
                      <a:close/>
                      <a:moveTo>
                        <a:pt x="7626" y="44410"/>
                      </a:moveTo>
                      <a:lnTo>
                        <a:pt x="7682" y="44410"/>
                      </a:lnTo>
                      <a:lnTo>
                        <a:pt x="7626" y="44410"/>
                      </a:lnTo>
                      <a:close/>
                    </a:path>
                  </a:pathLst>
                </a:custGeom>
                <a:grpFill/>
                <a:ln w="279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</a:endParaRPr>
                </a:p>
              </p:txBody>
            </p:sp>
          </p:grpSp>
          <p:sp>
            <p:nvSpPr>
              <p:cNvPr id="32" name="Freihandform: Form 934">
                <a:extLst>
                  <a:ext uri="{FF2B5EF4-FFF2-40B4-BE49-F238E27FC236}">
                    <a16:creationId xmlns:a16="http://schemas.microsoft.com/office/drawing/2014/main" id="{9C3264F7-8C00-DC9A-66EA-E525871E933C}"/>
                  </a:ext>
                </a:extLst>
              </p:cNvPr>
              <p:cNvSpPr/>
              <p:nvPr/>
            </p:nvSpPr>
            <p:spPr>
              <a:xfrm>
                <a:off x="7111545" y="1890405"/>
                <a:ext cx="176980" cy="103895"/>
              </a:xfrm>
              <a:custGeom>
                <a:avLst/>
                <a:gdLst>
                  <a:gd name="connsiteX0" fmla="*/ 39133 w 176980"/>
                  <a:gd name="connsiteY0" fmla="*/ 103895 h 103895"/>
                  <a:gd name="connsiteX1" fmla="*/ 3102 w 176980"/>
                  <a:gd name="connsiteY1" fmla="*/ 90475 h 103895"/>
                  <a:gd name="connsiteX2" fmla="*/ 2877 w 176980"/>
                  <a:gd name="connsiteY2" fmla="*/ 76298 h 103895"/>
                  <a:gd name="connsiteX3" fmla="*/ 66171 w 176980"/>
                  <a:gd name="connsiteY3" fmla="*/ 13060 h 103895"/>
                  <a:gd name="connsiteX4" fmla="*/ 92592 w 176980"/>
                  <a:gd name="connsiteY4" fmla="*/ 312 h 103895"/>
                  <a:gd name="connsiteX5" fmla="*/ 136721 w 176980"/>
                  <a:gd name="connsiteY5" fmla="*/ 480 h 103895"/>
                  <a:gd name="connsiteX6" fmla="*/ 141624 w 176980"/>
                  <a:gd name="connsiteY6" fmla="*/ 5608 h 103895"/>
                  <a:gd name="connsiteX7" fmla="*/ 136496 w 176980"/>
                  <a:gd name="connsiteY7" fmla="*/ 10511 h 103895"/>
                  <a:gd name="connsiteX8" fmla="*/ 94049 w 176980"/>
                  <a:gd name="connsiteY8" fmla="*/ 10231 h 103895"/>
                  <a:gd name="connsiteX9" fmla="*/ 73259 w 176980"/>
                  <a:gd name="connsiteY9" fmla="*/ 20177 h 103895"/>
                  <a:gd name="connsiteX10" fmla="*/ 10162 w 176980"/>
                  <a:gd name="connsiteY10" fmla="*/ 83218 h 103895"/>
                  <a:gd name="connsiteX11" fmla="*/ 21678 w 176980"/>
                  <a:gd name="connsiteY11" fmla="*/ 90587 h 103895"/>
                  <a:gd name="connsiteX12" fmla="*/ 58410 w 176980"/>
                  <a:gd name="connsiteY12" fmla="*/ 88317 h 103895"/>
                  <a:gd name="connsiteX13" fmla="*/ 99680 w 176980"/>
                  <a:gd name="connsiteY13" fmla="*/ 47271 h 103895"/>
                  <a:gd name="connsiteX14" fmla="*/ 100521 w 176980"/>
                  <a:gd name="connsiteY14" fmla="*/ 46374 h 103895"/>
                  <a:gd name="connsiteX15" fmla="*/ 105312 w 176980"/>
                  <a:gd name="connsiteY15" fmla="*/ 44721 h 103895"/>
                  <a:gd name="connsiteX16" fmla="*/ 109095 w 176980"/>
                  <a:gd name="connsiteY16" fmla="*/ 48027 h 103895"/>
                  <a:gd name="connsiteX17" fmla="*/ 156614 w 176980"/>
                  <a:gd name="connsiteY17" fmla="*/ 71815 h 103895"/>
                  <a:gd name="connsiteX18" fmla="*/ 158659 w 176980"/>
                  <a:gd name="connsiteY18" fmla="*/ 71170 h 103895"/>
                  <a:gd name="connsiteX19" fmla="*/ 169222 w 176980"/>
                  <a:gd name="connsiteY19" fmla="*/ 66323 h 103895"/>
                  <a:gd name="connsiteX20" fmla="*/ 176170 w 176980"/>
                  <a:gd name="connsiteY20" fmla="*/ 67808 h 103895"/>
                  <a:gd name="connsiteX21" fmla="*/ 174713 w 176980"/>
                  <a:gd name="connsiteY21" fmla="*/ 74757 h 103895"/>
                  <a:gd name="connsiteX22" fmla="*/ 161881 w 176980"/>
                  <a:gd name="connsiteY22" fmla="*/ 80696 h 103895"/>
                  <a:gd name="connsiteX23" fmla="*/ 159471 w 176980"/>
                  <a:gd name="connsiteY23" fmla="*/ 81453 h 103895"/>
                  <a:gd name="connsiteX24" fmla="*/ 102650 w 176980"/>
                  <a:gd name="connsiteY24" fmla="*/ 58478 h 103895"/>
                  <a:gd name="connsiteX25" fmla="*/ 65190 w 176980"/>
                  <a:gd name="connsiteY25" fmla="*/ 95742 h 103895"/>
                  <a:gd name="connsiteX26" fmla="*/ 64602 w 176980"/>
                  <a:gd name="connsiteY26" fmla="*/ 96219 h 103895"/>
                  <a:gd name="connsiteX27" fmla="*/ 39133 w 176980"/>
                  <a:gd name="connsiteY27" fmla="*/ 103895 h 1038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</a:cxnLst>
                <a:rect l="l" t="t" r="r" b="b"/>
                <a:pathLst>
                  <a:path w="176980" h="103895">
                    <a:moveTo>
                      <a:pt x="39133" y="103895"/>
                    </a:moveTo>
                    <a:cubicBezTo>
                      <a:pt x="23835" y="103895"/>
                      <a:pt x="8985" y="97423"/>
                      <a:pt x="3102" y="90475"/>
                    </a:cubicBezTo>
                    <a:cubicBezTo>
                      <a:pt x="-1830" y="84675"/>
                      <a:pt x="-92" y="79211"/>
                      <a:pt x="2877" y="76298"/>
                    </a:cubicBezTo>
                    <a:lnTo>
                      <a:pt x="66171" y="13060"/>
                    </a:lnTo>
                    <a:cubicBezTo>
                      <a:pt x="66311" y="12948"/>
                      <a:pt x="77462" y="2497"/>
                      <a:pt x="92592" y="312"/>
                    </a:cubicBezTo>
                    <a:cubicBezTo>
                      <a:pt x="97467" y="-416"/>
                      <a:pt x="130220" y="340"/>
                      <a:pt x="136721" y="480"/>
                    </a:cubicBezTo>
                    <a:cubicBezTo>
                      <a:pt x="139494" y="536"/>
                      <a:pt x="141680" y="2834"/>
                      <a:pt x="141624" y="5608"/>
                    </a:cubicBezTo>
                    <a:cubicBezTo>
                      <a:pt x="141568" y="8381"/>
                      <a:pt x="139410" y="10651"/>
                      <a:pt x="136496" y="10511"/>
                    </a:cubicBezTo>
                    <a:cubicBezTo>
                      <a:pt x="120638" y="10118"/>
                      <a:pt x="97019" y="9810"/>
                      <a:pt x="94049" y="10231"/>
                    </a:cubicBezTo>
                    <a:cubicBezTo>
                      <a:pt x="82505" y="11884"/>
                      <a:pt x="73343" y="20093"/>
                      <a:pt x="73259" y="20177"/>
                    </a:cubicBezTo>
                    <a:lnTo>
                      <a:pt x="10162" y="83218"/>
                    </a:lnTo>
                    <a:cubicBezTo>
                      <a:pt x="10919" y="84563"/>
                      <a:pt x="14253" y="87813"/>
                      <a:pt x="21678" y="90587"/>
                    </a:cubicBezTo>
                    <a:cubicBezTo>
                      <a:pt x="31848" y="94397"/>
                      <a:pt x="47510" y="96050"/>
                      <a:pt x="58410" y="88317"/>
                    </a:cubicBezTo>
                    <a:lnTo>
                      <a:pt x="99680" y="47271"/>
                    </a:lnTo>
                    <a:cubicBezTo>
                      <a:pt x="100017" y="46962"/>
                      <a:pt x="100269" y="46654"/>
                      <a:pt x="100521" y="46374"/>
                    </a:cubicBezTo>
                    <a:cubicBezTo>
                      <a:pt x="101698" y="45029"/>
                      <a:pt x="103547" y="44357"/>
                      <a:pt x="105312" y="44721"/>
                    </a:cubicBezTo>
                    <a:cubicBezTo>
                      <a:pt x="107077" y="45085"/>
                      <a:pt x="108534" y="46318"/>
                      <a:pt x="109095" y="48027"/>
                    </a:cubicBezTo>
                    <a:cubicBezTo>
                      <a:pt x="110271" y="51557"/>
                      <a:pt x="121535" y="82153"/>
                      <a:pt x="156614" y="71815"/>
                    </a:cubicBezTo>
                    <a:cubicBezTo>
                      <a:pt x="157286" y="71618"/>
                      <a:pt x="157958" y="71394"/>
                      <a:pt x="158659" y="71170"/>
                    </a:cubicBezTo>
                    <a:cubicBezTo>
                      <a:pt x="162862" y="69769"/>
                      <a:pt x="166420" y="68144"/>
                      <a:pt x="169222" y="66323"/>
                    </a:cubicBezTo>
                    <a:cubicBezTo>
                      <a:pt x="171575" y="64810"/>
                      <a:pt x="174657" y="65482"/>
                      <a:pt x="176170" y="67808"/>
                    </a:cubicBezTo>
                    <a:cubicBezTo>
                      <a:pt x="177683" y="70134"/>
                      <a:pt x="177011" y="73244"/>
                      <a:pt x="174713" y="74757"/>
                    </a:cubicBezTo>
                    <a:cubicBezTo>
                      <a:pt x="171183" y="77054"/>
                      <a:pt x="166868" y="79043"/>
                      <a:pt x="161881" y="80696"/>
                    </a:cubicBezTo>
                    <a:cubicBezTo>
                      <a:pt x="161096" y="80977"/>
                      <a:pt x="160284" y="81229"/>
                      <a:pt x="159471" y="81453"/>
                    </a:cubicBezTo>
                    <a:cubicBezTo>
                      <a:pt x="128651" y="90531"/>
                      <a:pt x="110552" y="73664"/>
                      <a:pt x="102650" y="58478"/>
                    </a:cubicBezTo>
                    <a:lnTo>
                      <a:pt x="65190" y="95742"/>
                    </a:lnTo>
                    <a:cubicBezTo>
                      <a:pt x="64994" y="95910"/>
                      <a:pt x="64826" y="96078"/>
                      <a:pt x="64602" y="96219"/>
                    </a:cubicBezTo>
                    <a:cubicBezTo>
                      <a:pt x="57093" y="101738"/>
                      <a:pt x="48015" y="103895"/>
                      <a:pt x="39133" y="103895"/>
                    </a:cubicBezTo>
                    <a:close/>
                  </a:path>
                </a:pathLst>
              </a:custGeom>
              <a:grpFill/>
              <a:ln w="279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3" name="Freihandform: Form 935">
                <a:extLst>
                  <a:ext uri="{FF2B5EF4-FFF2-40B4-BE49-F238E27FC236}">
                    <a16:creationId xmlns:a16="http://schemas.microsoft.com/office/drawing/2014/main" id="{84A42EE4-E33D-9035-B0BB-1E6F3E8477FE}"/>
                  </a:ext>
                </a:extLst>
              </p:cNvPr>
              <p:cNvSpPr/>
              <p:nvPr/>
            </p:nvSpPr>
            <p:spPr>
              <a:xfrm>
                <a:off x="6960939" y="1897162"/>
                <a:ext cx="95542" cy="167380"/>
              </a:xfrm>
              <a:custGeom>
                <a:avLst/>
                <a:gdLst>
                  <a:gd name="connsiteX0" fmla="*/ 90527 w 95542"/>
                  <a:gd name="connsiteY0" fmla="*/ 167381 h 167380"/>
                  <a:gd name="connsiteX1" fmla="*/ 5015 w 95542"/>
                  <a:gd name="connsiteY1" fmla="*/ 167381 h 167380"/>
                  <a:gd name="connsiteX2" fmla="*/ 0 w 95542"/>
                  <a:gd name="connsiteY2" fmla="*/ 162366 h 167380"/>
                  <a:gd name="connsiteX3" fmla="*/ 5015 w 95542"/>
                  <a:gd name="connsiteY3" fmla="*/ 157350 h 167380"/>
                  <a:gd name="connsiteX4" fmla="*/ 85512 w 95542"/>
                  <a:gd name="connsiteY4" fmla="*/ 157350 h 167380"/>
                  <a:gd name="connsiteX5" fmla="*/ 85512 w 95542"/>
                  <a:gd name="connsiteY5" fmla="*/ 10031 h 167380"/>
                  <a:gd name="connsiteX6" fmla="*/ 5015 w 95542"/>
                  <a:gd name="connsiteY6" fmla="*/ 10031 h 167380"/>
                  <a:gd name="connsiteX7" fmla="*/ 0 w 95542"/>
                  <a:gd name="connsiteY7" fmla="*/ 5015 h 167380"/>
                  <a:gd name="connsiteX8" fmla="*/ 5015 w 95542"/>
                  <a:gd name="connsiteY8" fmla="*/ 0 h 167380"/>
                  <a:gd name="connsiteX9" fmla="*/ 90527 w 95542"/>
                  <a:gd name="connsiteY9" fmla="*/ 0 h 167380"/>
                  <a:gd name="connsiteX10" fmla="*/ 95542 w 95542"/>
                  <a:gd name="connsiteY10" fmla="*/ 5015 h 167380"/>
                  <a:gd name="connsiteX11" fmla="*/ 95542 w 95542"/>
                  <a:gd name="connsiteY11" fmla="*/ 162366 h 167380"/>
                  <a:gd name="connsiteX12" fmla="*/ 90527 w 95542"/>
                  <a:gd name="connsiteY12" fmla="*/ 167381 h 1673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95542" h="167380">
                    <a:moveTo>
                      <a:pt x="90527" y="167381"/>
                    </a:moveTo>
                    <a:lnTo>
                      <a:pt x="5015" y="167381"/>
                    </a:lnTo>
                    <a:cubicBezTo>
                      <a:pt x="2242" y="167381"/>
                      <a:pt x="0" y="165140"/>
                      <a:pt x="0" y="162366"/>
                    </a:cubicBezTo>
                    <a:cubicBezTo>
                      <a:pt x="0" y="159592"/>
                      <a:pt x="2242" y="157350"/>
                      <a:pt x="5015" y="157350"/>
                    </a:cubicBezTo>
                    <a:lnTo>
                      <a:pt x="85512" y="157350"/>
                    </a:lnTo>
                    <a:lnTo>
                      <a:pt x="85512" y="10031"/>
                    </a:lnTo>
                    <a:lnTo>
                      <a:pt x="5015" y="10031"/>
                    </a:lnTo>
                    <a:cubicBezTo>
                      <a:pt x="2242" y="10031"/>
                      <a:pt x="0" y="7789"/>
                      <a:pt x="0" y="5015"/>
                    </a:cubicBezTo>
                    <a:cubicBezTo>
                      <a:pt x="0" y="2241"/>
                      <a:pt x="2242" y="0"/>
                      <a:pt x="5015" y="0"/>
                    </a:cubicBezTo>
                    <a:lnTo>
                      <a:pt x="90527" y="0"/>
                    </a:lnTo>
                    <a:cubicBezTo>
                      <a:pt x="93301" y="0"/>
                      <a:pt x="95542" y="2241"/>
                      <a:pt x="95542" y="5015"/>
                    </a:cubicBezTo>
                    <a:lnTo>
                      <a:pt x="95542" y="162366"/>
                    </a:lnTo>
                    <a:cubicBezTo>
                      <a:pt x="95542" y="165140"/>
                      <a:pt x="93301" y="167381"/>
                      <a:pt x="90527" y="167381"/>
                    </a:cubicBezTo>
                    <a:close/>
                  </a:path>
                </a:pathLst>
              </a:custGeom>
              <a:grpFill/>
              <a:ln w="279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2BC5EDDE-FB87-AA2D-C23D-AC43F50E6F35}"/>
                </a:ext>
              </a:extLst>
            </p:cNvPr>
            <p:cNvSpPr/>
            <p:nvPr/>
          </p:nvSpPr>
          <p:spPr>
            <a:xfrm>
              <a:off x="8480393" y="3974198"/>
              <a:ext cx="331790" cy="308669"/>
            </a:xfrm>
            <a:custGeom>
              <a:avLst/>
              <a:gdLst>
                <a:gd name="connsiteX0" fmla="*/ 589331 w 1177425"/>
                <a:gd name="connsiteY0" fmla="*/ 805153 h 1095380"/>
                <a:gd name="connsiteX1" fmla="*/ 515988 w 1177425"/>
                <a:gd name="connsiteY1" fmla="*/ 877543 h 1095380"/>
                <a:gd name="connsiteX2" fmla="*/ 588379 w 1177425"/>
                <a:gd name="connsiteY2" fmla="*/ 950885 h 1095380"/>
                <a:gd name="connsiteX3" fmla="*/ 661721 w 1177425"/>
                <a:gd name="connsiteY3" fmla="*/ 878495 h 1095380"/>
                <a:gd name="connsiteX4" fmla="*/ 661721 w 1177425"/>
                <a:gd name="connsiteY4" fmla="*/ 878019 h 1095380"/>
                <a:gd name="connsiteX5" fmla="*/ 589331 w 1177425"/>
                <a:gd name="connsiteY5" fmla="*/ 805153 h 1095380"/>
                <a:gd name="connsiteX6" fmla="*/ 588188 w 1177425"/>
                <a:gd name="connsiteY6" fmla="*/ 773911 h 1095380"/>
                <a:gd name="connsiteX7" fmla="*/ 692868 w 1177425"/>
                <a:gd name="connsiteY7" fmla="*/ 877447 h 1095380"/>
                <a:gd name="connsiteX8" fmla="*/ 692868 w 1177425"/>
                <a:gd name="connsiteY8" fmla="*/ 878019 h 1095380"/>
                <a:gd name="connsiteX9" fmla="*/ 589331 w 1177425"/>
                <a:gd name="connsiteY9" fmla="*/ 982127 h 1095380"/>
                <a:gd name="connsiteX10" fmla="*/ 484651 w 1177425"/>
                <a:gd name="connsiteY10" fmla="*/ 878590 h 1095380"/>
                <a:gd name="connsiteX11" fmla="*/ 588188 w 1177425"/>
                <a:gd name="connsiteY11" fmla="*/ 773911 h 1095380"/>
                <a:gd name="connsiteX12" fmla="*/ 589331 w 1177425"/>
                <a:gd name="connsiteY12" fmla="*/ 298803 h 1095380"/>
                <a:gd name="connsiteX13" fmla="*/ 604856 w 1177425"/>
                <a:gd name="connsiteY13" fmla="*/ 314329 h 1095380"/>
                <a:gd name="connsiteX14" fmla="*/ 604856 w 1177425"/>
                <a:gd name="connsiteY14" fmla="*/ 684470 h 1095380"/>
                <a:gd name="connsiteX15" fmla="*/ 589331 w 1177425"/>
                <a:gd name="connsiteY15" fmla="*/ 699806 h 1095380"/>
                <a:gd name="connsiteX16" fmla="*/ 573805 w 1177425"/>
                <a:gd name="connsiteY16" fmla="*/ 684184 h 1095380"/>
                <a:gd name="connsiteX17" fmla="*/ 573805 w 1177425"/>
                <a:gd name="connsiteY17" fmla="*/ 314329 h 1095380"/>
                <a:gd name="connsiteX18" fmla="*/ 589331 w 1177425"/>
                <a:gd name="connsiteY18" fmla="*/ 298803 h 1095380"/>
                <a:gd name="connsiteX19" fmla="*/ 588759 w 1177425"/>
                <a:gd name="connsiteY19" fmla="*/ 48106 h 1095380"/>
                <a:gd name="connsiteX20" fmla="*/ 41739 w 1177425"/>
                <a:gd name="connsiteY20" fmla="*/ 1064042 h 1095380"/>
                <a:gd name="connsiteX21" fmla="*/ 1135780 w 1177425"/>
                <a:gd name="connsiteY21" fmla="*/ 1064042 h 1095380"/>
                <a:gd name="connsiteX22" fmla="*/ 588759 w 1177425"/>
                <a:gd name="connsiteY22" fmla="*/ 5 h 1095380"/>
                <a:gd name="connsiteX23" fmla="*/ 602475 w 1177425"/>
                <a:gd name="connsiteY23" fmla="*/ 7720 h 1095380"/>
                <a:gd name="connsiteX24" fmla="*/ 1175594 w 1177425"/>
                <a:gd name="connsiteY24" fmla="*/ 1072234 h 1095380"/>
                <a:gd name="connsiteX25" fmla="*/ 1169137 w 1177425"/>
                <a:gd name="connsiteY25" fmla="*/ 1093360 h 1095380"/>
                <a:gd name="connsiteX26" fmla="*/ 1161974 w 1177425"/>
                <a:gd name="connsiteY26" fmla="*/ 1095189 h 1095380"/>
                <a:gd name="connsiteX27" fmla="*/ 1161974 w 1177425"/>
                <a:gd name="connsiteY27" fmla="*/ 1095380 h 1095380"/>
                <a:gd name="connsiteX28" fmla="*/ 15640 w 1177425"/>
                <a:gd name="connsiteY28" fmla="*/ 1095380 h 1095380"/>
                <a:gd name="connsiteX29" fmla="*/ 0 w 1177425"/>
                <a:gd name="connsiteY29" fmla="*/ 1079778 h 1095380"/>
                <a:gd name="connsiteX30" fmla="*/ 1829 w 1177425"/>
                <a:gd name="connsiteY30" fmla="*/ 1072424 h 1095380"/>
                <a:gd name="connsiteX31" fmla="*/ 574948 w 1177425"/>
                <a:gd name="connsiteY31" fmla="*/ 7910 h 1095380"/>
                <a:gd name="connsiteX32" fmla="*/ 588759 w 1177425"/>
                <a:gd name="connsiteY32" fmla="*/ 5 h 10953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1177425" h="1095380">
                  <a:moveTo>
                    <a:pt x="589331" y="805153"/>
                  </a:moveTo>
                  <a:cubicBezTo>
                    <a:pt x="549088" y="804886"/>
                    <a:pt x="516255" y="837299"/>
                    <a:pt x="515988" y="877543"/>
                  </a:cubicBezTo>
                  <a:cubicBezTo>
                    <a:pt x="515731" y="917786"/>
                    <a:pt x="548135" y="950618"/>
                    <a:pt x="588379" y="950885"/>
                  </a:cubicBezTo>
                  <a:cubicBezTo>
                    <a:pt x="628622" y="951142"/>
                    <a:pt x="661455" y="918738"/>
                    <a:pt x="661721" y="878495"/>
                  </a:cubicBezTo>
                  <a:cubicBezTo>
                    <a:pt x="661721" y="878333"/>
                    <a:pt x="661721" y="878181"/>
                    <a:pt x="661721" y="878019"/>
                  </a:cubicBezTo>
                  <a:cubicBezTo>
                    <a:pt x="661826" y="837919"/>
                    <a:pt x="629432" y="805314"/>
                    <a:pt x="589331" y="805153"/>
                  </a:cubicBezTo>
                  <a:close/>
                  <a:moveTo>
                    <a:pt x="588188" y="773911"/>
                  </a:moveTo>
                  <a:cubicBezTo>
                    <a:pt x="645681" y="773596"/>
                    <a:pt x="692553" y="819955"/>
                    <a:pt x="692868" y="877447"/>
                  </a:cubicBezTo>
                  <a:cubicBezTo>
                    <a:pt x="692868" y="877638"/>
                    <a:pt x="692868" y="877828"/>
                    <a:pt x="692868" y="878019"/>
                  </a:cubicBezTo>
                  <a:cubicBezTo>
                    <a:pt x="692972" y="935340"/>
                    <a:pt x="646653" y="981918"/>
                    <a:pt x="589331" y="982127"/>
                  </a:cubicBezTo>
                  <a:cubicBezTo>
                    <a:pt x="531838" y="982441"/>
                    <a:pt x="484966" y="936093"/>
                    <a:pt x="484651" y="878590"/>
                  </a:cubicBezTo>
                  <a:cubicBezTo>
                    <a:pt x="484337" y="821098"/>
                    <a:pt x="530695" y="774225"/>
                    <a:pt x="588188" y="773911"/>
                  </a:cubicBezTo>
                  <a:close/>
                  <a:moveTo>
                    <a:pt x="589331" y="298803"/>
                  </a:moveTo>
                  <a:cubicBezTo>
                    <a:pt x="597903" y="298803"/>
                    <a:pt x="604856" y="305756"/>
                    <a:pt x="604856" y="314329"/>
                  </a:cubicBezTo>
                  <a:lnTo>
                    <a:pt x="604856" y="684470"/>
                  </a:lnTo>
                  <a:cubicBezTo>
                    <a:pt x="604656" y="692928"/>
                    <a:pt x="597789" y="699701"/>
                    <a:pt x="589331" y="699806"/>
                  </a:cubicBezTo>
                  <a:cubicBezTo>
                    <a:pt x="580739" y="699758"/>
                    <a:pt x="573805" y="692776"/>
                    <a:pt x="573805" y="684184"/>
                  </a:cubicBezTo>
                  <a:lnTo>
                    <a:pt x="573805" y="314329"/>
                  </a:lnTo>
                  <a:cubicBezTo>
                    <a:pt x="573805" y="305756"/>
                    <a:pt x="580758" y="298803"/>
                    <a:pt x="589331" y="298803"/>
                  </a:cubicBezTo>
                  <a:close/>
                  <a:moveTo>
                    <a:pt x="588759" y="48106"/>
                  </a:moveTo>
                  <a:lnTo>
                    <a:pt x="41739" y="1064042"/>
                  </a:lnTo>
                  <a:lnTo>
                    <a:pt x="1135780" y="1064042"/>
                  </a:lnTo>
                  <a:close/>
                  <a:moveTo>
                    <a:pt x="588759" y="5"/>
                  </a:moveTo>
                  <a:cubicBezTo>
                    <a:pt x="594408" y="-148"/>
                    <a:pt x="599675" y="2824"/>
                    <a:pt x="602475" y="7720"/>
                  </a:cubicBezTo>
                  <a:lnTo>
                    <a:pt x="1175594" y="1072234"/>
                  </a:lnTo>
                  <a:cubicBezTo>
                    <a:pt x="1179642" y="1079854"/>
                    <a:pt x="1176757" y="1089312"/>
                    <a:pt x="1169137" y="1093360"/>
                  </a:cubicBezTo>
                  <a:cubicBezTo>
                    <a:pt x="1166927" y="1094532"/>
                    <a:pt x="1164469" y="1095160"/>
                    <a:pt x="1161974" y="1095189"/>
                  </a:cubicBezTo>
                  <a:lnTo>
                    <a:pt x="1161974" y="1095380"/>
                  </a:lnTo>
                  <a:lnTo>
                    <a:pt x="15640" y="1095380"/>
                  </a:lnTo>
                  <a:cubicBezTo>
                    <a:pt x="7010" y="1095389"/>
                    <a:pt x="10" y="1088407"/>
                    <a:pt x="0" y="1079778"/>
                  </a:cubicBezTo>
                  <a:cubicBezTo>
                    <a:pt x="0" y="1077215"/>
                    <a:pt x="629" y="1074691"/>
                    <a:pt x="1829" y="1072424"/>
                  </a:cubicBezTo>
                  <a:lnTo>
                    <a:pt x="574948" y="7910"/>
                  </a:lnTo>
                  <a:cubicBezTo>
                    <a:pt x="577720" y="2910"/>
                    <a:pt x="583044" y="-138"/>
                    <a:pt x="588759" y="5"/>
                  </a:cubicBez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4663609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1A6A978A-E65B-DC67-6740-5ABB58A2C05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780088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5" imgH="426" progId="TCLayout.ActiveDocument.1">
                  <p:embed/>
                </p:oleObj>
              </mc:Choice>
              <mc:Fallback>
                <p:oleObj name="think-cell Folie" r:id="rId4" imgW="425" imgH="42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1A6A978A-E65B-DC67-6740-5ABB58A2C05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FDFE70A-A851-830B-B70B-96D334E362F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491823-8362-40AB-AAD5-DB872EB70D07}" type="datetime4">
              <a:rPr lang="en-GB" noProof="0" smtClean="0"/>
              <a:pPr/>
              <a:t>14 March 2024</a:t>
            </a:fld>
            <a:endParaRPr lang="en-GB" noProof="0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22DF4CD-80EB-9199-B899-9FA2E996762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94909C6-CC71-4962-A18E-AF0515723D95}" type="slidenum">
              <a:rPr lang="en-GB" noProof="0" smtClean="0"/>
              <a:pPr/>
              <a:t>5</a:t>
            </a:fld>
            <a:endParaRPr lang="en-GB" noProof="0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6BBEB53-973A-69D6-041B-57D44C4055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GB" noProof="0" dirty="0"/>
              <a:t>Munich Re Group – Company Presentation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108A6CCA-BB9F-76AC-65A3-74B18AD4E3B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>
                <a:solidFill>
                  <a:schemeClr val="bg2"/>
                </a:solidFill>
              </a:rPr>
              <a:t>Munich Re Group </a:t>
            </a:r>
            <a:br>
              <a:rPr lang="en-GB" dirty="0"/>
            </a:br>
            <a:r>
              <a:rPr lang="en-GB" sz="1400" dirty="0">
                <a:solidFill>
                  <a:schemeClr val="tx2"/>
                </a:solidFill>
              </a:rPr>
              <a:t>Powerful financials inspire trust of customers and investors</a:t>
            </a:r>
            <a:endParaRPr lang="en-GB" sz="1600" dirty="0">
              <a:solidFill>
                <a:schemeClr val="tx2"/>
              </a:solidFill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B8AB3DD7-61C4-A7A7-985F-228D05ABA66F}"/>
              </a:ext>
            </a:extLst>
          </p:cNvPr>
          <p:cNvSpPr/>
          <p:nvPr/>
        </p:nvSpPr>
        <p:spPr>
          <a:xfrm>
            <a:off x="4647600" y="1882687"/>
            <a:ext cx="4496400" cy="892473"/>
          </a:xfrm>
          <a:prstGeom prst="rect">
            <a:avLst/>
          </a:prstGeom>
          <a:solidFill>
            <a:schemeClr val="bg2">
              <a:alpha val="10000"/>
            </a:schemeClr>
          </a:solidFill>
          <a:ln w="2434" cap="flat">
            <a:noFill/>
            <a:prstDash val="solid"/>
            <a:miter/>
          </a:ln>
        </p:spPr>
        <p:txBody>
          <a:bodyPr lIns="108000" tIns="108000" rIns="108000" bIns="108000"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dirty="0">
                <a:solidFill>
                  <a:schemeClr val="bg2">
                    <a:lumMod val="50000"/>
                  </a:schemeClr>
                </a:solidFill>
              </a:rPr>
              <a:t>Insurance revenue from 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dirty="0">
                <a:solidFill>
                  <a:schemeClr val="bg2">
                    <a:lumMod val="50000"/>
                  </a:schemeClr>
                </a:solidFill>
              </a:rPr>
              <a:t>insurance contracts issued</a:t>
            </a:r>
            <a:endParaRPr kumimoji="0" lang="en-GB" sz="1400" b="0" i="0" u="none" strike="noStrike" kern="0" cap="none" spc="0" normalizeH="0" baseline="0" noProof="0" dirty="0">
              <a:ln>
                <a:noFill/>
              </a:ln>
              <a:solidFill>
                <a:schemeClr val="bg2">
                  <a:lumMod val="50000"/>
                </a:schemeClr>
              </a:solidFill>
              <a:effectLst/>
              <a:uLnTx/>
              <a:uFillTx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4EA35230-2F83-BAA1-A86D-8C4C2C480ACA}"/>
              </a:ext>
            </a:extLst>
          </p:cNvPr>
          <p:cNvSpPr/>
          <p:nvPr/>
        </p:nvSpPr>
        <p:spPr>
          <a:xfrm>
            <a:off x="4647600" y="2925107"/>
            <a:ext cx="4496400" cy="892473"/>
          </a:xfrm>
          <a:prstGeom prst="rect">
            <a:avLst/>
          </a:prstGeom>
          <a:solidFill>
            <a:schemeClr val="bg2">
              <a:alpha val="10000"/>
            </a:schemeClr>
          </a:solidFill>
          <a:ln w="2434" cap="flat">
            <a:noFill/>
            <a:prstDash val="solid"/>
            <a:miter/>
          </a:ln>
        </p:spPr>
        <p:txBody>
          <a:bodyPr lIns="108000" tIns="108000" rIns="108000" bIns="108000"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 dirty="0">
                <a:ln>
                  <a:noFill/>
                </a:ln>
                <a:solidFill>
                  <a:schemeClr val="bg2">
                    <a:lumMod val="50000"/>
                  </a:schemeClr>
                </a:solidFill>
                <a:effectLst/>
                <a:uLnTx/>
                <a:uFillTx/>
              </a:rPr>
              <a:t>Dividend proposal per share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400" kern="0" dirty="0">
                <a:solidFill>
                  <a:schemeClr val="bg2">
                    <a:lumMod val="50000"/>
                  </a:schemeClr>
                </a:solidFill>
              </a:rPr>
              <a:t>by the Board of Management</a:t>
            </a:r>
            <a:endParaRPr kumimoji="0" lang="en-GB" sz="1400" b="0" i="0" u="none" strike="noStrike" kern="0" cap="none" spc="0" normalizeH="0" baseline="0" noProof="0" dirty="0">
              <a:ln>
                <a:noFill/>
              </a:ln>
              <a:solidFill>
                <a:schemeClr val="bg2">
                  <a:lumMod val="50000"/>
                </a:schemeClr>
              </a:solidFill>
              <a:effectLst/>
              <a:uLnTx/>
              <a:uFillTx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36CA7815-4AFE-D5CE-809D-698150943EC8}"/>
              </a:ext>
            </a:extLst>
          </p:cNvPr>
          <p:cNvSpPr/>
          <p:nvPr/>
        </p:nvSpPr>
        <p:spPr>
          <a:xfrm>
            <a:off x="4647600" y="3967526"/>
            <a:ext cx="4496400" cy="892473"/>
          </a:xfrm>
          <a:prstGeom prst="rect">
            <a:avLst/>
          </a:prstGeom>
          <a:solidFill>
            <a:schemeClr val="bg2">
              <a:alpha val="10000"/>
            </a:schemeClr>
          </a:solidFill>
          <a:ln w="2434" cap="flat">
            <a:noFill/>
            <a:prstDash val="solid"/>
            <a:miter/>
          </a:ln>
        </p:spPr>
        <p:txBody>
          <a:bodyPr lIns="108000" tIns="108000" rIns="108000" bIns="108000"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 dirty="0">
                <a:ln>
                  <a:noFill/>
                </a:ln>
                <a:solidFill>
                  <a:schemeClr val="bg2">
                    <a:lumMod val="50000"/>
                  </a:schemeClr>
                </a:solidFill>
                <a:effectLst/>
                <a:uLnTx/>
                <a:uFillTx/>
              </a:rPr>
              <a:t>Solvency II ratio</a:t>
            </a:r>
          </a:p>
        </p:txBody>
      </p:sp>
      <p:sp>
        <p:nvSpPr>
          <p:cNvPr id="15" name="Freeform: Shape 14">
            <a:extLst>
              <a:ext uri="{FF2B5EF4-FFF2-40B4-BE49-F238E27FC236}">
                <a16:creationId xmlns:a16="http://schemas.microsoft.com/office/drawing/2014/main" id="{5F37EBD8-465A-5534-D9C5-52071B12A100}"/>
              </a:ext>
            </a:extLst>
          </p:cNvPr>
          <p:cNvSpPr/>
          <p:nvPr/>
        </p:nvSpPr>
        <p:spPr>
          <a:xfrm>
            <a:off x="7552314" y="2925107"/>
            <a:ext cx="1591686" cy="892473"/>
          </a:xfrm>
          <a:custGeom>
            <a:avLst/>
            <a:gdLst>
              <a:gd name="connsiteX0" fmla="*/ 1 w 1591686"/>
              <a:gd name="connsiteY0" fmla="*/ 331938 h 892473"/>
              <a:gd name="connsiteX1" fmla="*/ 1 w 1591686"/>
              <a:gd name="connsiteY1" fmla="*/ 560538 h 892473"/>
              <a:gd name="connsiteX2" fmla="*/ 95414 w 1591686"/>
              <a:gd name="connsiteY2" fmla="*/ 446238 h 892473"/>
              <a:gd name="connsiteX3" fmla="*/ 0 w 1591686"/>
              <a:gd name="connsiteY3" fmla="*/ 0 h 892473"/>
              <a:gd name="connsiteX4" fmla="*/ 306000 w 1591686"/>
              <a:gd name="connsiteY4" fmla="*/ 0 h 892473"/>
              <a:gd name="connsiteX5" fmla="*/ 1285686 w 1591686"/>
              <a:gd name="connsiteY5" fmla="*/ 0 h 892473"/>
              <a:gd name="connsiteX6" fmla="*/ 1591686 w 1591686"/>
              <a:gd name="connsiteY6" fmla="*/ 0 h 892473"/>
              <a:gd name="connsiteX7" fmla="*/ 1591686 w 1591686"/>
              <a:gd name="connsiteY7" fmla="*/ 892473 h 892473"/>
              <a:gd name="connsiteX8" fmla="*/ 1285686 w 1591686"/>
              <a:gd name="connsiteY8" fmla="*/ 892473 h 892473"/>
              <a:gd name="connsiteX9" fmla="*/ 306000 w 1591686"/>
              <a:gd name="connsiteY9" fmla="*/ 892473 h 892473"/>
              <a:gd name="connsiteX10" fmla="*/ 0 w 1591686"/>
              <a:gd name="connsiteY10" fmla="*/ 892473 h 8924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591686" h="892473">
                <a:moveTo>
                  <a:pt x="1" y="331938"/>
                </a:moveTo>
                <a:lnTo>
                  <a:pt x="1" y="560538"/>
                </a:lnTo>
                <a:lnTo>
                  <a:pt x="95414" y="446238"/>
                </a:lnTo>
                <a:close/>
                <a:moveTo>
                  <a:pt x="0" y="0"/>
                </a:moveTo>
                <a:lnTo>
                  <a:pt x="306000" y="0"/>
                </a:lnTo>
                <a:lnTo>
                  <a:pt x="1285686" y="0"/>
                </a:lnTo>
                <a:lnTo>
                  <a:pt x="1591686" y="0"/>
                </a:lnTo>
                <a:lnTo>
                  <a:pt x="1591686" y="892473"/>
                </a:lnTo>
                <a:lnTo>
                  <a:pt x="1285686" y="892473"/>
                </a:lnTo>
                <a:lnTo>
                  <a:pt x="306000" y="892473"/>
                </a:lnTo>
                <a:lnTo>
                  <a:pt x="0" y="892473"/>
                </a:lnTo>
                <a:close/>
              </a:path>
            </a:pathLst>
          </a:custGeom>
          <a:solidFill>
            <a:schemeClr val="bg2">
              <a:alpha val="7000"/>
            </a:schemeClr>
          </a:solidFill>
          <a:ln w="2434" cap="flat">
            <a:noFill/>
            <a:prstDash val="solid"/>
            <a:miter/>
          </a:ln>
        </p:spPr>
        <p:txBody>
          <a:bodyPr wrap="square" lIns="306000" rIns="10800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400" b="0" i="0" u="none" strike="noStrike" kern="0" cap="none" spc="0" normalizeH="0" baseline="0" noProof="0" dirty="0">
              <a:ln>
                <a:noFill/>
              </a:ln>
              <a:solidFill>
                <a:srgbClr val="4D4E53"/>
              </a:solidFill>
              <a:effectLst/>
              <a:uLnTx/>
              <a:uFillTx/>
            </a:endParaRPr>
          </a:p>
        </p:txBody>
      </p:sp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0BF8DBF5-7388-9DA3-DDA2-3A915AD52840}"/>
              </a:ext>
            </a:extLst>
          </p:cNvPr>
          <p:cNvSpPr/>
          <p:nvPr/>
        </p:nvSpPr>
        <p:spPr>
          <a:xfrm>
            <a:off x="7552314" y="3967526"/>
            <a:ext cx="1591686" cy="892473"/>
          </a:xfrm>
          <a:custGeom>
            <a:avLst/>
            <a:gdLst>
              <a:gd name="connsiteX0" fmla="*/ 1 w 1591686"/>
              <a:gd name="connsiteY0" fmla="*/ 331938 h 892473"/>
              <a:gd name="connsiteX1" fmla="*/ 1 w 1591686"/>
              <a:gd name="connsiteY1" fmla="*/ 560538 h 892473"/>
              <a:gd name="connsiteX2" fmla="*/ 95414 w 1591686"/>
              <a:gd name="connsiteY2" fmla="*/ 446238 h 892473"/>
              <a:gd name="connsiteX3" fmla="*/ 0 w 1591686"/>
              <a:gd name="connsiteY3" fmla="*/ 0 h 892473"/>
              <a:gd name="connsiteX4" fmla="*/ 306000 w 1591686"/>
              <a:gd name="connsiteY4" fmla="*/ 0 h 892473"/>
              <a:gd name="connsiteX5" fmla="*/ 1285686 w 1591686"/>
              <a:gd name="connsiteY5" fmla="*/ 0 h 892473"/>
              <a:gd name="connsiteX6" fmla="*/ 1591686 w 1591686"/>
              <a:gd name="connsiteY6" fmla="*/ 0 h 892473"/>
              <a:gd name="connsiteX7" fmla="*/ 1591686 w 1591686"/>
              <a:gd name="connsiteY7" fmla="*/ 892473 h 892473"/>
              <a:gd name="connsiteX8" fmla="*/ 1285686 w 1591686"/>
              <a:gd name="connsiteY8" fmla="*/ 892473 h 892473"/>
              <a:gd name="connsiteX9" fmla="*/ 306000 w 1591686"/>
              <a:gd name="connsiteY9" fmla="*/ 892473 h 892473"/>
              <a:gd name="connsiteX10" fmla="*/ 0 w 1591686"/>
              <a:gd name="connsiteY10" fmla="*/ 892473 h 8924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591686" h="892473">
                <a:moveTo>
                  <a:pt x="1" y="331938"/>
                </a:moveTo>
                <a:lnTo>
                  <a:pt x="1" y="560538"/>
                </a:lnTo>
                <a:lnTo>
                  <a:pt x="95414" y="446238"/>
                </a:lnTo>
                <a:close/>
                <a:moveTo>
                  <a:pt x="0" y="0"/>
                </a:moveTo>
                <a:lnTo>
                  <a:pt x="306000" y="0"/>
                </a:lnTo>
                <a:lnTo>
                  <a:pt x="1285686" y="0"/>
                </a:lnTo>
                <a:lnTo>
                  <a:pt x="1591686" y="0"/>
                </a:lnTo>
                <a:lnTo>
                  <a:pt x="1591686" y="892473"/>
                </a:lnTo>
                <a:lnTo>
                  <a:pt x="1285686" y="892473"/>
                </a:lnTo>
                <a:lnTo>
                  <a:pt x="306000" y="892473"/>
                </a:lnTo>
                <a:lnTo>
                  <a:pt x="0" y="892473"/>
                </a:lnTo>
                <a:close/>
              </a:path>
            </a:pathLst>
          </a:custGeom>
          <a:solidFill>
            <a:schemeClr val="bg2">
              <a:alpha val="7000"/>
            </a:schemeClr>
          </a:solidFill>
          <a:ln w="2434" cap="flat">
            <a:noFill/>
            <a:prstDash val="solid"/>
            <a:miter/>
          </a:ln>
        </p:spPr>
        <p:txBody>
          <a:bodyPr wrap="square" lIns="30600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400" b="0" i="0" u="none" strike="noStrike" kern="0" cap="none" spc="0" normalizeH="0" baseline="0" noProof="0" dirty="0">
              <a:ln>
                <a:noFill/>
              </a:ln>
              <a:solidFill>
                <a:srgbClr val="4D4E53"/>
              </a:solidFill>
              <a:effectLst/>
              <a:uLnTx/>
              <a:uFillTx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B36BB949-17F9-6D6C-E3D4-388FAC3877FC}"/>
              </a:ext>
            </a:extLst>
          </p:cNvPr>
          <p:cNvSpPr/>
          <p:nvPr/>
        </p:nvSpPr>
        <p:spPr>
          <a:xfrm>
            <a:off x="-1" y="1882687"/>
            <a:ext cx="4496400" cy="892473"/>
          </a:xfrm>
          <a:prstGeom prst="rect">
            <a:avLst/>
          </a:prstGeom>
          <a:solidFill>
            <a:schemeClr val="bg2">
              <a:alpha val="10000"/>
            </a:schemeClr>
          </a:solidFill>
          <a:ln w="2434" cap="flat">
            <a:noFill/>
            <a:prstDash val="solid"/>
            <a:miter/>
          </a:ln>
        </p:spPr>
        <p:txBody>
          <a:bodyPr lIns="306000"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 dirty="0">
                <a:ln>
                  <a:noFill/>
                </a:ln>
                <a:solidFill>
                  <a:schemeClr val="bg2">
                    <a:lumMod val="50000"/>
                  </a:schemeClr>
                </a:solidFill>
                <a:effectLst/>
                <a:uLnTx/>
                <a:uFillTx/>
              </a:rPr>
              <a:t>IFRS consolidated result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AAA622E1-1349-3D7F-1F10-7D446782C1F8}"/>
              </a:ext>
            </a:extLst>
          </p:cNvPr>
          <p:cNvSpPr/>
          <p:nvPr/>
        </p:nvSpPr>
        <p:spPr>
          <a:xfrm>
            <a:off x="0" y="2925106"/>
            <a:ext cx="4496400" cy="892473"/>
          </a:xfrm>
          <a:prstGeom prst="rect">
            <a:avLst/>
          </a:prstGeom>
          <a:solidFill>
            <a:schemeClr val="bg2">
              <a:alpha val="10000"/>
            </a:schemeClr>
          </a:solidFill>
          <a:ln w="2434" cap="flat">
            <a:noFill/>
            <a:prstDash val="solid"/>
            <a:miter/>
          </a:ln>
        </p:spPr>
        <p:txBody>
          <a:bodyPr lIns="306000"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 dirty="0">
                <a:ln>
                  <a:noFill/>
                </a:ln>
                <a:solidFill>
                  <a:schemeClr val="bg2">
                    <a:lumMod val="50000"/>
                  </a:schemeClr>
                </a:solidFill>
                <a:effectLst/>
                <a:uLnTx/>
                <a:uFillTx/>
              </a:rPr>
              <a:t>Reinsurance consolidated result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0FE3A865-0BF3-2D2F-34E2-95AF43102B91}"/>
              </a:ext>
            </a:extLst>
          </p:cNvPr>
          <p:cNvSpPr/>
          <p:nvPr/>
        </p:nvSpPr>
        <p:spPr>
          <a:xfrm>
            <a:off x="0" y="3967526"/>
            <a:ext cx="4496400" cy="892473"/>
          </a:xfrm>
          <a:prstGeom prst="rect">
            <a:avLst/>
          </a:prstGeom>
          <a:solidFill>
            <a:schemeClr val="bg2">
              <a:alpha val="10000"/>
            </a:schemeClr>
          </a:solidFill>
          <a:ln w="2434" cap="flat">
            <a:noFill/>
            <a:prstDash val="solid"/>
            <a:miter/>
          </a:ln>
        </p:spPr>
        <p:txBody>
          <a:bodyPr lIns="306000"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 dirty="0">
                <a:ln>
                  <a:noFill/>
                </a:ln>
                <a:solidFill>
                  <a:schemeClr val="bg2">
                    <a:lumMod val="50000"/>
                  </a:schemeClr>
                </a:solidFill>
                <a:effectLst/>
                <a:uLnTx/>
                <a:uFillTx/>
              </a:rPr>
              <a:t>ERGO consolidated result</a:t>
            </a:r>
          </a:p>
        </p:txBody>
      </p:sp>
      <p:sp>
        <p:nvSpPr>
          <p:cNvPr id="20" name="Freeform: Shape 19">
            <a:extLst>
              <a:ext uri="{FF2B5EF4-FFF2-40B4-BE49-F238E27FC236}">
                <a16:creationId xmlns:a16="http://schemas.microsoft.com/office/drawing/2014/main" id="{0106486B-13E3-C576-184A-DEE26CD3D067}"/>
              </a:ext>
            </a:extLst>
          </p:cNvPr>
          <p:cNvSpPr/>
          <p:nvPr/>
        </p:nvSpPr>
        <p:spPr>
          <a:xfrm>
            <a:off x="3210713" y="1882687"/>
            <a:ext cx="1285686" cy="892473"/>
          </a:xfrm>
          <a:custGeom>
            <a:avLst/>
            <a:gdLst>
              <a:gd name="connsiteX0" fmla="*/ 1 w 1285686"/>
              <a:gd name="connsiteY0" fmla="*/ 331937 h 892473"/>
              <a:gd name="connsiteX1" fmla="*/ 1 w 1285686"/>
              <a:gd name="connsiteY1" fmla="*/ 560537 h 892473"/>
              <a:gd name="connsiteX2" fmla="*/ 95414 w 1285686"/>
              <a:gd name="connsiteY2" fmla="*/ 446237 h 892473"/>
              <a:gd name="connsiteX3" fmla="*/ 0 w 1285686"/>
              <a:gd name="connsiteY3" fmla="*/ 0 h 892473"/>
              <a:gd name="connsiteX4" fmla="*/ 1285686 w 1285686"/>
              <a:gd name="connsiteY4" fmla="*/ 0 h 892473"/>
              <a:gd name="connsiteX5" fmla="*/ 1285686 w 1285686"/>
              <a:gd name="connsiteY5" fmla="*/ 892473 h 892473"/>
              <a:gd name="connsiteX6" fmla="*/ 0 w 1285686"/>
              <a:gd name="connsiteY6" fmla="*/ 892473 h 8924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85686" h="892473">
                <a:moveTo>
                  <a:pt x="1" y="331937"/>
                </a:moveTo>
                <a:lnTo>
                  <a:pt x="1" y="560537"/>
                </a:lnTo>
                <a:lnTo>
                  <a:pt x="95414" y="446237"/>
                </a:lnTo>
                <a:close/>
                <a:moveTo>
                  <a:pt x="0" y="0"/>
                </a:moveTo>
                <a:lnTo>
                  <a:pt x="1285686" y="0"/>
                </a:lnTo>
                <a:lnTo>
                  <a:pt x="1285686" y="892473"/>
                </a:lnTo>
                <a:lnTo>
                  <a:pt x="0" y="892473"/>
                </a:lnTo>
                <a:close/>
              </a:path>
            </a:pathLst>
          </a:custGeom>
          <a:solidFill>
            <a:schemeClr val="bg2">
              <a:alpha val="7000"/>
            </a:schemeClr>
          </a:solidFill>
          <a:ln w="2434" cap="flat">
            <a:noFill/>
            <a:prstDash val="solid"/>
            <a:miter/>
          </a:ln>
        </p:spPr>
        <p:txBody>
          <a:bodyPr wrap="square" lIns="30600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400" b="0" i="0" u="none" strike="noStrike" kern="0" cap="none" spc="0" normalizeH="0" baseline="0" noProof="0" dirty="0">
              <a:ln>
                <a:noFill/>
              </a:ln>
              <a:solidFill>
                <a:srgbClr val="4D4E53"/>
              </a:solidFill>
              <a:effectLst/>
              <a:uLnTx/>
              <a:uFillTx/>
            </a:endParaRPr>
          </a:p>
        </p:txBody>
      </p:sp>
      <p:sp>
        <p:nvSpPr>
          <p:cNvPr id="21" name="Freeform: Shape 20">
            <a:extLst>
              <a:ext uri="{FF2B5EF4-FFF2-40B4-BE49-F238E27FC236}">
                <a16:creationId xmlns:a16="http://schemas.microsoft.com/office/drawing/2014/main" id="{FBAD763A-E6EE-51BC-8EF2-A8AFD9AD71D7}"/>
              </a:ext>
            </a:extLst>
          </p:cNvPr>
          <p:cNvSpPr/>
          <p:nvPr/>
        </p:nvSpPr>
        <p:spPr>
          <a:xfrm>
            <a:off x="3210713" y="2925107"/>
            <a:ext cx="1285686" cy="892473"/>
          </a:xfrm>
          <a:custGeom>
            <a:avLst/>
            <a:gdLst>
              <a:gd name="connsiteX0" fmla="*/ 1 w 1285686"/>
              <a:gd name="connsiteY0" fmla="*/ 331937 h 892473"/>
              <a:gd name="connsiteX1" fmla="*/ 1 w 1285686"/>
              <a:gd name="connsiteY1" fmla="*/ 560537 h 892473"/>
              <a:gd name="connsiteX2" fmla="*/ 95414 w 1285686"/>
              <a:gd name="connsiteY2" fmla="*/ 446237 h 892473"/>
              <a:gd name="connsiteX3" fmla="*/ 0 w 1285686"/>
              <a:gd name="connsiteY3" fmla="*/ 0 h 892473"/>
              <a:gd name="connsiteX4" fmla="*/ 1285686 w 1285686"/>
              <a:gd name="connsiteY4" fmla="*/ 0 h 892473"/>
              <a:gd name="connsiteX5" fmla="*/ 1285686 w 1285686"/>
              <a:gd name="connsiteY5" fmla="*/ 892473 h 892473"/>
              <a:gd name="connsiteX6" fmla="*/ 0 w 1285686"/>
              <a:gd name="connsiteY6" fmla="*/ 892473 h 8924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85686" h="892473">
                <a:moveTo>
                  <a:pt x="1" y="331937"/>
                </a:moveTo>
                <a:lnTo>
                  <a:pt x="1" y="560537"/>
                </a:lnTo>
                <a:lnTo>
                  <a:pt x="95414" y="446237"/>
                </a:lnTo>
                <a:close/>
                <a:moveTo>
                  <a:pt x="0" y="0"/>
                </a:moveTo>
                <a:lnTo>
                  <a:pt x="1285686" y="0"/>
                </a:lnTo>
                <a:lnTo>
                  <a:pt x="1285686" y="892473"/>
                </a:lnTo>
                <a:lnTo>
                  <a:pt x="0" y="892473"/>
                </a:lnTo>
                <a:close/>
              </a:path>
            </a:pathLst>
          </a:custGeom>
          <a:solidFill>
            <a:schemeClr val="bg2">
              <a:alpha val="7000"/>
            </a:schemeClr>
          </a:solidFill>
          <a:ln w="2434" cap="flat">
            <a:noFill/>
            <a:prstDash val="solid"/>
            <a:miter/>
          </a:ln>
        </p:spPr>
        <p:txBody>
          <a:bodyPr wrap="square" lIns="30600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400" b="0" i="0" u="none" strike="noStrike" kern="0" cap="none" spc="0" normalizeH="0" baseline="0" noProof="0" dirty="0">
              <a:ln>
                <a:noFill/>
              </a:ln>
              <a:solidFill>
                <a:srgbClr val="4D4E53"/>
              </a:solidFill>
              <a:effectLst/>
              <a:uLnTx/>
              <a:uFillTx/>
            </a:endParaRPr>
          </a:p>
        </p:txBody>
      </p:sp>
      <p:sp>
        <p:nvSpPr>
          <p:cNvPr id="22" name="Freeform: Shape 21">
            <a:extLst>
              <a:ext uri="{FF2B5EF4-FFF2-40B4-BE49-F238E27FC236}">
                <a16:creationId xmlns:a16="http://schemas.microsoft.com/office/drawing/2014/main" id="{708E34FE-6F06-0922-2C7D-47CEE4EEFCD7}"/>
              </a:ext>
            </a:extLst>
          </p:cNvPr>
          <p:cNvSpPr/>
          <p:nvPr/>
        </p:nvSpPr>
        <p:spPr>
          <a:xfrm>
            <a:off x="3210713" y="3967526"/>
            <a:ext cx="1285686" cy="892473"/>
          </a:xfrm>
          <a:custGeom>
            <a:avLst/>
            <a:gdLst>
              <a:gd name="connsiteX0" fmla="*/ 1 w 1285686"/>
              <a:gd name="connsiteY0" fmla="*/ 331937 h 892473"/>
              <a:gd name="connsiteX1" fmla="*/ 1 w 1285686"/>
              <a:gd name="connsiteY1" fmla="*/ 560537 h 892473"/>
              <a:gd name="connsiteX2" fmla="*/ 95414 w 1285686"/>
              <a:gd name="connsiteY2" fmla="*/ 446237 h 892473"/>
              <a:gd name="connsiteX3" fmla="*/ 0 w 1285686"/>
              <a:gd name="connsiteY3" fmla="*/ 0 h 892473"/>
              <a:gd name="connsiteX4" fmla="*/ 1285686 w 1285686"/>
              <a:gd name="connsiteY4" fmla="*/ 0 h 892473"/>
              <a:gd name="connsiteX5" fmla="*/ 1285686 w 1285686"/>
              <a:gd name="connsiteY5" fmla="*/ 892473 h 892473"/>
              <a:gd name="connsiteX6" fmla="*/ 0 w 1285686"/>
              <a:gd name="connsiteY6" fmla="*/ 892473 h 8924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85686" h="892473">
                <a:moveTo>
                  <a:pt x="1" y="331937"/>
                </a:moveTo>
                <a:lnTo>
                  <a:pt x="1" y="560537"/>
                </a:lnTo>
                <a:lnTo>
                  <a:pt x="95414" y="446237"/>
                </a:lnTo>
                <a:close/>
                <a:moveTo>
                  <a:pt x="0" y="0"/>
                </a:moveTo>
                <a:lnTo>
                  <a:pt x="1285686" y="0"/>
                </a:lnTo>
                <a:lnTo>
                  <a:pt x="1285686" y="892473"/>
                </a:lnTo>
                <a:lnTo>
                  <a:pt x="0" y="892473"/>
                </a:lnTo>
                <a:close/>
              </a:path>
            </a:pathLst>
          </a:custGeom>
          <a:solidFill>
            <a:schemeClr val="bg2">
              <a:alpha val="7000"/>
            </a:schemeClr>
          </a:solidFill>
          <a:ln w="2434" cap="flat">
            <a:noFill/>
            <a:prstDash val="solid"/>
            <a:miter/>
          </a:ln>
        </p:spPr>
        <p:txBody>
          <a:bodyPr wrap="square" lIns="30600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400" b="0" i="0" u="none" strike="noStrike" kern="0" cap="none" spc="0" normalizeH="0" baseline="0" noProof="0" dirty="0">
              <a:ln>
                <a:noFill/>
              </a:ln>
              <a:solidFill>
                <a:srgbClr val="4D4E53"/>
              </a:solidFill>
              <a:effectLst/>
              <a:uLnTx/>
              <a:uFillTx/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AA3176BB-EB1F-5749-AB05-EC0CC5876B69}"/>
              </a:ext>
            </a:extLst>
          </p:cNvPr>
          <p:cNvSpPr txBox="1"/>
          <p:nvPr/>
        </p:nvSpPr>
        <p:spPr>
          <a:xfrm>
            <a:off x="222541" y="1418616"/>
            <a:ext cx="4051315" cy="337100"/>
          </a:xfrm>
          <a:prstGeom prst="rect">
            <a:avLst/>
          </a:prstGeom>
          <a:noFill/>
          <a:effectLst/>
        </p:spPr>
        <p:txBody>
          <a:bodyPr wrap="square" lIns="0" tIns="0" rIns="0" bIns="90000" anchor="b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0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rPr>
              <a:t>Key Figures based on </a:t>
            </a:r>
            <a:r>
              <a:rPr kumimoji="0" lang="en-GB" sz="1600" b="1" i="0" u="none" strike="noStrike" kern="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</a:rPr>
              <a:t>annual report 2023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30C44ACA-77A4-3C58-9CE0-C97EC2F30D3D}"/>
              </a:ext>
            </a:extLst>
          </p:cNvPr>
          <p:cNvSpPr txBox="1"/>
          <p:nvPr/>
        </p:nvSpPr>
        <p:spPr>
          <a:xfrm>
            <a:off x="3561797" y="2190424"/>
            <a:ext cx="934602" cy="276999"/>
          </a:xfrm>
          <a:prstGeom prst="rect">
            <a:avLst/>
          </a:prstGeom>
          <a:noFill/>
          <a:effectLst/>
        </p:spPr>
        <p:txBody>
          <a:bodyPr wrap="none" lIns="0" tIns="0" rIns="108000" bIns="0" anchor="ctr">
            <a:spAutoFit/>
          </a:bodyPr>
          <a:lstStyle/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</a:rPr>
              <a:t>€</a:t>
            </a:r>
            <a:r>
              <a: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</a:rPr>
              <a:t>4,597</a:t>
            </a:r>
            <a:r>
              <a:rPr kumimoji="0" lang="en-GB" sz="1400" b="0" i="0" u="none" strike="noStrike" kern="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</a:rPr>
              <a:t>m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3CC9277B-BF67-5063-A52B-9C764E17E70D}"/>
              </a:ext>
            </a:extLst>
          </p:cNvPr>
          <p:cNvSpPr txBox="1"/>
          <p:nvPr/>
        </p:nvSpPr>
        <p:spPr>
          <a:xfrm>
            <a:off x="3561798" y="3232844"/>
            <a:ext cx="934602" cy="276999"/>
          </a:xfrm>
          <a:prstGeom prst="rect">
            <a:avLst/>
          </a:prstGeom>
          <a:noFill/>
          <a:effectLst/>
        </p:spPr>
        <p:txBody>
          <a:bodyPr wrap="none" lIns="0" tIns="0" rIns="108000" bIns="0" anchor="ctr">
            <a:spAutoFit/>
          </a:bodyPr>
          <a:lstStyle/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</a:rPr>
              <a:t>€</a:t>
            </a:r>
            <a:r>
              <a:rPr lang="en-GB" sz="1800" kern="0" dirty="0">
                <a:solidFill>
                  <a:schemeClr val="bg2"/>
                </a:solidFill>
              </a:rPr>
              <a:t>3,876</a:t>
            </a:r>
            <a:r>
              <a:rPr kumimoji="0" lang="en-GB" sz="1400" b="0" i="0" u="none" strike="noStrike" kern="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</a:rPr>
              <a:t>m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80A27EAE-A26A-D76A-2917-CCFDAE8137C7}"/>
              </a:ext>
            </a:extLst>
          </p:cNvPr>
          <p:cNvSpPr txBox="1"/>
          <p:nvPr/>
        </p:nvSpPr>
        <p:spPr>
          <a:xfrm>
            <a:off x="3754159" y="4275263"/>
            <a:ext cx="742241" cy="276999"/>
          </a:xfrm>
          <a:prstGeom prst="rect">
            <a:avLst/>
          </a:prstGeom>
          <a:noFill/>
          <a:effectLst/>
        </p:spPr>
        <p:txBody>
          <a:bodyPr wrap="none" lIns="0" tIns="0" rIns="108000" bIns="0" anchor="ctr">
            <a:spAutoFit/>
          </a:bodyPr>
          <a:lstStyle/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</a:rPr>
              <a:t>€</a:t>
            </a:r>
            <a:r>
              <a: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</a:rPr>
              <a:t>721</a:t>
            </a:r>
            <a:r>
              <a:rPr kumimoji="0" lang="en-GB" sz="1400" b="0" i="0" u="none" strike="noStrike" kern="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</a:rPr>
              <a:t>m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D1BC85ED-4096-D649-32F9-FF12EE24365C}"/>
              </a:ext>
            </a:extLst>
          </p:cNvPr>
          <p:cNvSpPr txBox="1"/>
          <p:nvPr/>
        </p:nvSpPr>
        <p:spPr>
          <a:xfrm>
            <a:off x="8033293" y="2190424"/>
            <a:ext cx="804707" cy="276999"/>
          </a:xfrm>
          <a:prstGeom prst="rect">
            <a:avLst/>
          </a:prstGeom>
          <a:noFill/>
          <a:effectLst/>
        </p:spPr>
        <p:txBody>
          <a:bodyPr wrap="none" lIns="0" tIns="0" rIns="0" bIns="0" anchor="ctr">
            <a:spAutoFit/>
          </a:bodyPr>
          <a:lstStyle/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</a:rPr>
              <a:t>€</a:t>
            </a:r>
            <a:r>
              <a:rPr lang="en-GB" sz="1800" kern="0" dirty="0">
                <a:solidFill>
                  <a:schemeClr val="bg2"/>
                </a:solidFill>
              </a:rPr>
              <a:t>57.9bn</a:t>
            </a:r>
            <a:endParaRPr kumimoji="0" lang="en-GB" sz="1400" b="0" i="0" u="none" strike="noStrike" kern="0" cap="none" spc="0" normalizeH="0" baseline="0" noProof="0" dirty="0">
              <a:ln>
                <a:noFill/>
              </a:ln>
              <a:solidFill>
                <a:schemeClr val="bg2"/>
              </a:solidFill>
              <a:effectLst/>
              <a:uLnTx/>
              <a:uFillTx/>
            </a:endParaRP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122FB101-C5AF-C79E-E490-698827BE1878}"/>
              </a:ext>
            </a:extLst>
          </p:cNvPr>
          <p:cNvSpPr txBox="1"/>
          <p:nvPr/>
        </p:nvSpPr>
        <p:spPr>
          <a:xfrm>
            <a:off x="8482133" y="3209457"/>
            <a:ext cx="355867" cy="276999"/>
          </a:xfrm>
          <a:prstGeom prst="rect">
            <a:avLst/>
          </a:prstGeom>
          <a:noFill/>
          <a:effectLst/>
        </p:spPr>
        <p:txBody>
          <a:bodyPr wrap="none" lIns="0" tIns="0" rIns="0" bIns="0" anchor="ctr">
            <a:spAutoFit/>
          </a:bodyPr>
          <a:lstStyle/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</a:rPr>
              <a:t>€</a:t>
            </a:r>
            <a:r>
              <a: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</a:rPr>
              <a:t>15</a:t>
            </a:r>
            <a:endParaRPr kumimoji="0" lang="en-GB" sz="1400" b="0" i="0" u="none" strike="noStrike" kern="0" cap="none" spc="0" normalizeH="0" baseline="0" noProof="0" dirty="0">
              <a:ln>
                <a:noFill/>
              </a:ln>
              <a:solidFill>
                <a:schemeClr val="bg2"/>
              </a:solidFill>
              <a:effectLst/>
              <a:uLnTx/>
              <a:uFillTx/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40B62C07-1604-15D5-882A-55B80E305E31}"/>
              </a:ext>
            </a:extLst>
          </p:cNvPr>
          <p:cNvSpPr txBox="1"/>
          <p:nvPr/>
        </p:nvSpPr>
        <p:spPr>
          <a:xfrm>
            <a:off x="8292979" y="4266214"/>
            <a:ext cx="545021" cy="276999"/>
          </a:xfrm>
          <a:prstGeom prst="rect">
            <a:avLst/>
          </a:prstGeom>
          <a:noFill/>
          <a:effectLst/>
        </p:spPr>
        <p:txBody>
          <a:bodyPr wrap="none" lIns="0" tIns="0" rIns="0" bIns="0" anchor="ctr">
            <a:spAutoFit/>
          </a:bodyPr>
          <a:lstStyle/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</a:rPr>
              <a:t>267</a:t>
            </a:r>
            <a:r>
              <a:rPr kumimoji="0" lang="en-GB" sz="1400" b="0" i="0" u="none" strike="noStrike" kern="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</a:rPr>
              <a:t>%</a:t>
            </a: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DBF3DA8C-E42C-3250-EE5D-3468751545D3}"/>
              </a:ext>
            </a:extLst>
          </p:cNvPr>
          <p:cNvGrpSpPr/>
          <p:nvPr/>
        </p:nvGrpSpPr>
        <p:grpSpPr>
          <a:xfrm>
            <a:off x="7844037" y="1179068"/>
            <a:ext cx="912377" cy="488416"/>
            <a:chOff x="7844037" y="1179068"/>
            <a:chExt cx="912377" cy="488416"/>
          </a:xfrm>
        </p:grpSpPr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6BA34099-2E28-C065-9D41-4F63749A9DD5}"/>
                </a:ext>
              </a:extLst>
            </p:cNvPr>
            <p:cNvSpPr/>
            <p:nvPr/>
          </p:nvSpPr>
          <p:spPr>
            <a:xfrm>
              <a:off x="8018730" y="1179068"/>
              <a:ext cx="667122" cy="455212"/>
            </a:xfrm>
            <a:custGeom>
              <a:avLst/>
              <a:gdLst>
                <a:gd name="connsiteX0" fmla="*/ 95727 w 842011"/>
                <a:gd name="connsiteY0" fmla="*/ 416433 h 574548"/>
                <a:gd name="connsiteX1" fmla="*/ 103633 w 842011"/>
                <a:gd name="connsiteY1" fmla="*/ 424339 h 574548"/>
                <a:gd name="connsiteX2" fmla="*/ 103633 w 842011"/>
                <a:gd name="connsiteY2" fmla="*/ 469773 h 574548"/>
                <a:gd name="connsiteX3" fmla="*/ 503111 w 842011"/>
                <a:gd name="connsiteY3" fmla="*/ 469773 h 574548"/>
                <a:gd name="connsiteX4" fmla="*/ 511017 w 842011"/>
                <a:gd name="connsiteY4" fmla="*/ 477679 h 574548"/>
                <a:gd name="connsiteX5" fmla="*/ 503111 w 842011"/>
                <a:gd name="connsiteY5" fmla="*/ 485584 h 574548"/>
                <a:gd name="connsiteX6" fmla="*/ 15431 w 842011"/>
                <a:gd name="connsiteY6" fmla="*/ 485584 h 574548"/>
                <a:gd name="connsiteX7" fmla="*/ 15431 w 842011"/>
                <a:gd name="connsiteY7" fmla="*/ 492633 h 574548"/>
                <a:gd name="connsiteX8" fmla="*/ 81534 w 842011"/>
                <a:gd name="connsiteY8" fmla="*/ 558641 h 574548"/>
                <a:gd name="connsiteX9" fmla="*/ 503683 w 842011"/>
                <a:gd name="connsiteY9" fmla="*/ 558641 h 574548"/>
                <a:gd name="connsiteX10" fmla="*/ 511588 w 842011"/>
                <a:gd name="connsiteY10" fmla="*/ 566547 h 574548"/>
                <a:gd name="connsiteX11" fmla="*/ 503683 w 842011"/>
                <a:gd name="connsiteY11" fmla="*/ 574548 h 574548"/>
                <a:gd name="connsiteX12" fmla="*/ 82011 w 842011"/>
                <a:gd name="connsiteY12" fmla="*/ 574548 h 574548"/>
                <a:gd name="connsiteX13" fmla="*/ 0 w 842011"/>
                <a:gd name="connsiteY13" fmla="*/ 492633 h 574548"/>
                <a:gd name="connsiteX14" fmla="*/ 0 w 842011"/>
                <a:gd name="connsiteY14" fmla="*/ 477679 h 574548"/>
                <a:gd name="connsiteX15" fmla="*/ 7906 w 842011"/>
                <a:gd name="connsiteY15" fmla="*/ 469773 h 574548"/>
                <a:gd name="connsiteX16" fmla="*/ 87821 w 842011"/>
                <a:gd name="connsiteY16" fmla="*/ 469773 h 574548"/>
                <a:gd name="connsiteX17" fmla="*/ 87821 w 842011"/>
                <a:gd name="connsiteY17" fmla="*/ 424339 h 574548"/>
                <a:gd name="connsiteX18" fmla="*/ 95727 w 842011"/>
                <a:gd name="connsiteY18" fmla="*/ 416433 h 574548"/>
                <a:gd name="connsiteX19" fmla="*/ 146590 w 842011"/>
                <a:gd name="connsiteY19" fmla="*/ 50768 h 574548"/>
                <a:gd name="connsiteX20" fmla="*/ 782575 w 842011"/>
                <a:gd name="connsiteY20" fmla="*/ 50768 h 574548"/>
                <a:gd name="connsiteX21" fmla="*/ 790576 w 842011"/>
                <a:gd name="connsiteY21" fmla="*/ 58674 h 574548"/>
                <a:gd name="connsiteX22" fmla="*/ 790576 w 842011"/>
                <a:gd name="connsiteY22" fmla="*/ 376142 h 574548"/>
                <a:gd name="connsiteX23" fmla="*/ 782575 w 842011"/>
                <a:gd name="connsiteY23" fmla="*/ 384143 h 574548"/>
                <a:gd name="connsiteX24" fmla="*/ 774669 w 842011"/>
                <a:gd name="connsiteY24" fmla="*/ 376142 h 574548"/>
                <a:gd name="connsiteX25" fmla="*/ 774669 w 842011"/>
                <a:gd name="connsiteY25" fmla="*/ 66675 h 574548"/>
                <a:gd name="connsiteX26" fmla="*/ 154306 w 842011"/>
                <a:gd name="connsiteY26" fmla="*/ 66675 h 574548"/>
                <a:gd name="connsiteX27" fmla="*/ 154496 w 842011"/>
                <a:gd name="connsiteY27" fmla="*/ 71437 h 574548"/>
                <a:gd name="connsiteX28" fmla="*/ 146590 w 842011"/>
                <a:gd name="connsiteY28" fmla="*/ 79343 h 574548"/>
                <a:gd name="connsiteX29" fmla="*/ 138684 w 842011"/>
                <a:gd name="connsiteY29" fmla="*/ 71437 h 574548"/>
                <a:gd name="connsiteX30" fmla="*/ 138684 w 842011"/>
                <a:gd name="connsiteY30" fmla="*/ 58674 h 574548"/>
                <a:gd name="connsiteX31" fmla="*/ 146590 w 842011"/>
                <a:gd name="connsiteY31" fmla="*/ 50768 h 574548"/>
                <a:gd name="connsiteX32" fmla="*/ 121159 w 842011"/>
                <a:gd name="connsiteY32" fmla="*/ 0 h 574548"/>
                <a:gd name="connsiteX33" fmla="*/ 808673 w 842011"/>
                <a:gd name="connsiteY33" fmla="*/ 0 h 574548"/>
                <a:gd name="connsiteX34" fmla="*/ 842011 w 842011"/>
                <a:gd name="connsiteY34" fmla="*/ 33337 h 574548"/>
                <a:gd name="connsiteX35" fmla="*/ 842011 w 842011"/>
                <a:gd name="connsiteY35" fmla="*/ 389287 h 574548"/>
                <a:gd name="connsiteX36" fmla="*/ 839725 w 842011"/>
                <a:gd name="connsiteY36" fmla="*/ 394811 h 574548"/>
                <a:gd name="connsiteX37" fmla="*/ 834143 w 842011"/>
                <a:gd name="connsiteY37" fmla="*/ 397154 h 574548"/>
                <a:gd name="connsiteX38" fmla="*/ 826199 w 842011"/>
                <a:gd name="connsiteY38" fmla="*/ 389287 h 574548"/>
                <a:gd name="connsiteX39" fmla="*/ 826199 w 842011"/>
                <a:gd name="connsiteY39" fmla="*/ 33242 h 574548"/>
                <a:gd name="connsiteX40" fmla="*/ 808673 w 842011"/>
                <a:gd name="connsiteY40" fmla="*/ 15811 h 574548"/>
                <a:gd name="connsiteX41" fmla="*/ 121635 w 842011"/>
                <a:gd name="connsiteY41" fmla="*/ 15811 h 574548"/>
                <a:gd name="connsiteX42" fmla="*/ 121159 w 842011"/>
                <a:gd name="connsiteY42" fmla="*/ 15906 h 574548"/>
                <a:gd name="connsiteX43" fmla="*/ 120673 w 842011"/>
                <a:gd name="connsiteY43" fmla="*/ 15916 h 574548"/>
                <a:gd name="connsiteX44" fmla="*/ 104395 w 842011"/>
                <a:gd name="connsiteY44" fmla="*/ 33337 h 574548"/>
                <a:gd name="connsiteX45" fmla="*/ 104395 w 842011"/>
                <a:gd name="connsiteY45" fmla="*/ 71437 h 574548"/>
                <a:gd name="connsiteX46" fmla="*/ 96489 w 842011"/>
                <a:gd name="connsiteY46" fmla="*/ 79343 h 574548"/>
                <a:gd name="connsiteX47" fmla="*/ 88488 w 842011"/>
                <a:gd name="connsiteY47" fmla="*/ 71437 h 574548"/>
                <a:gd name="connsiteX48" fmla="*/ 88488 w 842011"/>
                <a:gd name="connsiteY48" fmla="*/ 33337 h 574548"/>
                <a:gd name="connsiteX49" fmla="*/ 88478 w 842011"/>
                <a:gd name="connsiteY49" fmla="*/ 32661 h 574548"/>
                <a:gd name="connsiteX50" fmla="*/ 121159 w 842011"/>
                <a:gd name="connsiteY50" fmla="*/ 0 h 5745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</a:cxnLst>
              <a:rect l="l" t="t" r="r" b="b"/>
              <a:pathLst>
                <a:path w="842011" h="574548">
                  <a:moveTo>
                    <a:pt x="95727" y="416433"/>
                  </a:moveTo>
                  <a:cubicBezTo>
                    <a:pt x="100089" y="416433"/>
                    <a:pt x="103633" y="419976"/>
                    <a:pt x="103633" y="424339"/>
                  </a:cubicBezTo>
                  <a:lnTo>
                    <a:pt x="103633" y="469773"/>
                  </a:lnTo>
                  <a:lnTo>
                    <a:pt x="503111" y="469773"/>
                  </a:lnTo>
                  <a:cubicBezTo>
                    <a:pt x="507474" y="469773"/>
                    <a:pt x="511017" y="473316"/>
                    <a:pt x="511017" y="477679"/>
                  </a:cubicBezTo>
                  <a:cubicBezTo>
                    <a:pt x="511017" y="482041"/>
                    <a:pt x="507474" y="485584"/>
                    <a:pt x="503111" y="485584"/>
                  </a:cubicBezTo>
                  <a:lnTo>
                    <a:pt x="15431" y="485584"/>
                  </a:lnTo>
                  <a:lnTo>
                    <a:pt x="15431" y="492633"/>
                  </a:lnTo>
                  <a:cubicBezTo>
                    <a:pt x="15479" y="529104"/>
                    <a:pt x="45063" y="558641"/>
                    <a:pt x="81534" y="558641"/>
                  </a:cubicBezTo>
                  <a:lnTo>
                    <a:pt x="503683" y="558641"/>
                  </a:lnTo>
                  <a:cubicBezTo>
                    <a:pt x="508045" y="558641"/>
                    <a:pt x="511588" y="562184"/>
                    <a:pt x="511588" y="566547"/>
                  </a:cubicBezTo>
                  <a:cubicBezTo>
                    <a:pt x="511588" y="570928"/>
                    <a:pt x="508064" y="574500"/>
                    <a:pt x="503683" y="574548"/>
                  </a:cubicBezTo>
                  <a:lnTo>
                    <a:pt x="82011" y="574548"/>
                  </a:lnTo>
                  <a:cubicBezTo>
                    <a:pt x="36758" y="574548"/>
                    <a:pt x="48" y="537886"/>
                    <a:pt x="0" y="492633"/>
                  </a:cubicBezTo>
                  <a:lnTo>
                    <a:pt x="0" y="477679"/>
                  </a:lnTo>
                  <a:cubicBezTo>
                    <a:pt x="0" y="473316"/>
                    <a:pt x="3544" y="469773"/>
                    <a:pt x="7906" y="469773"/>
                  </a:cubicBezTo>
                  <a:lnTo>
                    <a:pt x="87821" y="469773"/>
                  </a:lnTo>
                  <a:lnTo>
                    <a:pt x="87821" y="424339"/>
                  </a:lnTo>
                  <a:cubicBezTo>
                    <a:pt x="87821" y="419976"/>
                    <a:pt x="91365" y="416433"/>
                    <a:pt x="95727" y="416433"/>
                  </a:cubicBezTo>
                  <a:close/>
                  <a:moveTo>
                    <a:pt x="146590" y="50768"/>
                  </a:moveTo>
                  <a:lnTo>
                    <a:pt x="782575" y="50768"/>
                  </a:lnTo>
                  <a:cubicBezTo>
                    <a:pt x="786956" y="50768"/>
                    <a:pt x="790519" y="54292"/>
                    <a:pt x="790576" y="58674"/>
                  </a:cubicBezTo>
                  <a:lnTo>
                    <a:pt x="790576" y="376142"/>
                  </a:lnTo>
                  <a:cubicBezTo>
                    <a:pt x="790528" y="380543"/>
                    <a:pt x="786975" y="384095"/>
                    <a:pt x="782575" y="384143"/>
                  </a:cubicBezTo>
                  <a:cubicBezTo>
                    <a:pt x="778193" y="384095"/>
                    <a:pt x="774669" y="380523"/>
                    <a:pt x="774669" y="376142"/>
                  </a:cubicBezTo>
                  <a:lnTo>
                    <a:pt x="774669" y="66675"/>
                  </a:lnTo>
                  <a:lnTo>
                    <a:pt x="154306" y="66675"/>
                  </a:lnTo>
                  <a:lnTo>
                    <a:pt x="154496" y="71437"/>
                  </a:lnTo>
                  <a:cubicBezTo>
                    <a:pt x="154496" y="75800"/>
                    <a:pt x="150953" y="79343"/>
                    <a:pt x="146590" y="79343"/>
                  </a:cubicBezTo>
                  <a:cubicBezTo>
                    <a:pt x="142228" y="79343"/>
                    <a:pt x="138684" y="75800"/>
                    <a:pt x="138684" y="71437"/>
                  </a:cubicBezTo>
                  <a:lnTo>
                    <a:pt x="138684" y="58674"/>
                  </a:lnTo>
                  <a:cubicBezTo>
                    <a:pt x="138684" y="54311"/>
                    <a:pt x="142228" y="50768"/>
                    <a:pt x="146590" y="50768"/>
                  </a:cubicBezTo>
                  <a:close/>
                  <a:moveTo>
                    <a:pt x="121159" y="0"/>
                  </a:moveTo>
                  <a:lnTo>
                    <a:pt x="808673" y="0"/>
                  </a:lnTo>
                  <a:cubicBezTo>
                    <a:pt x="827085" y="0"/>
                    <a:pt x="842011" y="14925"/>
                    <a:pt x="842011" y="33337"/>
                  </a:cubicBezTo>
                  <a:lnTo>
                    <a:pt x="842011" y="389287"/>
                  </a:lnTo>
                  <a:cubicBezTo>
                    <a:pt x="842030" y="391363"/>
                    <a:pt x="841211" y="393354"/>
                    <a:pt x="839725" y="394811"/>
                  </a:cubicBezTo>
                  <a:cubicBezTo>
                    <a:pt x="838248" y="396307"/>
                    <a:pt x="836238" y="397145"/>
                    <a:pt x="834143" y="397154"/>
                  </a:cubicBezTo>
                  <a:cubicBezTo>
                    <a:pt x="829771" y="397173"/>
                    <a:pt x="826218" y="393649"/>
                    <a:pt x="826199" y="389287"/>
                  </a:cubicBezTo>
                  <a:lnTo>
                    <a:pt x="826199" y="33242"/>
                  </a:lnTo>
                  <a:cubicBezTo>
                    <a:pt x="826142" y="23603"/>
                    <a:pt x="818312" y="15811"/>
                    <a:pt x="808673" y="15811"/>
                  </a:cubicBezTo>
                  <a:lnTo>
                    <a:pt x="121635" y="15811"/>
                  </a:lnTo>
                  <a:lnTo>
                    <a:pt x="121159" y="15906"/>
                  </a:lnTo>
                  <a:cubicBezTo>
                    <a:pt x="120997" y="15906"/>
                    <a:pt x="120835" y="15906"/>
                    <a:pt x="120673" y="15916"/>
                  </a:cubicBezTo>
                  <a:cubicBezTo>
                    <a:pt x="111367" y="16231"/>
                    <a:pt x="104080" y="24032"/>
                    <a:pt x="104395" y="33337"/>
                  </a:cubicBezTo>
                  <a:lnTo>
                    <a:pt x="104395" y="71437"/>
                  </a:lnTo>
                  <a:cubicBezTo>
                    <a:pt x="104395" y="75800"/>
                    <a:pt x="100851" y="79343"/>
                    <a:pt x="96489" y="79343"/>
                  </a:cubicBezTo>
                  <a:cubicBezTo>
                    <a:pt x="92107" y="79343"/>
                    <a:pt x="88545" y="75819"/>
                    <a:pt x="88488" y="71437"/>
                  </a:cubicBezTo>
                  <a:lnTo>
                    <a:pt x="88488" y="33337"/>
                  </a:lnTo>
                  <a:cubicBezTo>
                    <a:pt x="88488" y="33109"/>
                    <a:pt x="88478" y="32890"/>
                    <a:pt x="88478" y="32661"/>
                  </a:cubicBezTo>
                  <a:cubicBezTo>
                    <a:pt x="88488" y="14621"/>
                    <a:pt x="103118" y="0"/>
                    <a:pt x="121159" y="0"/>
                  </a:cubicBezTo>
                  <a:close/>
                </a:path>
              </a:pathLst>
            </a:custGeom>
            <a:solidFill>
              <a:schemeClr val="tx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5FFB52C0-84AF-FFF5-12E8-CA1F50A6A53A}"/>
                </a:ext>
              </a:extLst>
            </p:cNvPr>
            <p:cNvSpPr/>
            <p:nvPr/>
          </p:nvSpPr>
          <p:spPr>
            <a:xfrm>
              <a:off x="8163556" y="1269323"/>
              <a:ext cx="426341" cy="207547"/>
            </a:xfrm>
            <a:custGeom>
              <a:avLst/>
              <a:gdLst>
                <a:gd name="connsiteX0" fmla="*/ 8090 w 538108"/>
                <a:gd name="connsiteY0" fmla="*/ 3 h 261957"/>
                <a:gd name="connsiteX1" fmla="*/ 9518 w 538108"/>
                <a:gd name="connsiteY1" fmla="*/ 289 h 261957"/>
                <a:gd name="connsiteX2" fmla="*/ 121627 w 538108"/>
                <a:gd name="connsiteY2" fmla="*/ 154117 h 261957"/>
                <a:gd name="connsiteX3" fmla="*/ 121627 w 538108"/>
                <a:gd name="connsiteY3" fmla="*/ 168214 h 261957"/>
                <a:gd name="connsiteX4" fmla="*/ 128866 w 538108"/>
                <a:gd name="connsiteY4" fmla="*/ 163833 h 261957"/>
                <a:gd name="connsiteX5" fmla="*/ 141630 w 538108"/>
                <a:gd name="connsiteY5" fmla="*/ 148022 h 261957"/>
                <a:gd name="connsiteX6" fmla="*/ 182397 w 538108"/>
                <a:gd name="connsiteY6" fmla="*/ 102587 h 261957"/>
                <a:gd name="connsiteX7" fmla="*/ 220021 w 538108"/>
                <a:gd name="connsiteY7" fmla="*/ 137449 h 261957"/>
                <a:gd name="connsiteX8" fmla="*/ 242500 w 538108"/>
                <a:gd name="connsiteY8" fmla="*/ 157737 h 261957"/>
                <a:gd name="connsiteX9" fmla="*/ 252787 w 538108"/>
                <a:gd name="connsiteY9" fmla="*/ 152117 h 261957"/>
                <a:gd name="connsiteX10" fmla="*/ 290887 w 538108"/>
                <a:gd name="connsiteY10" fmla="*/ 82680 h 261957"/>
                <a:gd name="connsiteX11" fmla="*/ 292982 w 538108"/>
                <a:gd name="connsiteY11" fmla="*/ 78298 h 261957"/>
                <a:gd name="connsiteX12" fmla="*/ 305936 w 538108"/>
                <a:gd name="connsiteY12" fmla="*/ 50962 h 261957"/>
                <a:gd name="connsiteX13" fmla="*/ 334511 w 538108"/>
                <a:gd name="connsiteY13" fmla="*/ 28959 h 261957"/>
                <a:gd name="connsiteX14" fmla="*/ 363086 w 538108"/>
                <a:gd name="connsiteY14" fmla="*/ 51152 h 261957"/>
                <a:gd name="connsiteX15" fmla="*/ 363943 w 538108"/>
                <a:gd name="connsiteY15" fmla="*/ 53057 h 261957"/>
                <a:gd name="connsiteX16" fmla="*/ 420427 w 538108"/>
                <a:gd name="connsiteY16" fmla="*/ 141164 h 261957"/>
                <a:gd name="connsiteX17" fmla="*/ 422522 w 538108"/>
                <a:gd name="connsiteY17" fmla="*/ 142116 h 261957"/>
                <a:gd name="connsiteX18" fmla="*/ 427190 w 538108"/>
                <a:gd name="connsiteY18" fmla="*/ 139639 h 261957"/>
                <a:gd name="connsiteX19" fmla="*/ 478339 w 538108"/>
                <a:gd name="connsiteY19" fmla="*/ 147640 h 261957"/>
                <a:gd name="connsiteX20" fmla="*/ 487387 w 538108"/>
                <a:gd name="connsiteY20" fmla="*/ 160880 h 261957"/>
                <a:gd name="connsiteX21" fmla="*/ 530726 w 538108"/>
                <a:gd name="connsiteY21" fmla="*/ 198980 h 261957"/>
                <a:gd name="connsiteX22" fmla="*/ 535946 w 538108"/>
                <a:gd name="connsiteY22" fmla="*/ 201485 h 261957"/>
                <a:gd name="connsiteX23" fmla="*/ 535584 w 538108"/>
                <a:gd name="connsiteY23" fmla="*/ 212791 h 261957"/>
                <a:gd name="connsiteX24" fmla="*/ 529583 w 538108"/>
                <a:gd name="connsiteY24" fmla="*/ 214792 h 261957"/>
                <a:gd name="connsiteX25" fmla="*/ 528726 w 538108"/>
                <a:gd name="connsiteY25" fmla="*/ 214792 h 261957"/>
                <a:gd name="connsiteX26" fmla="*/ 473862 w 538108"/>
                <a:gd name="connsiteY26" fmla="*/ 169643 h 261957"/>
                <a:gd name="connsiteX27" fmla="*/ 467004 w 538108"/>
                <a:gd name="connsiteY27" fmla="*/ 159166 h 261957"/>
                <a:gd name="connsiteX28" fmla="*/ 434143 w 538108"/>
                <a:gd name="connsiteY28" fmla="*/ 154022 h 261957"/>
                <a:gd name="connsiteX29" fmla="*/ 428809 w 538108"/>
                <a:gd name="connsiteY29" fmla="*/ 156784 h 261957"/>
                <a:gd name="connsiteX30" fmla="*/ 348989 w 538108"/>
                <a:gd name="connsiteY30" fmla="*/ 59630 h 261957"/>
                <a:gd name="connsiteX31" fmla="*/ 348322 w 538108"/>
                <a:gd name="connsiteY31" fmla="*/ 58296 h 261957"/>
                <a:gd name="connsiteX32" fmla="*/ 334416 w 538108"/>
                <a:gd name="connsiteY32" fmla="*/ 44961 h 261957"/>
                <a:gd name="connsiteX33" fmla="*/ 320700 w 538108"/>
                <a:gd name="connsiteY33" fmla="*/ 58487 h 261957"/>
                <a:gd name="connsiteX34" fmla="*/ 313270 w 538108"/>
                <a:gd name="connsiteY34" fmla="*/ 73441 h 261957"/>
                <a:gd name="connsiteX35" fmla="*/ 307936 w 538108"/>
                <a:gd name="connsiteY35" fmla="*/ 84680 h 261957"/>
                <a:gd name="connsiteX36" fmla="*/ 265741 w 538108"/>
                <a:gd name="connsiteY36" fmla="*/ 162404 h 261957"/>
                <a:gd name="connsiteX37" fmla="*/ 242500 w 538108"/>
                <a:gd name="connsiteY37" fmla="*/ 173263 h 261957"/>
                <a:gd name="connsiteX38" fmla="*/ 207448 w 538108"/>
                <a:gd name="connsiteY38" fmla="*/ 144688 h 261957"/>
                <a:gd name="connsiteX39" fmla="*/ 183540 w 538108"/>
                <a:gd name="connsiteY39" fmla="*/ 118208 h 261957"/>
                <a:gd name="connsiteX40" fmla="*/ 157727 w 538108"/>
                <a:gd name="connsiteY40" fmla="*/ 153451 h 261957"/>
                <a:gd name="connsiteX41" fmla="*/ 123913 w 538108"/>
                <a:gd name="connsiteY41" fmla="*/ 182026 h 261957"/>
                <a:gd name="connsiteX42" fmla="*/ 120675 w 538108"/>
                <a:gd name="connsiteY42" fmla="*/ 182502 h 261957"/>
                <a:gd name="connsiteX43" fmla="*/ 120008 w 538108"/>
                <a:gd name="connsiteY43" fmla="*/ 185740 h 261957"/>
                <a:gd name="connsiteX44" fmla="*/ 84384 w 538108"/>
                <a:gd name="connsiteY44" fmla="*/ 258607 h 261957"/>
                <a:gd name="connsiteX45" fmla="*/ 83365 w 538108"/>
                <a:gd name="connsiteY45" fmla="*/ 259788 h 261957"/>
                <a:gd name="connsiteX46" fmla="*/ 72193 w 538108"/>
                <a:gd name="connsiteY46" fmla="*/ 259493 h 261957"/>
                <a:gd name="connsiteX47" fmla="*/ 72478 w 538108"/>
                <a:gd name="connsiteY47" fmla="*/ 248320 h 261957"/>
                <a:gd name="connsiteX48" fmla="*/ 101053 w 538108"/>
                <a:gd name="connsiteY48" fmla="*/ 197075 h 261957"/>
                <a:gd name="connsiteX49" fmla="*/ 5803 w 538108"/>
                <a:gd name="connsiteY49" fmla="*/ 15529 h 261957"/>
                <a:gd name="connsiteX50" fmla="*/ 3 w 538108"/>
                <a:gd name="connsiteY50" fmla="*/ 7718 h 261957"/>
                <a:gd name="connsiteX51" fmla="*/ 8090 w 538108"/>
                <a:gd name="connsiteY51" fmla="*/ 3 h 2619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</a:cxnLst>
              <a:rect l="l" t="t" r="r" b="b"/>
              <a:pathLst>
                <a:path w="538108" h="261957">
                  <a:moveTo>
                    <a:pt x="8090" y="3"/>
                  </a:moveTo>
                  <a:cubicBezTo>
                    <a:pt x="8575" y="41"/>
                    <a:pt x="9051" y="136"/>
                    <a:pt x="9518" y="289"/>
                  </a:cubicBezTo>
                  <a:cubicBezTo>
                    <a:pt x="76945" y="20920"/>
                    <a:pt x="122637" y="83614"/>
                    <a:pt x="121627" y="154117"/>
                  </a:cubicBezTo>
                  <a:lnTo>
                    <a:pt x="121627" y="168214"/>
                  </a:lnTo>
                  <a:lnTo>
                    <a:pt x="128866" y="163833"/>
                  </a:lnTo>
                  <a:cubicBezTo>
                    <a:pt x="134810" y="160185"/>
                    <a:pt x="139325" y="154603"/>
                    <a:pt x="141630" y="148022"/>
                  </a:cubicBezTo>
                  <a:cubicBezTo>
                    <a:pt x="146202" y="135544"/>
                    <a:pt x="162585" y="103159"/>
                    <a:pt x="182397" y="102587"/>
                  </a:cubicBezTo>
                  <a:cubicBezTo>
                    <a:pt x="199637" y="102587"/>
                    <a:pt x="211067" y="120113"/>
                    <a:pt x="220021" y="137449"/>
                  </a:cubicBezTo>
                  <a:cubicBezTo>
                    <a:pt x="224402" y="144878"/>
                    <a:pt x="234308" y="156975"/>
                    <a:pt x="242500" y="157737"/>
                  </a:cubicBezTo>
                  <a:cubicBezTo>
                    <a:pt x="246672" y="157775"/>
                    <a:pt x="250567" y="155651"/>
                    <a:pt x="252787" y="152117"/>
                  </a:cubicBezTo>
                  <a:cubicBezTo>
                    <a:pt x="263455" y="141545"/>
                    <a:pt x="278695" y="108969"/>
                    <a:pt x="290887" y="82680"/>
                  </a:cubicBezTo>
                  <a:lnTo>
                    <a:pt x="292982" y="78298"/>
                  </a:lnTo>
                  <a:cubicBezTo>
                    <a:pt x="298888" y="65345"/>
                    <a:pt x="302983" y="56867"/>
                    <a:pt x="305936" y="50962"/>
                  </a:cubicBezTo>
                  <a:cubicBezTo>
                    <a:pt x="310346" y="38674"/>
                    <a:pt x="321509" y="30083"/>
                    <a:pt x="334511" y="28959"/>
                  </a:cubicBezTo>
                  <a:cubicBezTo>
                    <a:pt x="345465" y="28483"/>
                    <a:pt x="356133" y="36865"/>
                    <a:pt x="363086" y="51152"/>
                  </a:cubicBezTo>
                  <a:lnTo>
                    <a:pt x="363943" y="53057"/>
                  </a:lnTo>
                  <a:cubicBezTo>
                    <a:pt x="390994" y="111446"/>
                    <a:pt x="410902" y="136877"/>
                    <a:pt x="420427" y="141164"/>
                  </a:cubicBezTo>
                  <a:lnTo>
                    <a:pt x="422522" y="142116"/>
                  </a:lnTo>
                  <a:lnTo>
                    <a:pt x="427190" y="139639"/>
                  </a:lnTo>
                  <a:cubicBezTo>
                    <a:pt x="436524" y="134305"/>
                    <a:pt x="455859" y="123256"/>
                    <a:pt x="478339" y="147640"/>
                  </a:cubicBezTo>
                  <a:cubicBezTo>
                    <a:pt x="481834" y="151708"/>
                    <a:pt x="484873" y="156146"/>
                    <a:pt x="487387" y="160880"/>
                  </a:cubicBezTo>
                  <a:cubicBezTo>
                    <a:pt x="495293" y="174311"/>
                    <a:pt x="508628" y="196599"/>
                    <a:pt x="530726" y="198980"/>
                  </a:cubicBezTo>
                  <a:cubicBezTo>
                    <a:pt x="532717" y="199133"/>
                    <a:pt x="534574" y="200028"/>
                    <a:pt x="535946" y="201485"/>
                  </a:cubicBezTo>
                  <a:cubicBezTo>
                    <a:pt x="538965" y="204705"/>
                    <a:pt x="538803" y="209772"/>
                    <a:pt x="535584" y="212791"/>
                  </a:cubicBezTo>
                  <a:cubicBezTo>
                    <a:pt x="533927" y="214220"/>
                    <a:pt x="531764" y="214935"/>
                    <a:pt x="529583" y="214792"/>
                  </a:cubicBezTo>
                  <a:lnTo>
                    <a:pt x="528726" y="214792"/>
                  </a:lnTo>
                  <a:cubicBezTo>
                    <a:pt x="501580" y="212030"/>
                    <a:pt x="485673" y="190408"/>
                    <a:pt x="473862" y="169643"/>
                  </a:cubicBezTo>
                  <a:cubicBezTo>
                    <a:pt x="471814" y="166005"/>
                    <a:pt x="469518" y="162499"/>
                    <a:pt x="467004" y="159166"/>
                  </a:cubicBezTo>
                  <a:cubicBezTo>
                    <a:pt x="453193" y="143735"/>
                    <a:pt x="444334" y="148403"/>
                    <a:pt x="434143" y="154022"/>
                  </a:cubicBezTo>
                  <a:cubicBezTo>
                    <a:pt x="432142" y="155165"/>
                    <a:pt x="430237" y="156118"/>
                    <a:pt x="428809" y="156784"/>
                  </a:cubicBezTo>
                  <a:cubicBezTo>
                    <a:pt x="420522" y="159832"/>
                    <a:pt x="398805" y="167738"/>
                    <a:pt x="348989" y="59630"/>
                  </a:cubicBezTo>
                  <a:lnTo>
                    <a:pt x="348322" y="58296"/>
                  </a:lnTo>
                  <a:cubicBezTo>
                    <a:pt x="344607" y="49914"/>
                    <a:pt x="339845" y="44961"/>
                    <a:pt x="334416" y="44961"/>
                  </a:cubicBezTo>
                  <a:cubicBezTo>
                    <a:pt x="328987" y="44961"/>
                    <a:pt x="323748" y="51914"/>
                    <a:pt x="320700" y="58487"/>
                  </a:cubicBezTo>
                  <a:cubicBezTo>
                    <a:pt x="318509" y="62487"/>
                    <a:pt x="316032" y="67630"/>
                    <a:pt x="313270" y="73441"/>
                  </a:cubicBezTo>
                  <a:cubicBezTo>
                    <a:pt x="311651" y="76965"/>
                    <a:pt x="309842" y="80680"/>
                    <a:pt x="307936" y="84680"/>
                  </a:cubicBezTo>
                  <a:cubicBezTo>
                    <a:pt x="290696" y="121542"/>
                    <a:pt x="276694" y="150689"/>
                    <a:pt x="265741" y="162404"/>
                  </a:cubicBezTo>
                  <a:cubicBezTo>
                    <a:pt x="260397" y="169795"/>
                    <a:pt x="251606" y="173910"/>
                    <a:pt x="242500" y="173263"/>
                  </a:cubicBezTo>
                  <a:cubicBezTo>
                    <a:pt x="223259" y="171643"/>
                    <a:pt x="208971" y="147355"/>
                    <a:pt x="207448" y="144688"/>
                  </a:cubicBezTo>
                  <a:cubicBezTo>
                    <a:pt x="195160" y="120875"/>
                    <a:pt x="188016" y="118208"/>
                    <a:pt x="183540" y="118208"/>
                  </a:cubicBezTo>
                  <a:cubicBezTo>
                    <a:pt x="174967" y="119351"/>
                    <a:pt x="161823" y="142021"/>
                    <a:pt x="157727" y="153451"/>
                  </a:cubicBezTo>
                  <a:cubicBezTo>
                    <a:pt x="152774" y="168614"/>
                    <a:pt x="139687" y="179673"/>
                    <a:pt x="123913" y="182026"/>
                  </a:cubicBezTo>
                  <a:lnTo>
                    <a:pt x="120675" y="182502"/>
                  </a:lnTo>
                  <a:lnTo>
                    <a:pt x="120008" y="185740"/>
                  </a:lnTo>
                  <a:cubicBezTo>
                    <a:pt x="114551" y="212668"/>
                    <a:pt x="102282" y="237756"/>
                    <a:pt x="84384" y="258607"/>
                  </a:cubicBezTo>
                  <a:cubicBezTo>
                    <a:pt x="84089" y="259035"/>
                    <a:pt x="83747" y="259426"/>
                    <a:pt x="83365" y="259788"/>
                  </a:cubicBezTo>
                  <a:cubicBezTo>
                    <a:pt x="80203" y="262788"/>
                    <a:pt x="75193" y="262664"/>
                    <a:pt x="72193" y="259493"/>
                  </a:cubicBezTo>
                  <a:cubicBezTo>
                    <a:pt x="69183" y="256330"/>
                    <a:pt x="69316" y="251330"/>
                    <a:pt x="72478" y="248320"/>
                  </a:cubicBezTo>
                  <a:cubicBezTo>
                    <a:pt x="85433" y="233394"/>
                    <a:pt x="95158" y="215944"/>
                    <a:pt x="101053" y="197075"/>
                  </a:cubicBezTo>
                  <a:cubicBezTo>
                    <a:pt x="124771" y="120647"/>
                    <a:pt x="82165" y="39446"/>
                    <a:pt x="5803" y="15529"/>
                  </a:cubicBezTo>
                  <a:cubicBezTo>
                    <a:pt x="2307" y="14567"/>
                    <a:pt x="-83" y="11347"/>
                    <a:pt x="3" y="7718"/>
                  </a:cubicBezTo>
                  <a:cubicBezTo>
                    <a:pt x="98" y="3356"/>
                    <a:pt x="3727" y="-102"/>
                    <a:pt x="8090" y="3"/>
                  </a:cubicBez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BC6BC988-1CF4-7801-2C41-BE139A42C79E}"/>
                </a:ext>
              </a:extLst>
            </p:cNvPr>
            <p:cNvSpPr/>
            <p:nvPr/>
          </p:nvSpPr>
          <p:spPr>
            <a:xfrm>
              <a:off x="7844037" y="1263892"/>
              <a:ext cx="360087" cy="309448"/>
            </a:xfrm>
            <a:custGeom>
              <a:avLst/>
              <a:gdLst>
                <a:gd name="connsiteX0" fmla="*/ 134671 w 454486"/>
                <a:gd name="connsiteY0" fmla="*/ 258889 h 390571"/>
                <a:gd name="connsiteX1" fmla="*/ 31325 w 454486"/>
                <a:gd name="connsiteY1" fmla="*/ 318326 h 390571"/>
                <a:gd name="connsiteX2" fmla="*/ 15884 w 454486"/>
                <a:gd name="connsiteY2" fmla="*/ 345015 h 390571"/>
                <a:gd name="connsiteX3" fmla="*/ 46374 w 454486"/>
                <a:gd name="connsiteY3" fmla="*/ 374713 h 390571"/>
                <a:gd name="connsiteX4" fmla="*/ 61233 w 454486"/>
                <a:gd name="connsiteY4" fmla="*/ 370808 h 390571"/>
                <a:gd name="connsiteX5" fmla="*/ 164675 w 454486"/>
                <a:gd name="connsiteY5" fmla="*/ 311182 h 390571"/>
                <a:gd name="connsiteX6" fmla="*/ 357746 w 454486"/>
                <a:gd name="connsiteY6" fmla="*/ 16097 h 390571"/>
                <a:gd name="connsiteX7" fmla="*/ 352507 w 454486"/>
                <a:gd name="connsiteY7" fmla="*/ 16573 h 390571"/>
                <a:gd name="connsiteX8" fmla="*/ 315284 w 454486"/>
                <a:gd name="connsiteY8" fmla="*/ 25556 h 390571"/>
                <a:gd name="connsiteX9" fmla="*/ 232397 w 454486"/>
                <a:gd name="connsiteY9" fmla="*/ 213074 h 390571"/>
                <a:gd name="connsiteX10" fmla="*/ 367271 w 454486"/>
                <a:gd name="connsiteY10" fmla="*/ 305753 h 390571"/>
                <a:gd name="connsiteX11" fmla="*/ 419564 w 454486"/>
                <a:gd name="connsiteY11" fmla="*/ 295942 h 390571"/>
                <a:gd name="connsiteX12" fmla="*/ 422612 w 454486"/>
                <a:gd name="connsiteY12" fmla="*/ 294322 h 390571"/>
                <a:gd name="connsiteX13" fmla="*/ 431279 w 454486"/>
                <a:gd name="connsiteY13" fmla="*/ 290227 h 390571"/>
                <a:gd name="connsiteX14" fmla="*/ 435756 w 454486"/>
                <a:gd name="connsiteY14" fmla="*/ 287750 h 390571"/>
                <a:gd name="connsiteX15" fmla="*/ 358985 w 454486"/>
                <a:gd name="connsiteY15" fmla="*/ 165259 h 390571"/>
                <a:gd name="connsiteX16" fmla="*/ 357746 w 454486"/>
                <a:gd name="connsiteY16" fmla="*/ 161068 h 390571"/>
                <a:gd name="connsiteX17" fmla="*/ 365747 w 454486"/>
                <a:gd name="connsiteY17" fmla="*/ 0 h 390571"/>
                <a:gd name="connsiteX18" fmla="*/ 373748 w 454486"/>
                <a:gd name="connsiteY18" fmla="*/ 8001 h 390571"/>
                <a:gd name="connsiteX19" fmla="*/ 373748 w 454486"/>
                <a:gd name="connsiteY19" fmla="*/ 158401 h 390571"/>
                <a:gd name="connsiteX20" fmla="*/ 453473 w 454486"/>
                <a:gd name="connsiteY20" fmla="*/ 286703 h 390571"/>
                <a:gd name="connsiteX21" fmla="*/ 450901 w 454486"/>
                <a:gd name="connsiteY21" fmla="*/ 297275 h 390571"/>
                <a:gd name="connsiteX22" fmla="*/ 425183 w 454486"/>
                <a:gd name="connsiteY22" fmla="*/ 310229 h 390571"/>
                <a:gd name="connsiteX23" fmla="*/ 232873 w 454486"/>
                <a:gd name="connsiteY23" fmla="*/ 251174 h 390571"/>
                <a:gd name="connsiteX24" fmla="*/ 230302 w 454486"/>
                <a:gd name="connsiteY24" fmla="*/ 247460 h 390571"/>
                <a:gd name="connsiteX25" fmla="*/ 167246 w 454486"/>
                <a:gd name="connsiteY25" fmla="*/ 284417 h 390571"/>
                <a:gd name="connsiteX26" fmla="*/ 182010 w 454486"/>
                <a:gd name="connsiteY26" fmla="*/ 310134 h 390571"/>
                <a:gd name="connsiteX27" fmla="*/ 179057 w 454486"/>
                <a:gd name="connsiteY27" fmla="*/ 320897 h 390571"/>
                <a:gd name="connsiteX28" fmla="*/ 68662 w 454486"/>
                <a:gd name="connsiteY28" fmla="*/ 384524 h 390571"/>
                <a:gd name="connsiteX29" fmla="*/ 33706 w 454486"/>
                <a:gd name="connsiteY29" fmla="*/ 388906 h 390571"/>
                <a:gd name="connsiteX30" fmla="*/ 6169 w 454486"/>
                <a:gd name="connsiteY30" fmla="*/ 367437 h 390571"/>
                <a:gd name="connsiteX31" fmla="*/ 23229 w 454486"/>
                <a:gd name="connsiteY31" fmla="*/ 304228 h 390571"/>
                <a:gd name="connsiteX32" fmla="*/ 133432 w 454486"/>
                <a:gd name="connsiteY32" fmla="*/ 240983 h 390571"/>
                <a:gd name="connsiteX33" fmla="*/ 137433 w 454486"/>
                <a:gd name="connsiteY33" fmla="*/ 239935 h 390571"/>
                <a:gd name="connsiteX34" fmla="*/ 139528 w 454486"/>
                <a:gd name="connsiteY34" fmla="*/ 240220 h 390571"/>
                <a:gd name="connsiteX35" fmla="*/ 144386 w 454486"/>
                <a:gd name="connsiteY35" fmla="*/ 243935 h 390571"/>
                <a:gd name="connsiteX36" fmla="*/ 159626 w 454486"/>
                <a:gd name="connsiteY36" fmla="*/ 270701 h 390571"/>
                <a:gd name="connsiteX37" fmla="*/ 222872 w 454486"/>
                <a:gd name="connsiteY37" fmla="*/ 233648 h 390571"/>
                <a:gd name="connsiteX38" fmla="*/ 221062 w 454486"/>
                <a:gd name="connsiteY38" fmla="*/ 229743 h 390571"/>
                <a:gd name="connsiteX39" fmla="*/ 205470 w 454486"/>
                <a:gd name="connsiteY39" fmla="*/ 161096 h 390571"/>
                <a:gd name="connsiteX40" fmla="*/ 365747 w 454486"/>
                <a:gd name="connsiteY40" fmla="*/ 0 h 3905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454486" h="390571">
                  <a:moveTo>
                    <a:pt x="134671" y="258889"/>
                  </a:moveTo>
                  <a:lnTo>
                    <a:pt x="31325" y="318326"/>
                  </a:lnTo>
                  <a:cubicBezTo>
                    <a:pt x="21666" y="323707"/>
                    <a:pt x="15732" y="333956"/>
                    <a:pt x="15884" y="345015"/>
                  </a:cubicBezTo>
                  <a:cubicBezTo>
                    <a:pt x="16103" y="361636"/>
                    <a:pt x="29753" y="374933"/>
                    <a:pt x="46374" y="374713"/>
                  </a:cubicBezTo>
                  <a:cubicBezTo>
                    <a:pt x="51584" y="374713"/>
                    <a:pt x="56699" y="373370"/>
                    <a:pt x="61233" y="370808"/>
                  </a:cubicBezTo>
                  <a:lnTo>
                    <a:pt x="164675" y="311182"/>
                  </a:lnTo>
                  <a:close/>
                  <a:moveTo>
                    <a:pt x="357746" y="16097"/>
                  </a:moveTo>
                  <a:lnTo>
                    <a:pt x="352507" y="16573"/>
                  </a:lnTo>
                  <a:cubicBezTo>
                    <a:pt x="339753" y="17907"/>
                    <a:pt x="327238" y="20926"/>
                    <a:pt x="315284" y="25556"/>
                  </a:cubicBezTo>
                  <a:cubicBezTo>
                    <a:pt x="240608" y="54454"/>
                    <a:pt x="203508" y="138408"/>
                    <a:pt x="232397" y="213074"/>
                  </a:cubicBezTo>
                  <a:cubicBezTo>
                    <a:pt x="253952" y="268815"/>
                    <a:pt x="307511" y="305610"/>
                    <a:pt x="367271" y="305753"/>
                  </a:cubicBezTo>
                  <a:cubicBezTo>
                    <a:pt x="385159" y="305743"/>
                    <a:pt x="402885" y="302419"/>
                    <a:pt x="419564" y="295942"/>
                  </a:cubicBezTo>
                  <a:lnTo>
                    <a:pt x="422612" y="294322"/>
                  </a:lnTo>
                  <a:cubicBezTo>
                    <a:pt x="425564" y="293103"/>
                    <a:pt x="428460" y="291741"/>
                    <a:pt x="431279" y="290227"/>
                  </a:cubicBezTo>
                  <a:lnTo>
                    <a:pt x="435756" y="287750"/>
                  </a:lnTo>
                  <a:lnTo>
                    <a:pt x="358985" y="165259"/>
                  </a:lnTo>
                  <a:cubicBezTo>
                    <a:pt x="358203" y="164002"/>
                    <a:pt x="357775" y="162554"/>
                    <a:pt x="357746" y="161068"/>
                  </a:cubicBezTo>
                  <a:close/>
                  <a:moveTo>
                    <a:pt x="365747" y="0"/>
                  </a:moveTo>
                  <a:cubicBezTo>
                    <a:pt x="370148" y="48"/>
                    <a:pt x="373701" y="3600"/>
                    <a:pt x="373748" y="8001"/>
                  </a:cubicBezTo>
                  <a:lnTo>
                    <a:pt x="373748" y="158401"/>
                  </a:lnTo>
                  <a:lnTo>
                    <a:pt x="453473" y="286703"/>
                  </a:lnTo>
                  <a:cubicBezTo>
                    <a:pt x="455511" y="290360"/>
                    <a:pt x="454387" y="294970"/>
                    <a:pt x="450901" y="297275"/>
                  </a:cubicBezTo>
                  <a:cubicBezTo>
                    <a:pt x="442719" y="302323"/>
                    <a:pt x="434118" y="306657"/>
                    <a:pt x="425183" y="310229"/>
                  </a:cubicBezTo>
                  <a:cubicBezTo>
                    <a:pt x="355165" y="338109"/>
                    <a:pt x="275174" y="313544"/>
                    <a:pt x="232873" y="251174"/>
                  </a:cubicBezTo>
                  <a:lnTo>
                    <a:pt x="230302" y="247460"/>
                  </a:lnTo>
                  <a:lnTo>
                    <a:pt x="167246" y="284417"/>
                  </a:lnTo>
                  <a:lnTo>
                    <a:pt x="182010" y="310134"/>
                  </a:lnTo>
                  <a:cubicBezTo>
                    <a:pt x="184105" y="313925"/>
                    <a:pt x="182791" y="318697"/>
                    <a:pt x="179057" y="320897"/>
                  </a:cubicBezTo>
                  <a:lnTo>
                    <a:pt x="68662" y="384524"/>
                  </a:lnTo>
                  <a:cubicBezTo>
                    <a:pt x="58061" y="390592"/>
                    <a:pt x="45479" y="392173"/>
                    <a:pt x="33706" y="388906"/>
                  </a:cubicBezTo>
                  <a:cubicBezTo>
                    <a:pt x="22076" y="385620"/>
                    <a:pt x="12189" y="377914"/>
                    <a:pt x="6169" y="367437"/>
                  </a:cubicBezTo>
                  <a:cubicBezTo>
                    <a:pt x="-6575" y="345272"/>
                    <a:pt x="1064" y="316973"/>
                    <a:pt x="23229" y="304228"/>
                  </a:cubicBezTo>
                  <a:lnTo>
                    <a:pt x="133432" y="240983"/>
                  </a:lnTo>
                  <a:cubicBezTo>
                    <a:pt x="134661" y="240316"/>
                    <a:pt x="136033" y="239954"/>
                    <a:pt x="137433" y="239935"/>
                  </a:cubicBezTo>
                  <a:cubicBezTo>
                    <a:pt x="138138" y="239935"/>
                    <a:pt x="138843" y="240030"/>
                    <a:pt x="139528" y="240220"/>
                  </a:cubicBezTo>
                  <a:cubicBezTo>
                    <a:pt x="141548" y="240821"/>
                    <a:pt x="143281" y="242144"/>
                    <a:pt x="144386" y="243935"/>
                  </a:cubicBezTo>
                  <a:lnTo>
                    <a:pt x="159626" y="270701"/>
                  </a:lnTo>
                  <a:lnTo>
                    <a:pt x="222872" y="233648"/>
                  </a:lnTo>
                  <a:lnTo>
                    <a:pt x="221062" y="229743"/>
                  </a:lnTo>
                  <a:cubicBezTo>
                    <a:pt x="210852" y="208293"/>
                    <a:pt x="205527" y="184852"/>
                    <a:pt x="205470" y="161096"/>
                  </a:cubicBezTo>
                  <a:cubicBezTo>
                    <a:pt x="205241" y="72352"/>
                    <a:pt x="277003" y="229"/>
                    <a:pt x="365747" y="0"/>
                  </a:cubicBez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id="{A72085E0-2227-5CBD-D8E6-BE456C30913B}"/>
                </a:ext>
              </a:extLst>
            </p:cNvPr>
            <p:cNvSpPr/>
            <p:nvPr/>
          </p:nvSpPr>
          <p:spPr>
            <a:xfrm>
              <a:off x="8410929" y="1467650"/>
              <a:ext cx="345485" cy="199834"/>
            </a:xfrm>
            <a:custGeom>
              <a:avLst/>
              <a:gdLst>
                <a:gd name="connsiteX0" fmla="*/ 15812 w 436055"/>
                <a:gd name="connsiteY0" fmla="*/ 177451 h 252222"/>
                <a:gd name="connsiteX1" fmla="*/ 15812 w 436055"/>
                <a:gd name="connsiteY1" fmla="*/ 203263 h 252222"/>
                <a:gd name="connsiteX2" fmla="*/ 128588 w 436055"/>
                <a:gd name="connsiteY2" fmla="*/ 236696 h 252222"/>
                <a:gd name="connsiteX3" fmla="*/ 129445 w 436055"/>
                <a:gd name="connsiteY3" fmla="*/ 236696 h 252222"/>
                <a:gd name="connsiteX4" fmla="*/ 241364 w 436055"/>
                <a:gd name="connsiteY4" fmla="*/ 207454 h 252222"/>
                <a:gd name="connsiteX5" fmla="*/ 242221 w 436055"/>
                <a:gd name="connsiteY5" fmla="*/ 206026 h 252222"/>
                <a:gd name="connsiteX6" fmla="*/ 242221 w 436055"/>
                <a:gd name="connsiteY6" fmla="*/ 204311 h 252222"/>
                <a:gd name="connsiteX7" fmla="*/ 242221 w 436055"/>
                <a:gd name="connsiteY7" fmla="*/ 200692 h 252222"/>
                <a:gd name="connsiteX8" fmla="*/ 242221 w 436055"/>
                <a:gd name="connsiteY8" fmla="*/ 199549 h 252222"/>
                <a:gd name="connsiteX9" fmla="*/ 242221 w 436055"/>
                <a:gd name="connsiteY9" fmla="*/ 177451 h 252222"/>
                <a:gd name="connsiteX10" fmla="*/ 235173 w 436055"/>
                <a:gd name="connsiteY10" fmla="*/ 181261 h 252222"/>
                <a:gd name="connsiteX11" fmla="*/ 128969 w 436055"/>
                <a:gd name="connsiteY11" fmla="*/ 201359 h 252222"/>
                <a:gd name="connsiteX12" fmla="*/ 22765 w 436055"/>
                <a:gd name="connsiteY12" fmla="*/ 181261 h 252222"/>
                <a:gd name="connsiteX13" fmla="*/ 420433 w 436055"/>
                <a:gd name="connsiteY13" fmla="*/ 138970 h 252222"/>
                <a:gd name="connsiteX14" fmla="*/ 413480 w 436055"/>
                <a:gd name="connsiteY14" fmla="*/ 142780 h 252222"/>
                <a:gd name="connsiteX15" fmla="*/ 306991 w 436055"/>
                <a:gd name="connsiteY15" fmla="*/ 162877 h 252222"/>
                <a:gd name="connsiteX16" fmla="*/ 306229 w 436055"/>
                <a:gd name="connsiteY16" fmla="*/ 162877 h 252222"/>
                <a:gd name="connsiteX17" fmla="*/ 263081 w 436055"/>
                <a:gd name="connsiteY17" fmla="*/ 160210 h 252222"/>
                <a:gd name="connsiteX18" fmla="*/ 257651 w 436055"/>
                <a:gd name="connsiteY18" fmla="*/ 159448 h 252222"/>
                <a:gd name="connsiteX19" fmla="*/ 257651 w 436055"/>
                <a:gd name="connsiteY19" fmla="*/ 194786 h 252222"/>
                <a:gd name="connsiteX20" fmla="*/ 261747 w 436055"/>
                <a:gd name="connsiteY20" fmla="*/ 195358 h 252222"/>
                <a:gd name="connsiteX21" fmla="*/ 295371 w 436055"/>
                <a:gd name="connsiteY21" fmla="*/ 198310 h 252222"/>
                <a:gd name="connsiteX22" fmla="*/ 294799 w 436055"/>
                <a:gd name="connsiteY22" fmla="*/ 198882 h 252222"/>
                <a:gd name="connsiteX23" fmla="*/ 306324 w 436055"/>
                <a:gd name="connsiteY23" fmla="*/ 198882 h 252222"/>
                <a:gd name="connsiteX24" fmla="*/ 420433 w 436055"/>
                <a:gd name="connsiteY24" fmla="*/ 164878 h 252222"/>
                <a:gd name="connsiteX25" fmla="*/ 15431 w 436055"/>
                <a:gd name="connsiteY25" fmla="*/ 127063 h 252222"/>
                <a:gd name="connsiteX26" fmla="*/ 15431 w 436055"/>
                <a:gd name="connsiteY26" fmla="*/ 151257 h 252222"/>
                <a:gd name="connsiteX27" fmla="*/ 128588 w 436055"/>
                <a:gd name="connsiteY27" fmla="*/ 184594 h 252222"/>
                <a:gd name="connsiteX28" fmla="*/ 128588 w 436055"/>
                <a:gd name="connsiteY28" fmla="*/ 184213 h 252222"/>
                <a:gd name="connsiteX29" fmla="*/ 241459 w 436055"/>
                <a:gd name="connsiteY29" fmla="*/ 151257 h 252222"/>
                <a:gd name="connsiteX30" fmla="*/ 241459 w 436055"/>
                <a:gd name="connsiteY30" fmla="*/ 127159 h 252222"/>
                <a:gd name="connsiteX31" fmla="*/ 234410 w 436055"/>
                <a:gd name="connsiteY31" fmla="*/ 130873 h 252222"/>
                <a:gd name="connsiteX32" fmla="*/ 128206 w 436055"/>
                <a:gd name="connsiteY32" fmla="*/ 151067 h 252222"/>
                <a:gd name="connsiteX33" fmla="*/ 22479 w 436055"/>
                <a:gd name="connsiteY33" fmla="*/ 130969 h 252222"/>
                <a:gd name="connsiteX34" fmla="*/ 306229 w 436055"/>
                <a:gd name="connsiteY34" fmla="*/ 80391 h 252222"/>
                <a:gd name="connsiteX35" fmla="*/ 261366 w 436055"/>
                <a:gd name="connsiteY35" fmla="*/ 83725 h 252222"/>
                <a:gd name="connsiteX36" fmla="*/ 257271 w 436055"/>
                <a:gd name="connsiteY36" fmla="*/ 84296 h 252222"/>
                <a:gd name="connsiteX37" fmla="*/ 257271 w 436055"/>
                <a:gd name="connsiteY37" fmla="*/ 143542 h 252222"/>
                <a:gd name="connsiteX38" fmla="*/ 261366 w 436055"/>
                <a:gd name="connsiteY38" fmla="*/ 144113 h 252222"/>
                <a:gd name="connsiteX39" fmla="*/ 306324 w 436055"/>
                <a:gd name="connsiteY39" fmla="*/ 147256 h 252222"/>
                <a:gd name="connsiteX40" fmla="*/ 306324 w 436055"/>
                <a:gd name="connsiteY40" fmla="*/ 146876 h 252222"/>
                <a:gd name="connsiteX41" fmla="*/ 419672 w 436055"/>
                <a:gd name="connsiteY41" fmla="*/ 113824 h 252222"/>
                <a:gd name="connsiteX42" fmla="*/ 306229 w 436055"/>
                <a:gd name="connsiteY42" fmla="*/ 80391 h 252222"/>
                <a:gd name="connsiteX43" fmla="*/ 15431 w 436055"/>
                <a:gd name="connsiteY43" fmla="*/ 74676 h 252222"/>
                <a:gd name="connsiteX44" fmla="*/ 15431 w 436055"/>
                <a:gd name="connsiteY44" fmla="*/ 99917 h 252222"/>
                <a:gd name="connsiteX45" fmla="*/ 128588 w 436055"/>
                <a:gd name="connsiteY45" fmla="*/ 133731 h 252222"/>
                <a:gd name="connsiteX46" fmla="*/ 128588 w 436055"/>
                <a:gd name="connsiteY46" fmla="*/ 133350 h 252222"/>
                <a:gd name="connsiteX47" fmla="*/ 241840 w 436055"/>
                <a:gd name="connsiteY47" fmla="*/ 99917 h 252222"/>
                <a:gd name="connsiteX48" fmla="*/ 241840 w 436055"/>
                <a:gd name="connsiteY48" fmla="*/ 74676 h 252222"/>
                <a:gd name="connsiteX49" fmla="*/ 234887 w 436055"/>
                <a:gd name="connsiteY49" fmla="*/ 78391 h 252222"/>
                <a:gd name="connsiteX50" fmla="*/ 128588 w 436055"/>
                <a:gd name="connsiteY50" fmla="*/ 98393 h 252222"/>
                <a:gd name="connsiteX51" fmla="*/ 22384 w 436055"/>
                <a:gd name="connsiteY51" fmla="*/ 78391 h 252222"/>
                <a:gd name="connsiteX52" fmla="*/ 128206 w 436055"/>
                <a:gd name="connsiteY52" fmla="*/ 15526 h 252222"/>
                <a:gd name="connsiteX53" fmla="*/ 15431 w 436055"/>
                <a:gd name="connsiteY53" fmla="*/ 49339 h 252222"/>
                <a:gd name="connsiteX54" fmla="*/ 128588 w 436055"/>
                <a:gd name="connsiteY54" fmla="*/ 82772 h 252222"/>
                <a:gd name="connsiteX55" fmla="*/ 128588 w 436055"/>
                <a:gd name="connsiteY55" fmla="*/ 82201 h 252222"/>
                <a:gd name="connsiteX56" fmla="*/ 237649 w 436055"/>
                <a:gd name="connsiteY56" fmla="*/ 56674 h 252222"/>
                <a:gd name="connsiteX57" fmla="*/ 241459 w 436055"/>
                <a:gd name="connsiteY57" fmla="*/ 48863 h 252222"/>
                <a:gd name="connsiteX58" fmla="*/ 128206 w 436055"/>
                <a:gd name="connsiteY58" fmla="*/ 15526 h 252222"/>
                <a:gd name="connsiteX59" fmla="*/ 128588 w 436055"/>
                <a:gd name="connsiteY59" fmla="*/ 0 h 252222"/>
                <a:gd name="connsiteX60" fmla="*/ 257556 w 436055"/>
                <a:gd name="connsiteY60" fmla="*/ 49816 h 252222"/>
                <a:gd name="connsiteX61" fmla="*/ 257556 w 436055"/>
                <a:gd name="connsiteY61" fmla="*/ 68199 h 252222"/>
                <a:gd name="connsiteX62" fmla="*/ 262985 w 436055"/>
                <a:gd name="connsiteY62" fmla="*/ 67437 h 252222"/>
                <a:gd name="connsiteX63" fmla="*/ 306133 w 436055"/>
                <a:gd name="connsiteY63" fmla="*/ 64770 h 252222"/>
                <a:gd name="connsiteX64" fmla="*/ 435483 w 436055"/>
                <a:gd name="connsiteY64" fmla="*/ 113538 h 252222"/>
                <a:gd name="connsiteX65" fmla="*/ 436055 w 436055"/>
                <a:gd name="connsiteY65" fmla="*/ 117634 h 252222"/>
                <a:gd name="connsiteX66" fmla="*/ 436055 w 436055"/>
                <a:gd name="connsiteY66" fmla="*/ 165259 h 252222"/>
                <a:gd name="connsiteX67" fmla="*/ 306610 w 436055"/>
                <a:gd name="connsiteY67" fmla="*/ 214789 h 252222"/>
                <a:gd name="connsiteX68" fmla="*/ 259747 w 436055"/>
                <a:gd name="connsiteY68" fmla="*/ 211645 h 252222"/>
                <a:gd name="connsiteX69" fmla="*/ 256413 w 436055"/>
                <a:gd name="connsiteY69" fmla="*/ 211169 h 252222"/>
                <a:gd name="connsiteX70" fmla="*/ 254889 w 436055"/>
                <a:gd name="connsiteY70" fmla="*/ 214122 h 252222"/>
                <a:gd name="connsiteX71" fmla="*/ 128588 w 436055"/>
                <a:gd name="connsiteY71" fmla="*/ 252222 h 252222"/>
                <a:gd name="connsiteX72" fmla="*/ 0 w 436055"/>
                <a:gd name="connsiteY72" fmla="*/ 202597 h 252222"/>
                <a:gd name="connsiteX73" fmla="*/ 0 w 436055"/>
                <a:gd name="connsiteY73" fmla="*/ 49054 h 252222"/>
                <a:gd name="connsiteX74" fmla="*/ 128588 w 436055"/>
                <a:gd name="connsiteY74" fmla="*/ 0 h 2522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</a:cxnLst>
              <a:rect l="l" t="t" r="r" b="b"/>
              <a:pathLst>
                <a:path w="436055" h="252222">
                  <a:moveTo>
                    <a:pt x="15812" y="177451"/>
                  </a:moveTo>
                  <a:lnTo>
                    <a:pt x="15812" y="203263"/>
                  </a:lnTo>
                  <a:cubicBezTo>
                    <a:pt x="15812" y="216884"/>
                    <a:pt x="59722" y="236696"/>
                    <a:pt x="128588" y="236696"/>
                  </a:cubicBezTo>
                  <a:lnTo>
                    <a:pt x="129445" y="236696"/>
                  </a:lnTo>
                  <a:cubicBezTo>
                    <a:pt x="194691" y="236601"/>
                    <a:pt x="234791" y="219266"/>
                    <a:pt x="241364" y="207454"/>
                  </a:cubicBezTo>
                  <a:lnTo>
                    <a:pt x="242221" y="206026"/>
                  </a:lnTo>
                  <a:lnTo>
                    <a:pt x="242221" y="204311"/>
                  </a:lnTo>
                  <a:cubicBezTo>
                    <a:pt x="242030" y="203111"/>
                    <a:pt x="242030" y="201892"/>
                    <a:pt x="242221" y="200692"/>
                  </a:cubicBezTo>
                  <a:cubicBezTo>
                    <a:pt x="242154" y="200311"/>
                    <a:pt x="242154" y="199930"/>
                    <a:pt x="242221" y="199549"/>
                  </a:cubicBezTo>
                  <a:lnTo>
                    <a:pt x="242221" y="177451"/>
                  </a:lnTo>
                  <a:lnTo>
                    <a:pt x="235173" y="181261"/>
                  </a:lnTo>
                  <a:cubicBezTo>
                    <a:pt x="211836" y="193834"/>
                    <a:pt x="172022" y="201359"/>
                    <a:pt x="128969" y="201359"/>
                  </a:cubicBezTo>
                  <a:cubicBezTo>
                    <a:pt x="85915" y="201359"/>
                    <a:pt x="46196" y="193834"/>
                    <a:pt x="22765" y="181261"/>
                  </a:cubicBezTo>
                  <a:close/>
                  <a:moveTo>
                    <a:pt x="420433" y="138970"/>
                  </a:moveTo>
                  <a:lnTo>
                    <a:pt x="413480" y="142780"/>
                  </a:lnTo>
                  <a:cubicBezTo>
                    <a:pt x="389954" y="155353"/>
                    <a:pt x="350139" y="162877"/>
                    <a:pt x="306991" y="162877"/>
                  </a:cubicBezTo>
                  <a:lnTo>
                    <a:pt x="306229" y="162877"/>
                  </a:lnTo>
                  <a:cubicBezTo>
                    <a:pt x="291808" y="162896"/>
                    <a:pt x="277397" y="162011"/>
                    <a:pt x="263081" y="160210"/>
                  </a:cubicBezTo>
                  <a:lnTo>
                    <a:pt x="257651" y="159448"/>
                  </a:lnTo>
                  <a:lnTo>
                    <a:pt x="257651" y="194786"/>
                  </a:lnTo>
                  <a:lnTo>
                    <a:pt x="261747" y="195358"/>
                  </a:lnTo>
                  <a:cubicBezTo>
                    <a:pt x="272891" y="196958"/>
                    <a:pt x="284121" y="197949"/>
                    <a:pt x="295371" y="198310"/>
                  </a:cubicBezTo>
                  <a:lnTo>
                    <a:pt x="294799" y="198882"/>
                  </a:lnTo>
                  <a:lnTo>
                    <a:pt x="306324" y="198882"/>
                  </a:lnTo>
                  <a:cubicBezTo>
                    <a:pt x="375952" y="198882"/>
                    <a:pt x="419576" y="179165"/>
                    <a:pt x="420433" y="164878"/>
                  </a:cubicBezTo>
                  <a:close/>
                  <a:moveTo>
                    <a:pt x="15431" y="127063"/>
                  </a:moveTo>
                  <a:lnTo>
                    <a:pt x="15431" y="151257"/>
                  </a:lnTo>
                  <a:cubicBezTo>
                    <a:pt x="15431" y="164878"/>
                    <a:pt x="59532" y="184594"/>
                    <a:pt x="128588" y="184594"/>
                  </a:cubicBezTo>
                  <a:lnTo>
                    <a:pt x="128588" y="184213"/>
                  </a:lnTo>
                  <a:cubicBezTo>
                    <a:pt x="197739" y="184213"/>
                    <a:pt x="241840" y="164497"/>
                    <a:pt x="241459" y="151257"/>
                  </a:cubicBezTo>
                  <a:lnTo>
                    <a:pt x="241459" y="127159"/>
                  </a:lnTo>
                  <a:lnTo>
                    <a:pt x="234410" y="130873"/>
                  </a:lnTo>
                  <a:cubicBezTo>
                    <a:pt x="211074" y="143542"/>
                    <a:pt x="171355" y="151067"/>
                    <a:pt x="128206" y="151067"/>
                  </a:cubicBezTo>
                  <a:cubicBezTo>
                    <a:pt x="85059" y="151067"/>
                    <a:pt x="45530" y="143542"/>
                    <a:pt x="22479" y="130969"/>
                  </a:cubicBezTo>
                  <a:close/>
                  <a:moveTo>
                    <a:pt x="306229" y="80391"/>
                  </a:moveTo>
                  <a:cubicBezTo>
                    <a:pt x="291217" y="80496"/>
                    <a:pt x="276225" y="81610"/>
                    <a:pt x="261366" y="83725"/>
                  </a:cubicBezTo>
                  <a:lnTo>
                    <a:pt x="257271" y="84296"/>
                  </a:lnTo>
                  <a:lnTo>
                    <a:pt x="257271" y="143542"/>
                  </a:lnTo>
                  <a:lnTo>
                    <a:pt x="261366" y="144113"/>
                  </a:lnTo>
                  <a:cubicBezTo>
                    <a:pt x="276273" y="146113"/>
                    <a:pt x="291284" y="147161"/>
                    <a:pt x="306324" y="147256"/>
                  </a:cubicBezTo>
                  <a:lnTo>
                    <a:pt x="306324" y="146876"/>
                  </a:lnTo>
                  <a:cubicBezTo>
                    <a:pt x="375571" y="146876"/>
                    <a:pt x="419672" y="127444"/>
                    <a:pt x="419672" y="113824"/>
                  </a:cubicBezTo>
                  <a:cubicBezTo>
                    <a:pt x="419672" y="100203"/>
                    <a:pt x="375476" y="80391"/>
                    <a:pt x="306229" y="80391"/>
                  </a:cubicBezTo>
                  <a:close/>
                  <a:moveTo>
                    <a:pt x="15431" y="74676"/>
                  </a:moveTo>
                  <a:lnTo>
                    <a:pt x="15431" y="99917"/>
                  </a:lnTo>
                  <a:cubicBezTo>
                    <a:pt x="15431" y="113728"/>
                    <a:pt x="59532" y="133731"/>
                    <a:pt x="128588" y="133731"/>
                  </a:cubicBezTo>
                  <a:lnTo>
                    <a:pt x="128588" y="133350"/>
                  </a:lnTo>
                  <a:cubicBezTo>
                    <a:pt x="197739" y="133350"/>
                    <a:pt x="241840" y="113347"/>
                    <a:pt x="241840" y="99917"/>
                  </a:cubicBezTo>
                  <a:lnTo>
                    <a:pt x="241840" y="74676"/>
                  </a:lnTo>
                  <a:lnTo>
                    <a:pt x="234887" y="78391"/>
                  </a:lnTo>
                  <a:cubicBezTo>
                    <a:pt x="211550" y="90868"/>
                    <a:pt x="171736" y="98393"/>
                    <a:pt x="128588" y="98393"/>
                  </a:cubicBezTo>
                  <a:cubicBezTo>
                    <a:pt x="85439" y="98393"/>
                    <a:pt x="45720" y="90868"/>
                    <a:pt x="22384" y="78391"/>
                  </a:cubicBezTo>
                  <a:close/>
                  <a:moveTo>
                    <a:pt x="128206" y="15526"/>
                  </a:moveTo>
                  <a:cubicBezTo>
                    <a:pt x="59341" y="15526"/>
                    <a:pt x="15431" y="35719"/>
                    <a:pt x="15431" y="49339"/>
                  </a:cubicBezTo>
                  <a:cubicBezTo>
                    <a:pt x="15431" y="62960"/>
                    <a:pt x="59532" y="82772"/>
                    <a:pt x="128588" y="82772"/>
                  </a:cubicBezTo>
                  <a:lnTo>
                    <a:pt x="128588" y="82201"/>
                  </a:lnTo>
                  <a:cubicBezTo>
                    <a:pt x="190310" y="82201"/>
                    <a:pt x="227838" y="67056"/>
                    <a:pt x="237649" y="56674"/>
                  </a:cubicBezTo>
                  <a:cubicBezTo>
                    <a:pt x="239935" y="54702"/>
                    <a:pt x="241307" y="51873"/>
                    <a:pt x="241459" y="48863"/>
                  </a:cubicBezTo>
                  <a:cubicBezTo>
                    <a:pt x="241364" y="35242"/>
                    <a:pt x="197167" y="15526"/>
                    <a:pt x="128206" y="15526"/>
                  </a:cubicBezTo>
                  <a:close/>
                  <a:moveTo>
                    <a:pt x="128588" y="0"/>
                  </a:moveTo>
                  <a:cubicBezTo>
                    <a:pt x="192691" y="0"/>
                    <a:pt x="257271" y="16859"/>
                    <a:pt x="257556" y="49816"/>
                  </a:cubicBezTo>
                  <a:lnTo>
                    <a:pt x="257556" y="68199"/>
                  </a:lnTo>
                  <a:lnTo>
                    <a:pt x="262985" y="67437"/>
                  </a:lnTo>
                  <a:cubicBezTo>
                    <a:pt x="277301" y="65646"/>
                    <a:pt x="291713" y="64751"/>
                    <a:pt x="306133" y="64770"/>
                  </a:cubicBezTo>
                  <a:cubicBezTo>
                    <a:pt x="369475" y="64770"/>
                    <a:pt x="434245" y="81534"/>
                    <a:pt x="435483" y="113538"/>
                  </a:cubicBezTo>
                  <a:lnTo>
                    <a:pt x="436055" y="117634"/>
                  </a:lnTo>
                  <a:lnTo>
                    <a:pt x="436055" y="165259"/>
                  </a:lnTo>
                  <a:cubicBezTo>
                    <a:pt x="436055" y="197834"/>
                    <a:pt x="370904" y="214789"/>
                    <a:pt x="306610" y="214789"/>
                  </a:cubicBezTo>
                  <a:cubicBezTo>
                    <a:pt x="290932" y="214798"/>
                    <a:pt x="275282" y="213741"/>
                    <a:pt x="259747" y="211645"/>
                  </a:cubicBezTo>
                  <a:lnTo>
                    <a:pt x="256413" y="211169"/>
                  </a:lnTo>
                  <a:lnTo>
                    <a:pt x="254889" y="214122"/>
                  </a:lnTo>
                  <a:cubicBezTo>
                    <a:pt x="241268" y="240316"/>
                    <a:pt x="181642" y="252222"/>
                    <a:pt x="128588" y="252222"/>
                  </a:cubicBezTo>
                  <a:cubicBezTo>
                    <a:pt x="64675" y="252222"/>
                    <a:pt x="0" y="235172"/>
                    <a:pt x="0" y="202597"/>
                  </a:cubicBezTo>
                  <a:lnTo>
                    <a:pt x="0" y="49054"/>
                  </a:lnTo>
                  <a:cubicBezTo>
                    <a:pt x="0" y="16859"/>
                    <a:pt x="64675" y="0"/>
                    <a:pt x="128588" y="0"/>
                  </a:cubicBez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</p:grp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6575D102-04B8-C1B7-1289-6F021F75DCA7}"/>
              </a:ext>
            </a:extLst>
          </p:cNvPr>
          <p:cNvCxnSpPr>
            <a:cxnSpLocks/>
          </p:cNvCxnSpPr>
          <p:nvPr/>
        </p:nvCxnSpPr>
        <p:spPr>
          <a:xfrm>
            <a:off x="0" y="1723691"/>
            <a:ext cx="9144000" cy="0"/>
          </a:xfrm>
          <a:prstGeom prst="line">
            <a:avLst/>
          </a:prstGeom>
          <a:noFill/>
          <a:ln w="12700" cap="flat" cmpd="sng" algn="ctr">
            <a:solidFill>
              <a:schemeClr val="bg2"/>
            </a:solidFill>
            <a:prstDash val="solid"/>
            <a:miter lim="800000"/>
          </a:ln>
          <a:effectLst/>
        </p:spPr>
      </p:cxnSp>
    </p:spTree>
    <p:extLst>
      <p:ext uri="{BB962C8B-B14F-4D97-AF65-F5344CB8AC3E}">
        <p14:creationId xmlns:p14="http://schemas.microsoft.com/office/powerpoint/2010/main" val="22847920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1A6A978A-E65B-DC67-6740-5ABB58A2C05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496018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5" imgH="426" progId="TCLayout.ActiveDocument.1">
                  <p:embed/>
                </p:oleObj>
              </mc:Choice>
              <mc:Fallback>
                <p:oleObj name="think-cell Folie" r:id="rId4" imgW="425" imgH="42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1A6A978A-E65B-DC67-6740-5ABB58A2C05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FDFE70A-A851-830B-B70B-96D334E362F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5510B2-AE93-434F-8E73-52EDE19AE709}" type="datetime4">
              <a:rPr lang="en-GB" noProof="0" smtClean="0"/>
              <a:pPr/>
              <a:t>14 March 2024</a:t>
            </a:fld>
            <a:endParaRPr lang="en-GB" noProof="0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22DF4CD-80EB-9199-B899-9FA2E996762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94909C6-CC71-4962-A18E-AF0515723D95}" type="slidenum">
              <a:rPr lang="en-GB" noProof="0" smtClean="0"/>
              <a:pPr/>
              <a:t>6</a:t>
            </a:fld>
            <a:endParaRPr lang="en-GB" noProof="0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6BBEB53-973A-69D6-041B-57D44C4055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GB" noProof="0" dirty="0"/>
              <a:t>Munich Re Group – Company Presentation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108A6CCA-BB9F-76AC-65A3-74B18AD4E3B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>
                <a:solidFill>
                  <a:schemeClr val="bg2"/>
                </a:solidFill>
              </a:rPr>
              <a:t>Munich Re Group </a:t>
            </a:r>
            <a:br>
              <a:rPr lang="en-GB" dirty="0">
                <a:solidFill>
                  <a:schemeClr val="bg2"/>
                </a:solidFill>
              </a:rPr>
            </a:br>
            <a:r>
              <a:rPr lang="en-GB" sz="1400" dirty="0">
                <a:solidFill>
                  <a:schemeClr val="tx2"/>
                </a:solidFill>
              </a:rPr>
              <a:t>A strong commitment towards sustainability – International co-operations</a:t>
            </a:r>
            <a:endParaRPr lang="en-GB" sz="1600" dirty="0">
              <a:solidFill>
                <a:schemeClr val="tx2"/>
              </a:solidFill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5AD4ABFE-9ABD-E990-24E4-C2A0AB413538}"/>
              </a:ext>
            </a:extLst>
          </p:cNvPr>
          <p:cNvSpPr/>
          <p:nvPr/>
        </p:nvSpPr>
        <p:spPr>
          <a:xfrm>
            <a:off x="6480000" y="1115998"/>
            <a:ext cx="2664000" cy="4027500"/>
          </a:xfrm>
          <a:prstGeom prst="rect">
            <a:avLst/>
          </a:prstGeom>
          <a:solidFill>
            <a:schemeClr val="tx2">
              <a:alpha val="5000"/>
            </a:schemeClr>
          </a:solidFill>
          <a:ln w="9525" cap="flat" cmpd="sng" algn="ctr">
            <a:noFill/>
            <a:prstDash val="solid"/>
            <a:miter lim="800000"/>
          </a:ln>
          <a:effectLst/>
        </p:spPr>
        <p:txBody>
          <a:bodyPr rtlCol="0" anchor="ctr" anchorCtr="0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Arial Unicode MS"/>
              <a:cs typeface="Arial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64310CB4-4499-2826-051A-9A83CD78E059}"/>
              </a:ext>
            </a:extLst>
          </p:cNvPr>
          <p:cNvSpPr/>
          <p:nvPr/>
        </p:nvSpPr>
        <p:spPr>
          <a:xfrm>
            <a:off x="-1" y="1115998"/>
            <a:ext cx="2664000" cy="4027500"/>
          </a:xfrm>
          <a:prstGeom prst="rect">
            <a:avLst/>
          </a:prstGeom>
          <a:solidFill>
            <a:schemeClr val="tx2">
              <a:alpha val="5000"/>
            </a:schemeClr>
          </a:solidFill>
          <a:ln w="9525" cap="flat" cmpd="sng" algn="ctr">
            <a:noFill/>
            <a:prstDash val="solid"/>
            <a:miter lim="800000"/>
          </a:ln>
          <a:effectLst/>
        </p:spPr>
        <p:txBody>
          <a:bodyPr rtlCol="0" anchor="ctr" anchorCtr="0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Arial Unicode MS"/>
              <a:cs typeface="Arial"/>
            </a:endParaRP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5EA05692-7905-A2CE-F8F5-ED08BBC39FE7}"/>
              </a:ext>
            </a:extLst>
          </p:cNvPr>
          <p:cNvCxnSpPr>
            <a:cxnSpLocks/>
          </p:cNvCxnSpPr>
          <p:nvPr/>
        </p:nvCxnSpPr>
        <p:spPr>
          <a:xfrm>
            <a:off x="0" y="2872320"/>
            <a:ext cx="4122420" cy="0"/>
          </a:xfrm>
          <a:prstGeom prst="line">
            <a:avLst/>
          </a:prstGeom>
          <a:noFill/>
          <a:ln w="6350" cap="flat" cmpd="sng" algn="ctr">
            <a:solidFill>
              <a:srgbClr val="4D4E53">
                <a:lumMod val="40000"/>
                <a:lumOff val="60000"/>
              </a:srgbClr>
            </a:solidFill>
            <a:prstDash val="solid"/>
            <a:miter lim="800000"/>
          </a:ln>
          <a:effectLst/>
        </p:spPr>
      </p:cxnSp>
      <p:sp>
        <p:nvSpPr>
          <p:cNvPr id="13" name="Rechteck 15">
            <a:extLst>
              <a:ext uri="{FF2B5EF4-FFF2-40B4-BE49-F238E27FC236}">
                <a16:creationId xmlns:a16="http://schemas.microsoft.com/office/drawing/2014/main" id="{F5A9D57F-D37A-89BE-FCAD-FE58025B84CF}"/>
              </a:ext>
            </a:extLst>
          </p:cNvPr>
          <p:cNvSpPr/>
          <p:nvPr/>
        </p:nvSpPr>
        <p:spPr bwMode="auto">
          <a:xfrm>
            <a:off x="306000" y="1115999"/>
            <a:ext cx="2253600" cy="995341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wrap="square" lIns="0" tIns="90000" rIns="0" bIns="0">
            <a:spAutoFit/>
          </a:bodyPr>
          <a:lstStyle/>
          <a:p>
            <a:pPr marL="0" marR="0" lvl="0" indent="0" defTabSz="447675" eaLnBrk="1" fontAlgn="auto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ea typeface="MS Gothic" pitchFamily="49" charset="-128"/>
              </a:rPr>
              <a:t>UNEP FI </a:t>
            </a:r>
            <a:br>
              <a:rPr kumimoji="0" lang="en-GB" sz="1100" b="1" i="0" u="none" strike="noStrike" kern="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ea typeface="MS Gothic" pitchFamily="49" charset="-128"/>
              </a:rPr>
            </a:br>
            <a:r>
              <a:rPr kumimoji="0" lang="en-GB" sz="900" b="0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ea typeface="MS Gothic" pitchFamily="49" charset="-128"/>
              </a:rPr>
              <a:t>(</a:t>
            </a:r>
            <a:r>
              <a:rPr kumimoji="0" lang="en-GB" sz="900" b="0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rPr>
              <a:t>since 1999)</a:t>
            </a:r>
          </a:p>
          <a:p>
            <a:pPr marL="0" marR="0" lvl="0" indent="0" defTabSz="447675" eaLnBrk="1" fontAlgn="auto" latinLnBrk="0" hangingPunct="1">
              <a:lnSpc>
                <a:spcPct val="1100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ea typeface="MS Gothic" pitchFamily="49" charset="-128"/>
              </a:rPr>
              <a:t>Munich Re has signed the UNEP FI’s climate declaration and was a founding member of the PRI and PSI.</a:t>
            </a:r>
            <a:endParaRPr kumimoji="0" lang="en-GB" sz="900" b="0" i="0" u="none" strike="noStrike" kern="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highlight>
                <a:srgbClr val="FFFF00"/>
              </a:highlight>
              <a:uLnTx/>
              <a:uFillTx/>
              <a:ea typeface="MS Gothic" pitchFamily="49" charset="-128"/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5582FD77-509D-F1D3-6E4B-FCFA83846CFC}"/>
              </a:ext>
            </a:extLst>
          </p:cNvPr>
          <p:cNvCxnSpPr>
            <a:cxnSpLocks/>
          </p:cNvCxnSpPr>
          <p:nvPr/>
        </p:nvCxnSpPr>
        <p:spPr>
          <a:xfrm>
            <a:off x="5021580" y="2872320"/>
            <a:ext cx="4122420" cy="0"/>
          </a:xfrm>
          <a:prstGeom prst="line">
            <a:avLst/>
          </a:prstGeom>
          <a:noFill/>
          <a:ln w="6350" cap="flat" cmpd="sng" algn="ctr">
            <a:solidFill>
              <a:srgbClr val="4D4E53">
                <a:lumMod val="40000"/>
                <a:lumOff val="60000"/>
              </a:srgbClr>
            </a:solidFill>
            <a:prstDash val="solid"/>
            <a:miter lim="800000"/>
          </a:ln>
          <a:effectLst/>
        </p:spPr>
      </p:cxnSp>
      <p:sp>
        <p:nvSpPr>
          <p:cNvPr id="15" name="Rechteck 17">
            <a:extLst>
              <a:ext uri="{FF2B5EF4-FFF2-40B4-BE49-F238E27FC236}">
                <a16:creationId xmlns:a16="http://schemas.microsoft.com/office/drawing/2014/main" id="{4BE43390-FA88-1908-1B2C-244960E28545}"/>
              </a:ext>
            </a:extLst>
          </p:cNvPr>
          <p:cNvSpPr/>
          <p:nvPr/>
        </p:nvSpPr>
        <p:spPr bwMode="auto">
          <a:xfrm>
            <a:off x="305999" y="2977105"/>
            <a:ext cx="2253600" cy="1334661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wrap="square" lIns="0" tIns="0" rIns="0" bIns="0">
            <a:spAutoFit/>
          </a:bodyPr>
          <a:lstStyle/>
          <a:p>
            <a:pPr marL="0" marR="0" lvl="0" indent="0" defTabSz="447675" eaLnBrk="1" fontAlgn="auto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ea typeface="MS Gothic" pitchFamily="49" charset="-128"/>
              </a:rPr>
              <a:t>UN Global Compact </a:t>
            </a:r>
            <a:br>
              <a:rPr kumimoji="0" lang="en-GB" sz="1100" b="1" i="0" u="none" strike="noStrike" kern="0" cap="none" spc="0" normalizeH="0" baseline="0" noProof="0" dirty="0">
                <a:ln>
                  <a:noFill/>
                </a:ln>
                <a:solidFill>
                  <a:srgbClr val="57AB27"/>
                </a:solidFill>
                <a:effectLst/>
                <a:uLnTx/>
                <a:uFillTx/>
                <a:ea typeface="MS Gothic" pitchFamily="49" charset="-128"/>
              </a:rPr>
            </a:br>
            <a:r>
              <a:rPr kumimoji="0" lang="en-GB" sz="900" b="0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ea typeface="MS Gothic" pitchFamily="49" charset="-128"/>
              </a:rPr>
              <a:t>(</a:t>
            </a:r>
            <a:r>
              <a:rPr kumimoji="0" lang="en-GB" sz="900" b="0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rPr>
              <a:t>since 2007)</a:t>
            </a:r>
          </a:p>
          <a:p>
            <a:pPr marL="0" marR="0" lvl="0" indent="0" defTabSz="447675" eaLnBrk="1" fontAlgn="auto" latinLnBrk="0" hangingPunct="1">
              <a:lnSpc>
                <a:spcPct val="1100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ea typeface="MS Gothic" pitchFamily="49" charset="-128"/>
              </a:rPr>
              <a:t>Munich Re has been a member of the </a:t>
            </a:r>
            <a:br>
              <a:rPr kumimoji="0" lang="en-GB" sz="900" b="0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ea typeface="MS Gothic" pitchFamily="49" charset="-128"/>
              </a:rPr>
            </a:br>
            <a:r>
              <a:rPr kumimoji="0" lang="en-GB" sz="900" b="0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ea typeface="MS Gothic" pitchFamily="49" charset="-128"/>
              </a:rPr>
              <a:t>UN Global Compact since August 2007. </a:t>
            </a:r>
            <a:br>
              <a:rPr kumimoji="0" lang="en-GB" sz="900" b="0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ea typeface="MS Gothic" pitchFamily="49" charset="-128"/>
              </a:rPr>
            </a:br>
            <a:r>
              <a:rPr kumimoji="0" lang="en-GB" sz="900" b="0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ea typeface="MS Gothic" pitchFamily="49" charset="-128"/>
              </a:rPr>
              <a:t>The ten principles of the UN Global Compact provide guidance for action in </a:t>
            </a:r>
            <a:br>
              <a:rPr kumimoji="0" lang="en-GB" sz="900" b="0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ea typeface="MS Gothic" pitchFamily="49" charset="-128"/>
              </a:rPr>
            </a:br>
            <a:r>
              <a:rPr kumimoji="0" lang="en-GB" sz="900" b="0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ea typeface="MS Gothic" pitchFamily="49" charset="-128"/>
              </a:rPr>
              <a:t>our business and set the basis for our sustainability activities.</a:t>
            </a:r>
          </a:p>
        </p:txBody>
      </p:sp>
      <p:sp>
        <p:nvSpPr>
          <p:cNvPr id="16" name="Rechteck 16">
            <a:extLst>
              <a:ext uri="{FF2B5EF4-FFF2-40B4-BE49-F238E27FC236}">
                <a16:creationId xmlns:a16="http://schemas.microsoft.com/office/drawing/2014/main" id="{BE76335B-7384-89CA-CC53-90D16D8B076B}"/>
              </a:ext>
            </a:extLst>
          </p:cNvPr>
          <p:cNvSpPr/>
          <p:nvPr/>
        </p:nvSpPr>
        <p:spPr bwMode="auto">
          <a:xfrm>
            <a:off x="6583680" y="1115999"/>
            <a:ext cx="2254319" cy="1465061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wrap="square" lIns="0" tIns="90000" rIns="0" bIns="0">
            <a:spAutoFit/>
          </a:bodyPr>
          <a:lstStyle/>
          <a:p>
            <a:pPr marL="0" marR="0" lvl="0" indent="0" defTabSz="447675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ea typeface="MS Gothic" pitchFamily="49" charset="-128"/>
              </a:rPr>
              <a:t>Principles for Responsible Investment </a:t>
            </a:r>
            <a:r>
              <a:rPr kumimoji="0" lang="en-GB" sz="1200" b="0" i="0" u="none" strike="noStrike" kern="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ea typeface="MS Gothic" pitchFamily="49" charset="-128"/>
              </a:rPr>
              <a:t>(PRI) </a:t>
            </a:r>
            <a:br>
              <a:rPr kumimoji="0" lang="en-GB" sz="1200" b="0" i="0" u="none" strike="noStrike" kern="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ea typeface="MS Gothic" pitchFamily="49" charset="-128"/>
              </a:rPr>
            </a:br>
            <a:r>
              <a:rPr kumimoji="0" lang="en-GB" sz="900" b="0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ea typeface="MS Gothic" pitchFamily="49" charset="-128"/>
              </a:rPr>
              <a:t>(</a:t>
            </a:r>
            <a:r>
              <a:rPr kumimoji="0" lang="en-GB" sz="900" b="0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rPr>
              <a:t>since 2006)</a:t>
            </a:r>
          </a:p>
          <a:p>
            <a:pPr marL="0" marR="0" lvl="0" indent="0" defTabSz="447675" eaLnBrk="1" fontAlgn="auto" latinLnBrk="0" hangingPunct="1">
              <a:lnSpc>
                <a:spcPct val="1100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ea typeface="MS Gothic" pitchFamily="49" charset="-128"/>
              </a:rPr>
              <a:t>Munich Re actively developed the </a:t>
            </a:r>
            <a:br>
              <a:rPr kumimoji="0" lang="en-GB" sz="900" b="0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ea typeface="MS Gothic" pitchFamily="49" charset="-128"/>
              </a:rPr>
            </a:br>
            <a:r>
              <a:rPr kumimoji="0" lang="en-GB" sz="900" b="0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ea typeface="MS Gothic" pitchFamily="49" charset="-128"/>
              </a:rPr>
              <a:t>UN Principles for Responsible Investment</a:t>
            </a:r>
            <a:br>
              <a:rPr kumimoji="0" lang="en-GB" sz="900" b="0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ea typeface="MS Gothic" pitchFamily="49" charset="-128"/>
              </a:rPr>
            </a:br>
            <a:r>
              <a:rPr kumimoji="0" lang="en-GB" sz="900" b="0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ea typeface="MS Gothic" pitchFamily="49" charset="-128"/>
              </a:rPr>
              <a:t>(PRI) and has since also joined the</a:t>
            </a:r>
            <a:br>
              <a:rPr kumimoji="0" lang="en-GB" sz="900" b="0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ea typeface="MS Gothic" pitchFamily="49" charset="-128"/>
              </a:rPr>
            </a:br>
            <a:r>
              <a:rPr kumimoji="0" lang="en-GB" sz="900" b="0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ea typeface="MS Gothic" pitchFamily="49" charset="-128"/>
              </a:rPr>
              <a:t>Net-Zero Asset Owner Alliance at the beginning of 2020.</a:t>
            </a:r>
          </a:p>
        </p:txBody>
      </p:sp>
      <p:sp>
        <p:nvSpPr>
          <p:cNvPr id="17" name="Rechteck 19">
            <a:extLst>
              <a:ext uri="{FF2B5EF4-FFF2-40B4-BE49-F238E27FC236}">
                <a16:creationId xmlns:a16="http://schemas.microsoft.com/office/drawing/2014/main" id="{EC0A89B1-5B6C-4397-E63B-CD7E9BF2A445}"/>
              </a:ext>
            </a:extLst>
          </p:cNvPr>
          <p:cNvSpPr/>
          <p:nvPr/>
        </p:nvSpPr>
        <p:spPr bwMode="auto">
          <a:xfrm>
            <a:off x="6583680" y="2977105"/>
            <a:ext cx="2254319" cy="1182311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wrap="square" lIns="0" tIns="0" rIns="0" bIns="0">
            <a:spAutoFit/>
          </a:bodyPr>
          <a:lstStyle/>
          <a:p>
            <a:pPr marL="0" marR="0" lvl="0" indent="0" defTabSz="447675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ea typeface="MS Gothic" pitchFamily="49" charset="-128"/>
              </a:rPr>
              <a:t>Principles for Sustainable Insurance </a:t>
            </a:r>
            <a:r>
              <a:rPr kumimoji="0" lang="en-GB" sz="1200" b="0" i="0" u="none" strike="noStrike" kern="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ea typeface="MS Gothic" pitchFamily="49" charset="-128"/>
              </a:rPr>
              <a:t>(PSI) </a:t>
            </a:r>
            <a:br>
              <a:rPr kumimoji="0" lang="en-GB" sz="1200" b="0" i="0" u="none" strike="noStrike" kern="0" cap="none" spc="0" normalizeH="0" baseline="0" noProof="0" dirty="0">
                <a:ln>
                  <a:noFill/>
                </a:ln>
                <a:solidFill>
                  <a:srgbClr val="00975D"/>
                </a:solidFill>
                <a:effectLst/>
                <a:uLnTx/>
                <a:uFillTx/>
                <a:ea typeface="MS Gothic" pitchFamily="49" charset="-128"/>
              </a:rPr>
            </a:br>
            <a:r>
              <a:rPr kumimoji="0" lang="en-GB" sz="900" b="0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ea typeface="MS Gothic" pitchFamily="49" charset="-128"/>
                <a:cs typeface="Arial Unicode MS" pitchFamily="34" charset="-128"/>
              </a:rPr>
              <a:t>(</a:t>
            </a:r>
            <a:r>
              <a:rPr kumimoji="0" lang="en-GB" sz="900" b="0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rPr>
              <a:t>since 2012)</a:t>
            </a:r>
          </a:p>
          <a:p>
            <a:pPr marL="0" marR="0" lvl="0" indent="0" defTabSz="447675" eaLnBrk="1" fontAlgn="auto" latinLnBrk="0" hangingPunct="1">
              <a:lnSpc>
                <a:spcPct val="1100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ea typeface="MS Gothic" pitchFamily="49" charset="-128"/>
                <a:cs typeface="Arial Unicode MS" pitchFamily="34" charset="-128"/>
              </a:rPr>
              <a:t>Munich Re played an active part in developing the Principles for Sustainable Insurance (PSI) and was a founding signatory in June 2012. </a:t>
            </a:r>
          </a:p>
        </p:txBody>
      </p:sp>
      <p:sp>
        <p:nvSpPr>
          <p:cNvPr id="18" name="Freeform: Shape 17">
            <a:extLst>
              <a:ext uri="{FF2B5EF4-FFF2-40B4-BE49-F238E27FC236}">
                <a16:creationId xmlns:a16="http://schemas.microsoft.com/office/drawing/2014/main" id="{7F614610-ADF7-18A0-060B-5014338A9E2B}"/>
              </a:ext>
            </a:extLst>
          </p:cNvPr>
          <p:cNvSpPr/>
          <p:nvPr/>
        </p:nvSpPr>
        <p:spPr>
          <a:xfrm>
            <a:off x="2709940" y="1116000"/>
            <a:ext cx="1539033" cy="3512643"/>
          </a:xfrm>
          <a:custGeom>
            <a:avLst/>
            <a:gdLst>
              <a:gd name="connsiteX0" fmla="*/ 1168545 w 1539033"/>
              <a:gd name="connsiteY0" fmla="*/ 0 h 3417887"/>
              <a:gd name="connsiteX1" fmla="*/ 0 w 1539033"/>
              <a:gd name="connsiteY1" fmla="*/ 0 h 3417887"/>
              <a:gd name="connsiteX2" fmla="*/ 0 w 1539033"/>
              <a:gd name="connsiteY2" fmla="*/ 3417887 h 3417887"/>
              <a:gd name="connsiteX3" fmla="*/ 1168545 w 1539033"/>
              <a:gd name="connsiteY3" fmla="*/ 3417887 h 3417887"/>
              <a:gd name="connsiteX4" fmla="*/ 1539033 w 1539033"/>
              <a:gd name="connsiteY4" fmla="*/ 1708944 h 34178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539033" h="3417887">
                <a:moveTo>
                  <a:pt x="1168545" y="0"/>
                </a:moveTo>
                <a:lnTo>
                  <a:pt x="0" y="0"/>
                </a:lnTo>
                <a:lnTo>
                  <a:pt x="0" y="3417887"/>
                </a:lnTo>
                <a:lnTo>
                  <a:pt x="1168545" y="3417887"/>
                </a:lnTo>
                <a:lnTo>
                  <a:pt x="1539033" y="1708944"/>
                </a:lnTo>
                <a:close/>
              </a:path>
            </a:pathLst>
          </a:custGeom>
          <a:noFill/>
          <a:ln w="9525" cap="flat" cmpd="sng" algn="ctr">
            <a:noFill/>
            <a:prstDash val="solid"/>
            <a:miter lim="800000"/>
          </a:ln>
          <a:effectLst/>
        </p:spPr>
        <p:txBody>
          <a:bodyPr wrap="square" rtlCol="0" anchor="ctr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Arial Unicode MS"/>
              <a:cs typeface="Arial"/>
            </a:endParaRPr>
          </a:p>
        </p:txBody>
      </p:sp>
      <p:sp>
        <p:nvSpPr>
          <p:cNvPr id="19" name="Freeform: Shape 18">
            <a:extLst>
              <a:ext uri="{FF2B5EF4-FFF2-40B4-BE49-F238E27FC236}">
                <a16:creationId xmlns:a16="http://schemas.microsoft.com/office/drawing/2014/main" id="{15C5C365-1D19-C272-9354-8B51314965FB}"/>
              </a:ext>
            </a:extLst>
          </p:cNvPr>
          <p:cNvSpPr/>
          <p:nvPr/>
        </p:nvSpPr>
        <p:spPr>
          <a:xfrm>
            <a:off x="3749934" y="1115998"/>
            <a:ext cx="1644132" cy="4027501"/>
          </a:xfrm>
          <a:custGeom>
            <a:avLst/>
            <a:gdLst>
              <a:gd name="connsiteX0" fmla="*/ 128134 w 1644132"/>
              <a:gd name="connsiteY0" fmla="*/ 0 h 3918856"/>
              <a:gd name="connsiteX1" fmla="*/ 1515998 w 1644132"/>
              <a:gd name="connsiteY1" fmla="*/ 0 h 3918856"/>
              <a:gd name="connsiteX2" fmla="*/ 1161128 w 1644132"/>
              <a:gd name="connsiteY2" fmla="*/ 1708942 h 3918856"/>
              <a:gd name="connsiteX3" fmla="*/ 1489482 w 1644132"/>
              <a:gd name="connsiteY3" fmla="*/ 3290193 h 3918856"/>
              <a:gd name="connsiteX4" fmla="*/ 1644132 w 1644132"/>
              <a:gd name="connsiteY4" fmla="*/ 3918856 h 3918856"/>
              <a:gd name="connsiteX5" fmla="*/ 0 w 1644132"/>
              <a:gd name="connsiteY5" fmla="*/ 3918856 h 3918856"/>
              <a:gd name="connsiteX6" fmla="*/ 154648 w 1644132"/>
              <a:gd name="connsiteY6" fmla="*/ 3290203 h 3918856"/>
              <a:gd name="connsiteX7" fmla="*/ 483004 w 1644132"/>
              <a:gd name="connsiteY7" fmla="*/ 1708942 h 39188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644132" h="3918856">
                <a:moveTo>
                  <a:pt x="128134" y="0"/>
                </a:moveTo>
                <a:lnTo>
                  <a:pt x="1515998" y="0"/>
                </a:lnTo>
                <a:lnTo>
                  <a:pt x="1161128" y="1708942"/>
                </a:lnTo>
                <a:lnTo>
                  <a:pt x="1489482" y="3290193"/>
                </a:lnTo>
                <a:lnTo>
                  <a:pt x="1644132" y="3918856"/>
                </a:lnTo>
                <a:lnTo>
                  <a:pt x="0" y="3918856"/>
                </a:lnTo>
                <a:lnTo>
                  <a:pt x="154648" y="3290203"/>
                </a:lnTo>
                <a:lnTo>
                  <a:pt x="483004" y="1708942"/>
                </a:lnTo>
                <a:close/>
              </a:path>
            </a:pathLst>
          </a:custGeom>
          <a:solidFill>
            <a:schemeClr val="bg2">
              <a:alpha val="90000"/>
            </a:schemeClr>
          </a:solidFill>
          <a:ln w="9525" cap="flat" cmpd="sng" algn="ctr">
            <a:noFill/>
            <a:prstDash val="solid"/>
            <a:miter lim="800000"/>
          </a:ln>
          <a:effectLst/>
        </p:spPr>
        <p:txBody>
          <a:bodyPr wrap="square" lIns="144000" tIns="72000" rIns="144000" bIns="72000" rtlCol="0" anchor="t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Arial Unicode MS"/>
              <a:cs typeface="Arial"/>
            </a:endParaRPr>
          </a:p>
        </p:txBody>
      </p:sp>
      <p:sp>
        <p:nvSpPr>
          <p:cNvPr id="20" name="Freeform: Shape 19">
            <a:extLst>
              <a:ext uri="{FF2B5EF4-FFF2-40B4-BE49-F238E27FC236}">
                <a16:creationId xmlns:a16="http://schemas.microsoft.com/office/drawing/2014/main" id="{6AD6F83A-5DD6-0E9C-8D08-E6C6E5D85280}"/>
              </a:ext>
            </a:extLst>
          </p:cNvPr>
          <p:cNvSpPr/>
          <p:nvPr/>
        </p:nvSpPr>
        <p:spPr>
          <a:xfrm flipH="1">
            <a:off x="4895028" y="1116000"/>
            <a:ext cx="1539033" cy="3512643"/>
          </a:xfrm>
          <a:custGeom>
            <a:avLst/>
            <a:gdLst>
              <a:gd name="connsiteX0" fmla="*/ 1168545 w 1539033"/>
              <a:gd name="connsiteY0" fmla="*/ 0 h 3417887"/>
              <a:gd name="connsiteX1" fmla="*/ 0 w 1539033"/>
              <a:gd name="connsiteY1" fmla="*/ 0 h 3417887"/>
              <a:gd name="connsiteX2" fmla="*/ 0 w 1539033"/>
              <a:gd name="connsiteY2" fmla="*/ 3417887 h 3417887"/>
              <a:gd name="connsiteX3" fmla="*/ 1168545 w 1539033"/>
              <a:gd name="connsiteY3" fmla="*/ 3417887 h 3417887"/>
              <a:gd name="connsiteX4" fmla="*/ 1539033 w 1539033"/>
              <a:gd name="connsiteY4" fmla="*/ 1708944 h 34178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539033" h="3417887">
                <a:moveTo>
                  <a:pt x="1168545" y="0"/>
                </a:moveTo>
                <a:lnTo>
                  <a:pt x="0" y="0"/>
                </a:lnTo>
                <a:lnTo>
                  <a:pt x="0" y="3417887"/>
                </a:lnTo>
                <a:lnTo>
                  <a:pt x="1168545" y="3417887"/>
                </a:lnTo>
                <a:lnTo>
                  <a:pt x="1539033" y="1708944"/>
                </a:lnTo>
                <a:close/>
              </a:path>
            </a:pathLst>
          </a:custGeom>
          <a:noFill/>
          <a:ln w="9525" cap="flat" cmpd="sng" algn="ctr">
            <a:noFill/>
            <a:prstDash val="solid"/>
            <a:miter lim="800000"/>
          </a:ln>
          <a:effectLst/>
        </p:spPr>
        <p:txBody>
          <a:bodyPr wrap="square" rtlCol="0" anchor="ctr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Arial Unicode MS"/>
              <a:cs typeface="Arial"/>
            </a:endParaRPr>
          </a:p>
        </p:txBody>
      </p:sp>
      <p:pic>
        <p:nvPicPr>
          <p:cNvPr id="21" name="Picture 2" descr="About Us – United Nations Environment – Finance Initiative">
            <a:extLst>
              <a:ext uri="{FF2B5EF4-FFF2-40B4-BE49-F238E27FC236}">
                <a16:creationId xmlns:a16="http://schemas.microsoft.com/office/drawing/2014/main" id="{B0172FC1-1E32-BF5A-44A4-072E0A0952E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50501" y="1729733"/>
            <a:ext cx="982399" cy="4814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22" name="Group 21">
            <a:extLst>
              <a:ext uri="{FF2B5EF4-FFF2-40B4-BE49-F238E27FC236}">
                <a16:creationId xmlns:a16="http://schemas.microsoft.com/office/drawing/2014/main" id="{68AF2623-D865-34AC-4D4C-02BD426E91DE}"/>
              </a:ext>
            </a:extLst>
          </p:cNvPr>
          <p:cNvGrpSpPr/>
          <p:nvPr/>
        </p:nvGrpSpPr>
        <p:grpSpPr>
          <a:xfrm>
            <a:off x="5311100" y="1557162"/>
            <a:ext cx="962620" cy="826621"/>
            <a:chOff x="4680001" y="2032000"/>
            <a:chExt cx="962620" cy="826621"/>
          </a:xfrm>
        </p:grpSpPr>
        <p:pic>
          <p:nvPicPr>
            <p:cNvPr id="23" name="Picture 2" descr="Munich Re joins Net-Zero Asset Owner Alliance bringing collective AUM of  group to US$ 4.5 trillion - United Nations Environment - Finance Initiative">
              <a:extLst>
                <a:ext uri="{FF2B5EF4-FFF2-40B4-BE49-F238E27FC236}">
                  <a16:creationId xmlns:a16="http://schemas.microsoft.com/office/drawing/2014/main" id="{F15B7004-DB43-B337-662C-30808ADC70E3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auto">
            <a:xfrm>
              <a:off x="4680001" y="2354690"/>
              <a:ext cx="962620" cy="503931"/>
            </a:xfrm>
            <a:prstGeom prst="rect">
              <a:avLst/>
            </a:prstGeom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4" name="Picture 4" descr="Principles for Responsible Investment – Climate Action in Financial  Institutions">
              <a:extLst>
                <a:ext uri="{FF2B5EF4-FFF2-40B4-BE49-F238E27FC236}">
                  <a16:creationId xmlns:a16="http://schemas.microsoft.com/office/drawing/2014/main" id="{27902B72-5EBA-82A4-7D73-7035B87BE35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689228" y="2032000"/>
              <a:ext cx="792565" cy="27891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27" name="Picture 6" descr="Tobacco-Free Finance Pledge « UNEP FI Principles for Sustainable Insurance">
            <a:extLst>
              <a:ext uri="{FF2B5EF4-FFF2-40B4-BE49-F238E27FC236}">
                <a16:creationId xmlns:a16="http://schemas.microsoft.com/office/drawing/2014/main" id="{7C8F5E88-CA0A-68C4-EA7A-35327FB4C20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11100" y="3479235"/>
            <a:ext cx="925828" cy="7200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8" name="Group 7">
            <a:extLst>
              <a:ext uri="{FF2B5EF4-FFF2-40B4-BE49-F238E27FC236}">
                <a16:creationId xmlns:a16="http://schemas.microsoft.com/office/drawing/2014/main" id="{0F6F34E4-A6DE-00E9-5054-FE96E9BC4DA2}"/>
              </a:ext>
            </a:extLst>
          </p:cNvPr>
          <p:cNvGrpSpPr/>
          <p:nvPr/>
        </p:nvGrpSpPr>
        <p:grpSpPr>
          <a:xfrm>
            <a:off x="4372165" y="2603608"/>
            <a:ext cx="399671" cy="442670"/>
            <a:chOff x="4372165" y="2603608"/>
            <a:chExt cx="399671" cy="442670"/>
          </a:xfrm>
        </p:grpSpPr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B3F1D82E-D4ED-4FED-6244-469D65D1A986}"/>
                </a:ext>
              </a:extLst>
            </p:cNvPr>
            <p:cNvSpPr/>
            <p:nvPr/>
          </p:nvSpPr>
          <p:spPr>
            <a:xfrm>
              <a:off x="4437706" y="2603608"/>
              <a:ext cx="286370" cy="227330"/>
            </a:xfrm>
            <a:custGeom>
              <a:avLst/>
              <a:gdLst>
                <a:gd name="connsiteX0" fmla="*/ 353758 w 655129"/>
                <a:gd name="connsiteY0" fmla="*/ 432816 h 520065"/>
                <a:gd name="connsiteX1" fmla="*/ 316515 w 655129"/>
                <a:gd name="connsiteY1" fmla="*/ 467487 h 520065"/>
                <a:gd name="connsiteX2" fmla="*/ 320516 w 655129"/>
                <a:gd name="connsiteY2" fmla="*/ 471011 h 520065"/>
                <a:gd name="connsiteX3" fmla="*/ 400812 w 655129"/>
                <a:gd name="connsiteY3" fmla="*/ 503205 h 520065"/>
                <a:gd name="connsiteX4" fmla="*/ 400812 w 655129"/>
                <a:gd name="connsiteY4" fmla="*/ 503872 h 520065"/>
                <a:gd name="connsiteX5" fmla="*/ 504539 w 655129"/>
                <a:gd name="connsiteY5" fmla="*/ 454152 h 520065"/>
                <a:gd name="connsiteX6" fmla="*/ 510540 w 655129"/>
                <a:gd name="connsiteY6" fmla="*/ 448151 h 520065"/>
                <a:gd name="connsiteX7" fmla="*/ 520065 w 655129"/>
                <a:gd name="connsiteY7" fmla="*/ 438626 h 520065"/>
                <a:gd name="connsiteX8" fmla="*/ 19716 w 655129"/>
                <a:gd name="connsiteY8" fmla="*/ 336899 h 520065"/>
                <a:gd name="connsiteX9" fmla="*/ 21526 w 655129"/>
                <a:gd name="connsiteY9" fmla="*/ 345186 h 520065"/>
                <a:gd name="connsiteX10" fmla="*/ 32289 w 655129"/>
                <a:gd name="connsiteY10" fmla="*/ 379476 h 520065"/>
                <a:gd name="connsiteX11" fmla="*/ 135731 w 655129"/>
                <a:gd name="connsiteY11" fmla="*/ 484251 h 520065"/>
                <a:gd name="connsiteX12" fmla="*/ 171164 w 655129"/>
                <a:gd name="connsiteY12" fmla="*/ 489299 h 520065"/>
                <a:gd name="connsiteX13" fmla="*/ 171164 w 655129"/>
                <a:gd name="connsiteY13" fmla="*/ 489489 h 520065"/>
                <a:gd name="connsiteX14" fmla="*/ 237267 w 655129"/>
                <a:gd name="connsiteY14" fmla="*/ 474154 h 520065"/>
                <a:gd name="connsiteX15" fmla="*/ 241649 w 655129"/>
                <a:gd name="connsiteY15" fmla="*/ 472154 h 520065"/>
                <a:gd name="connsiteX16" fmla="*/ 210216 w 655129"/>
                <a:gd name="connsiteY16" fmla="*/ 405479 h 520065"/>
                <a:gd name="connsiteX17" fmla="*/ 469772 w 655129"/>
                <a:gd name="connsiteY17" fmla="*/ 324993 h 520065"/>
                <a:gd name="connsiteX18" fmla="*/ 371094 w 655129"/>
                <a:gd name="connsiteY18" fmla="*/ 416623 h 520065"/>
                <a:gd name="connsiteX19" fmla="*/ 533019 w 655129"/>
                <a:gd name="connsiteY19" fmla="*/ 422243 h 520065"/>
                <a:gd name="connsiteX20" fmla="*/ 533876 w 655129"/>
                <a:gd name="connsiteY20" fmla="*/ 420529 h 520065"/>
                <a:gd name="connsiteX21" fmla="*/ 581501 w 655129"/>
                <a:gd name="connsiteY21" fmla="*/ 331565 h 520065"/>
                <a:gd name="connsiteX22" fmla="*/ 584072 w 655129"/>
                <a:gd name="connsiteY22" fmla="*/ 324993 h 520065"/>
                <a:gd name="connsiteX23" fmla="*/ 396620 w 655129"/>
                <a:gd name="connsiteY23" fmla="*/ 224885 h 520065"/>
                <a:gd name="connsiteX24" fmla="*/ 389572 w 655129"/>
                <a:gd name="connsiteY24" fmla="*/ 228504 h 520065"/>
                <a:gd name="connsiteX25" fmla="*/ 331660 w 655129"/>
                <a:gd name="connsiteY25" fmla="*/ 268510 h 520065"/>
                <a:gd name="connsiteX26" fmla="*/ 275177 w 655129"/>
                <a:gd name="connsiteY26" fmla="*/ 374904 h 520065"/>
                <a:gd name="connsiteX27" fmla="*/ 301942 w 655129"/>
                <a:gd name="connsiteY27" fmla="*/ 451104 h 520065"/>
                <a:gd name="connsiteX28" fmla="*/ 305085 w 655129"/>
                <a:gd name="connsiteY28" fmla="*/ 455295 h 520065"/>
                <a:gd name="connsiteX29" fmla="*/ 396620 w 655129"/>
                <a:gd name="connsiteY29" fmla="*/ 370522 h 520065"/>
                <a:gd name="connsiteX30" fmla="*/ 512349 w 655129"/>
                <a:gd name="connsiteY30" fmla="*/ 185737 h 520065"/>
                <a:gd name="connsiteX31" fmla="*/ 506253 w 655129"/>
                <a:gd name="connsiteY31" fmla="*/ 187261 h 520065"/>
                <a:gd name="connsiteX32" fmla="*/ 416147 w 655129"/>
                <a:gd name="connsiteY32" fmla="*/ 215836 h 520065"/>
                <a:gd name="connsiteX33" fmla="*/ 413194 w 655129"/>
                <a:gd name="connsiteY33" fmla="*/ 217075 h 520065"/>
                <a:gd name="connsiteX34" fmla="*/ 413194 w 655129"/>
                <a:gd name="connsiteY34" fmla="*/ 354615 h 520065"/>
                <a:gd name="connsiteX35" fmla="*/ 509587 w 655129"/>
                <a:gd name="connsiteY35" fmla="*/ 264700 h 520065"/>
                <a:gd name="connsiteX36" fmla="*/ 271271 w 655129"/>
                <a:gd name="connsiteY36" fmla="*/ 184880 h 520065"/>
                <a:gd name="connsiteX37" fmla="*/ 203835 w 655129"/>
                <a:gd name="connsiteY37" fmla="*/ 352044 h 520065"/>
                <a:gd name="connsiteX38" fmla="*/ 256984 w 655129"/>
                <a:gd name="connsiteY38" fmla="*/ 464915 h 520065"/>
                <a:gd name="connsiteX39" fmla="*/ 261270 w 655129"/>
                <a:gd name="connsiteY39" fmla="*/ 462915 h 520065"/>
                <a:gd name="connsiteX40" fmla="*/ 277558 w 655129"/>
                <a:gd name="connsiteY40" fmla="*/ 454056 h 520065"/>
                <a:gd name="connsiteX41" fmla="*/ 281558 w 655129"/>
                <a:gd name="connsiteY41" fmla="*/ 451580 h 520065"/>
                <a:gd name="connsiteX42" fmla="*/ 279082 w 655129"/>
                <a:gd name="connsiteY42" fmla="*/ 447579 h 520065"/>
                <a:gd name="connsiteX43" fmla="*/ 258508 w 655129"/>
                <a:gd name="connsiteY43" fmla="*/ 374618 h 520065"/>
                <a:gd name="connsiteX44" fmla="*/ 320325 w 655129"/>
                <a:gd name="connsiteY44" fmla="*/ 256127 h 520065"/>
                <a:gd name="connsiteX45" fmla="*/ 323278 w 655129"/>
                <a:gd name="connsiteY45" fmla="*/ 253841 h 520065"/>
                <a:gd name="connsiteX46" fmla="*/ 320801 w 655129"/>
                <a:gd name="connsiteY46" fmla="*/ 248317 h 520065"/>
                <a:gd name="connsiteX47" fmla="*/ 318896 w 655129"/>
                <a:gd name="connsiteY47" fmla="*/ 244126 h 520065"/>
                <a:gd name="connsiteX48" fmla="*/ 276320 w 655129"/>
                <a:gd name="connsiteY48" fmla="*/ 189452 h 520065"/>
                <a:gd name="connsiteX49" fmla="*/ 628935 w 655129"/>
                <a:gd name="connsiteY49" fmla="*/ 176403 h 520065"/>
                <a:gd name="connsiteX50" fmla="*/ 487299 w 655129"/>
                <a:gd name="connsiteY50" fmla="*/ 308514 h 520065"/>
                <a:gd name="connsiteX51" fmla="*/ 590169 w 655129"/>
                <a:gd name="connsiteY51" fmla="*/ 308514 h 520065"/>
                <a:gd name="connsiteX52" fmla="*/ 591502 w 655129"/>
                <a:gd name="connsiteY52" fmla="*/ 305371 h 520065"/>
                <a:gd name="connsiteX53" fmla="*/ 624744 w 655129"/>
                <a:gd name="connsiteY53" fmla="*/ 192310 h 520065"/>
                <a:gd name="connsiteX54" fmla="*/ 617505 w 655129"/>
                <a:gd name="connsiteY54" fmla="*/ 164020 h 520065"/>
                <a:gd name="connsiteX55" fmla="*/ 601313 w 655129"/>
                <a:gd name="connsiteY55" fmla="*/ 167163 h 520065"/>
                <a:gd name="connsiteX56" fmla="*/ 532828 w 655129"/>
                <a:gd name="connsiteY56" fmla="*/ 181165 h 520065"/>
                <a:gd name="connsiteX57" fmla="*/ 529208 w 655129"/>
                <a:gd name="connsiteY57" fmla="*/ 181927 h 520065"/>
                <a:gd name="connsiteX58" fmla="*/ 526922 w 655129"/>
                <a:gd name="connsiteY58" fmla="*/ 248602 h 520065"/>
                <a:gd name="connsiteX59" fmla="*/ 35337 w 655129"/>
                <a:gd name="connsiteY59" fmla="*/ 163258 h 520065"/>
                <a:gd name="connsiteX60" fmla="*/ 32194 w 655129"/>
                <a:gd name="connsiteY60" fmla="*/ 180594 h 520065"/>
                <a:gd name="connsiteX61" fmla="*/ 17621 w 655129"/>
                <a:gd name="connsiteY61" fmla="*/ 315468 h 520065"/>
                <a:gd name="connsiteX62" fmla="*/ 17621 w 655129"/>
                <a:gd name="connsiteY62" fmla="*/ 318611 h 520065"/>
                <a:gd name="connsiteX63" fmla="*/ 200405 w 655129"/>
                <a:gd name="connsiteY63" fmla="*/ 384429 h 520065"/>
                <a:gd name="connsiteX64" fmla="*/ 108870 w 655129"/>
                <a:gd name="connsiteY64" fmla="*/ 189738 h 520065"/>
                <a:gd name="connsiteX65" fmla="*/ 181832 w 655129"/>
                <a:gd name="connsiteY65" fmla="*/ 126015 h 520065"/>
                <a:gd name="connsiteX66" fmla="*/ 145351 w 655129"/>
                <a:gd name="connsiteY66" fmla="*/ 227647 h 520065"/>
                <a:gd name="connsiteX67" fmla="*/ 194119 w 655129"/>
                <a:gd name="connsiteY67" fmla="*/ 331470 h 520065"/>
                <a:gd name="connsiteX68" fmla="*/ 257650 w 655129"/>
                <a:gd name="connsiteY68" fmla="*/ 173736 h 520065"/>
                <a:gd name="connsiteX69" fmla="*/ 254698 w 655129"/>
                <a:gd name="connsiteY69" fmla="*/ 171545 h 520065"/>
                <a:gd name="connsiteX70" fmla="*/ 186690 w 655129"/>
                <a:gd name="connsiteY70" fmla="*/ 128873 h 520065"/>
                <a:gd name="connsiteX71" fmla="*/ 48767 w 655129"/>
                <a:gd name="connsiteY71" fmla="*/ 60960 h 520065"/>
                <a:gd name="connsiteX72" fmla="*/ 47434 w 655129"/>
                <a:gd name="connsiteY72" fmla="*/ 78867 h 520065"/>
                <a:gd name="connsiteX73" fmla="*/ 39242 w 655129"/>
                <a:gd name="connsiteY73" fmla="*/ 142113 h 520065"/>
                <a:gd name="connsiteX74" fmla="*/ 38575 w 655129"/>
                <a:gd name="connsiteY74" fmla="*/ 146018 h 520065"/>
                <a:gd name="connsiteX75" fmla="*/ 99155 w 655129"/>
                <a:gd name="connsiteY75" fmla="*/ 167735 h 520065"/>
                <a:gd name="connsiteX76" fmla="*/ 63436 w 655129"/>
                <a:gd name="connsiteY76" fmla="*/ 54197 h 520065"/>
                <a:gd name="connsiteX77" fmla="*/ 135254 w 655129"/>
                <a:gd name="connsiteY77" fmla="*/ 206597 h 520065"/>
                <a:gd name="connsiteX78" fmla="*/ 167354 w 655129"/>
                <a:gd name="connsiteY78" fmla="*/ 118205 h 520065"/>
                <a:gd name="connsiteX79" fmla="*/ 163829 w 655129"/>
                <a:gd name="connsiteY79" fmla="*/ 116205 h 520065"/>
                <a:gd name="connsiteX80" fmla="*/ 78104 w 655129"/>
                <a:gd name="connsiteY80" fmla="*/ 64484 h 520065"/>
                <a:gd name="connsiteX81" fmla="*/ 28670 w 655129"/>
                <a:gd name="connsiteY81" fmla="*/ 0 h 520065"/>
                <a:gd name="connsiteX82" fmla="*/ 44672 w 655129"/>
                <a:gd name="connsiteY82" fmla="*/ 15716 h 520065"/>
                <a:gd name="connsiteX83" fmla="*/ 173640 w 655129"/>
                <a:gd name="connsiteY83" fmla="*/ 102679 h 520065"/>
                <a:gd name="connsiteX84" fmla="*/ 333755 w 655129"/>
                <a:gd name="connsiteY84" fmla="*/ 236696 h 520065"/>
                <a:gd name="connsiteX85" fmla="*/ 336899 w 655129"/>
                <a:gd name="connsiteY85" fmla="*/ 242125 h 520065"/>
                <a:gd name="connsiteX86" fmla="*/ 341090 w 655129"/>
                <a:gd name="connsiteY86" fmla="*/ 238982 h 520065"/>
                <a:gd name="connsiteX87" fmla="*/ 642365 w 655129"/>
                <a:gd name="connsiteY87" fmla="*/ 142494 h 520065"/>
                <a:gd name="connsiteX88" fmla="*/ 655129 w 655129"/>
                <a:gd name="connsiteY88" fmla="*/ 140112 h 520065"/>
                <a:gd name="connsiteX89" fmla="*/ 651986 w 655129"/>
                <a:gd name="connsiteY89" fmla="*/ 152686 h 520065"/>
                <a:gd name="connsiteX90" fmla="*/ 516350 w 655129"/>
                <a:gd name="connsiteY90" fmla="*/ 466344 h 520065"/>
                <a:gd name="connsiteX91" fmla="*/ 400812 w 655129"/>
                <a:gd name="connsiteY91" fmla="*/ 520065 h 520065"/>
                <a:gd name="connsiteX92" fmla="*/ 297846 w 655129"/>
                <a:gd name="connsiteY92" fmla="*/ 472440 h 520065"/>
                <a:gd name="connsiteX93" fmla="*/ 293941 w 655129"/>
                <a:gd name="connsiteY93" fmla="*/ 468154 h 520065"/>
                <a:gd name="connsiteX94" fmla="*/ 291274 w 655129"/>
                <a:gd name="connsiteY94" fmla="*/ 465105 h 520065"/>
                <a:gd name="connsiteX95" fmla="*/ 287940 w 655129"/>
                <a:gd name="connsiteY95" fmla="*/ 467677 h 520065"/>
                <a:gd name="connsiteX96" fmla="*/ 171545 w 655129"/>
                <a:gd name="connsiteY96" fmla="*/ 506635 h 520065"/>
                <a:gd name="connsiteX97" fmla="*/ 131349 w 655129"/>
                <a:gd name="connsiteY97" fmla="*/ 500920 h 520065"/>
                <a:gd name="connsiteX98" fmla="*/ 17049 w 655129"/>
                <a:gd name="connsiteY98" fmla="*/ 386620 h 520065"/>
                <a:gd name="connsiteX99" fmla="*/ 15525 w 655129"/>
                <a:gd name="connsiteY99" fmla="*/ 177070 h 520065"/>
                <a:gd name="connsiteX100" fmla="*/ 30575 w 655129"/>
                <a:gd name="connsiteY100" fmla="*/ 22384 h 5200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</a:cxnLst>
              <a:rect l="l" t="t" r="r" b="b"/>
              <a:pathLst>
                <a:path w="655129" h="520065">
                  <a:moveTo>
                    <a:pt x="353758" y="432816"/>
                  </a:moveTo>
                  <a:lnTo>
                    <a:pt x="316515" y="467487"/>
                  </a:lnTo>
                  <a:lnTo>
                    <a:pt x="320516" y="471011"/>
                  </a:lnTo>
                  <a:cubicBezTo>
                    <a:pt x="342623" y="490918"/>
                    <a:pt x="371074" y="502329"/>
                    <a:pt x="400812" y="503205"/>
                  </a:cubicBezTo>
                  <a:lnTo>
                    <a:pt x="400812" y="503872"/>
                  </a:lnTo>
                  <a:cubicBezTo>
                    <a:pt x="435483" y="503872"/>
                    <a:pt x="470535" y="486822"/>
                    <a:pt x="504539" y="454152"/>
                  </a:cubicBezTo>
                  <a:lnTo>
                    <a:pt x="510540" y="448151"/>
                  </a:lnTo>
                  <a:lnTo>
                    <a:pt x="520065" y="438626"/>
                  </a:lnTo>
                  <a:close/>
                  <a:moveTo>
                    <a:pt x="19716" y="336899"/>
                  </a:moveTo>
                  <a:lnTo>
                    <a:pt x="21526" y="345186"/>
                  </a:lnTo>
                  <a:cubicBezTo>
                    <a:pt x="23716" y="357006"/>
                    <a:pt x="27327" y="368522"/>
                    <a:pt x="32289" y="379476"/>
                  </a:cubicBezTo>
                  <a:cubicBezTo>
                    <a:pt x="58768" y="436626"/>
                    <a:pt x="93535" y="471678"/>
                    <a:pt x="135731" y="484251"/>
                  </a:cubicBezTo>
                  <a:cubicBezTo>
                    <a:pt x="147237" y="487642"/>
                    <a:pt x="159172" y="489337"/>
                    <a:pt x="171164" y="489299"/>
                  </a:cubicBezTo>
                  <a:lnTo>
                    <a:pt x="171164" y="489489"/>
                  </a:lnTo>
                  <a:cubicBezTo>
                    <a:pt x="194043" y="489137"/>
                    <a:pt x="216579" y="483908"/>
                    <a:pt x="237267" y="474154"/>
                  </a:cubicBezTo>
                  <a:lnTo>
                    <a:pt x="241649" y="472154"/>
                  </a:lnTo>
                  <a:lnTo>
                    <a:pt x="210216" y="405479"/>
                  </a:lnTo>
                  <a:close/>
                  <a:moveTo>
                    <a:pt x="469772" y="324993"/>
                  </a:moveTo>
                  <a:lnTo>
                    <a:pt x="371094" y="416623"/>
                  </a:lnTo>
                  <a:lnTo>
                    <a:pt x="533019" y="422243"/>
                  </a:lnTo>
                  <a:lnTo>
                    <a:pt x="533876" y="420529"/>
                  </a:lnTo>
                  <a:cubicBezTo>
                    <a:pt x="553602" y="393106"/>
                    <a:pt x="569623" y="363188"/>
                    <a:pt x="581501" y="331565"/>
                  </a:cubicBezTo>
                  <a:lnTo>
                    <a:pt x="584072" y="324993"/>
                  </a:lnTo>
                  <a:close/>
                  <a:moveTo>
                    <a:pt x="396620" y="224885"/>
                  </a:moveTo>
                  <a:lnTo>
                    <a:pt x="389572" y="228504"/>
                  </a:lnTo>
                  <a:cubicBezTo>
                    <a:pt x="368569" y="239192"/>
                    <a:pt x="349091" y="252650"/>
                    <a:pt x="331660" y="268510"/>
                  </a:cubicBezTo>
                  <a:cubicBezTo>
                    <a:pt x="294227" y="302514"/>
                    <a:pt x="275748" y="338328"/>
                    <a:pt x="275177" y="374904"/>
                  </a:cubicBezTo>
                  <a:cubicBezTo>
                    <a:pt x="275472" y="402555"/>
                    <a:pt x="284873" y="429339"/>
                    <a:pt x="301942" y="451104"/>
                  </a:cubicBezTo>
                  <a:lnTo>
                    <a:pt x="305085" y="455295"/>
                  </a:lnTo>
                  <a:lnTo>
                    <a:pt x="396620" y="370522"/>
                  </a:lnTo>
                  <a:close/>
                  <a:moveTo>
                    <a:pt x="512349" y="185737"/>
                  </a:moveTo>
                  <a:lnTo>
                    <a:pt x="506253" y="187261"/>
                  </a:lnTo>
                  <a:cubicBezTo>
                    <a:pt x="475526" y="194434"/>
                    <a:pt x="445398" y="203987"/>
                    <a:pt x="416147" y="215836"/>
                  </a:cubicBezTo>
                  <a:lnTo>
                    <a:pt x="413194" y="217075"/>
                  </a:lnTo>
                  <a:lnTo>
                    <a:pt x="413194" y="354615"/>
                  </a:lnTo>
                  <a:lnTo>
                    <a:pt x="509587" y="264700"/>
                  </a:lnTo>
                  <a:close/>
                  <a:moveTo>
                    <a:pt x="271271" y="184880"/>
                  </a:moveTo>
                  <a:lnTo>
                    <a:pt x="203835" y="352044"/>
                  </a:lnTo>
                  <a:lnTo>
                    <a:pt x="256984" y="464915"/>
                  </a:lnTo>
                  <a:lnTo>
                    <a:pt x="261270" y="462915"/>
                  </a:lnTo>
                  <a:cubicBezTo>
                    <a:pt x="264890" y="461200"/>
                    <a:pt x="270605" y="458247"/>
                    <a:pt x="277558" y="454056"/>
                  </a:cubicBezTo>
                  <a:lnTo>
                    <a:pt x="281558" y="451580"/>
                  </a:lnTo>
                  <a:lnTo>
                    <a:pt x="279082" y="447579"/>
                  </a:lnTo>
                  <a:cubicBezTo>
                    <a:pt x="265623" y="425624"/>
                    <a:pt x="258498" y="400374"/>
                    <a:pt x="258508" y="374618"/>
                  </a:cubicBezTo>
                  <a:cubicBezTo>
                    <a:pt x="259079" y="333184"/>
                    <a:pt x="279939" y="293370"/>
                    <a:pt x="320325" y="256127"/>
                  </a:cubicBezTo>
                  <a:lnTo>
                    <a:pt x="323278" y="253841"/>
                  </a:lnTo>
                  <a:lnTo>
                    <a:pt x="320801" y="248317"/>
                  </a:lnTo>
                  <a:cubicBezTo>
                    <a:pt x="320230" y="246983"/>
                    <a:pt x="319658" y="245554"/>
                    <a:pt x="318896" y="244126"/>
                  </a:cubicBezTo>
                  <a:cubicBezTo>
                    <a:pt x="308457" y="223266"/>
                    <a:pt x="293988" y="204682"/>
                    <a:pt x="276320" y="189452"/>
                  </a:cubicBezTo>
                  <a:close/>
                  <a:moveTo>
                    <a:pt x="628935" y="176403"/>
                  </a:moveTo>
                  <a:lnTo>
                    <a:pt x="487299" y="308514"/>
                  </a:lnTo>
                  <a:lnTo>
                    <a:pt x="590169" y="308514"/>
                  </a:lnTo>
                  <a:lnTo>
                    <a:pt x="591502" y="305371"/>
                  </a:lnTo>
                  <a:cubicBezTo>
                    <a:pt x="601693" y="275748"/>
                    <a:pt x="611981" y="240887"/>
                    <a:pt x="624744" y="192310"/>
                  </a:cubicBezTo>
                  <a:close/>
                  <a:moveTo>
                    <a:pt x="617505" y="164020"/>
                  </a:moveTo>
                  <a:lnTo>
                    <a:pt x="601313" y="167163"/>
                  </a:lnTo>
                  <a:cubicBezTo>
                    <a:pt x="574357" y="172307"/>
                    <a:pt x="552545" y="176688"/>
                    <a:pt x="532828" y="181165"/>
                  </a:cubicBezTo>
                  <a:lnTo>
                    <a:pt x="529208" y="181927"/>
                  </a:lnTo>
                  <a:lnTo>
                    <a:pt x="526922" y="248602"/>
                  </a:lnTo>
                  <a:close/>
                  <a:moveTo>
                    <a:pt x="35337" y="163258"/>
                  </a:moveTo>
                  <a:lnTo>
                    <a:pt x="32194" y="180594"/>
                  </a:lnTo>
                  <a:cubicBezTo>
                    <a:pt x="23907" y="226028"/>
                    <a:pt x="15240" y="272891"/>
                    <a:pt x="17621" y="315468"/>
                  </a:cubicBezTo>
                  <a:lnTo>
                    <a:pt x="17621" y="318611"/>
                  </a:lnTo>
                  <a:lnTo>
                    <a:pt x="200405" y="384429"/>
                  </a:lnTo>
                  <a:lnTo>
                    <a:pt x="108870" y="189738"/>
                  </a:lnTo>
                  <a:close/>
                  <a:moveTo>
                    <a:pt x="181832" y="126015"/>
                  </a:moveTo>
                  <a:lnTo>
                    <a:pt x="145351" y="227647"/>
                  </a:lnTo>
                  <a:lnTo>
                    <a:pt x="194119" y="331470"/>
                  </a:lnTo>
                  <a:lnTo>
                    <a:pt x="257650" y="173736"/>
                  </a:lnTo>
                  <a:lnTo>
                    <a:pt x="254698" y="171545"/>
                  </a:lnTo>
                  <a:cubicBezTo>
                    <a:pt x="232933" y="155924"/>
                    <a:pt x="210216" y="141675"/>
                    <a:pt x="186690" y="128873"/>
                  </a:cubicBezTo>
                  <a:close/>
                  <a:moveTo>
                    <a:pt x="48767" y="60960"/>
                  </a:moveTo>
                  <a:lnTo>
                    <a:pt x="47434" y="78867"/>
                  </a:lnTo>
                  <a:cubicBezTo>
                    <a:pt x="46005" y="97631"/>
                    <a:pt x="43338" y="117729"/>
                    <a:pt x="39242" y="142113"/>
                  </a:cubicBezTo>
                  <a:lnTo>
                    <a:pt x="38575" y="146018"/>
                  </a:lnTo>
                  <a:lnTo>
                    <a:pt x="99155" y="167735"/>
                  </a:lnTo>
                  <a:close/>
                  <a:moveTo>
                    <a:pt x="63436" y="54197"/>
                  </a:moveTo>
                  <a:lnTo>
                    <a:pt x="135254" y="206597"/>
                  </a:lnTo>
                  <a:lnTo>
                    <a:pt x="167354" y="118205"/>
                  </a:lnTo>
                  <a:lnTo>
                    <a:pt x="163829" y="116205"/>
                  </a:lnTo>
                  <a:cubicBezTo>
                    <a:pt x="134359" y="100488"/>
                    <a:pt x="105746" y="83229"/>
                    <a:pt x="78104" y="64484"/>
                  </a:cubicBezTo>
                  <a:close/>
                  <a:moveTo>
                    <a:pt x="28670" y="0"/>
                  </a:moveTo>
                  <a:lnTo>
                    <a:pt x="44672" y="15716"/>
                  </a:lnTo>
                  <a:cubicBezTo>
                    <a:pt x="80676" y="51054"/>
                    <a:pt x="127920" y="77343"/>
                    <a:pt x="173640" y="102679"/>
                  </a:cubicBezTo>
                  <a:cubicBezTo>
                    <a:pt x="240886" y="140112"/>
                    <a:pt x="304419" y="175450"/>
                    <a:pt x="333755" y="236696"/>
                  </a:cubicBezTo>
                  <a:lnTo>
                    <a:pt x="336899" y="242125"/>
                  </a:lnTo>
                  <a:lnTo>
                    <a:pt x="341090" y="238982"/>
                  </a:lnTo>
                  <a:cubicBezTo>
                    <a:pt x="409765" y="187547"/>
                    <a:pt x="505015" y="167354"/>
                    <a:pt x="642365" y="142494"/>
                  </a:cubicBezTo>
                  <a:lnTo>
                    <a:pt x="655129" y="140112"/>
                  </a:lnTo>
                  <a:lnTo>
                    <a:pt x="651986" y="152686"/>
                  </a:lnTo>
                  <a:cubicBezTo>
                    <a:pt x="613410" y="304419"/>
                    <a:pt x="585120" y="401288"/>
                    <a:pt x="516350" y="466344"/>
                  </a:cubicBezTo>
                  <a:cubicBezTo>
                    <a:pt x="478631" y="501967"/>
                    <a:pt x="439768" y="520065"/>
                    <a:pt x="400812" y="520065"/>
                  </a:cubicBezTo>
                  <a:cubicBezTo>
                    <a:pt x="361454" y="518817"/>
                    <a:pt x="324288" y="501624"/>
                    <a:pt x="297846" y="472440"/>
                  </a:cubicBezTo>
                  <a:cubicBezTo>
                    <a:pt x="297560" y="472154"/>
                    <a:pt x="296132" y="470725"/>
                    <a:pt x="293941" y="468154"/>
                  </a:cubicBezTo>
                  <a:lnTo>
                    <a:pt x="291274" y="465105"/>
                  </a:lnTo>
                  <a:lnTo>
                    <a:pt x="287940" y="467677"/>
                  </a:lnTo>
                  <a:cubicBezTo>
                    <a:pt x="252126" y="488299"/>
                    <a:pt x="212550" y="501548"/>
                    <a:pt x="171545" y="506635"/>
                  </a:cubicBezTo>
                  <a:cubicBezTo>
                    <a:pt x="157943" y="506625"/>
                    <a:pt x="144408" y="504701"/>
                    <a:pt x="131349" y="500920"/>
                  </a:cubicBezTo>
                  <a:cubicBezTo>
                    <a:pt x="83724" y="486918"/>
                    <a:pt x="45719" y="448722"/>
                    <a:pt x="17049" y="386620"/>
                  </a:cubicBezTo>
                  <a:cubicBezTo>
                    <a:pt x="-11621" y="324517"/>
                    <a:pt x="1524" y="253270"/>
                    <a:pt x="15525" y="177070"/>
                  </a:cubicBezTo>
                  <a:cubicBezTo>
                    <a:pt x="25050" y="125730"/>
                    <a:pt x="34766" y="72580"/>
                    <a:pt x="30575" y="22384"/>
                  </a:cubicBezTo>
                  <a:close/>
                </a:path>
              </a:pathLst>
            </a:custGeom>
            <a:solidFill>
              <a:sysClr val="window" lastClr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F70E47CA-D022-F1D9-B5C7-A100FDB3D8EB}"/>
                </a:ext>
              </a:extLst>
            </p:cNvPr>
            <p:cNvSpPr/>
            <p:nvPr/>
          </p:nvSpPr>
          <p:spPr>
            <a:xfrm>
              <a:off x="4588051" y="2744503"/>
              <a:ext cx="183785" cy="301775"/>
            </a:xfrm>
            <a:custGeom>
              <a:avLst/>
              <a:gdLst>
                <a:gd name="connsiteX0" fmla="*/ 16764 w 420446"/>
                <a:gd name="connsiteY0" fmla="*/ 587979 h 690373"/>
                <a:gd name="connsiteX1" fmla="*/ 16764 w 420446"/>
                <a:gd name="connsiteY1" fmla="*/ 673704 h 690373"/>
                <a:gd name="connsiteX2" fmla="*/ 229743 w 420446"/>
                <a:gd name="connsiteY2" fmla="*/ 673704 h 690373"/>
                <a:gd name="connsiteX3" fmla="*/ 229743 w 420446"/>
                <a:gd name="connsiteY3" fmla="*/ 587979 h 690373"/>
                <a:gd name="connsiteX4" fmla="*/ 378810 w 420446"/>
                <a:gd name="connsiteY4" fmla="*/ 17431 h 690373"/>
                <a:gd name="connsiteX5" fmla="*/ 300609 w 420446"/>
                <a:gd name="connsiteY5" fmla="*/ 126778 h 690373"/>
                <a:gd name="connsiteX6" fmla="*/ 301658 w 420446"/>
                <a:gd name="connsiteY6" fmla="*/ 155353 h 690373"/>
                <a:gd name="connsiteX7" fmla="*/ 278797 w 420446"/>
                <a:gd name="connsiteY7" fmla="*/ 263271 h 690373"/>
                <a:gd name="connsiteX8" fmla="*/ 277940 w 420446"/>
                <a:gd name="connsiteY8" fmla="*/ 264510 h 690373"/>
                <a:gd name="connsiteX9" fmla="*/ 277940 w 420446"/>
                <a:gd name="connsiteY9" fmla="*/ 266034 h 690373"/>
                <a:gd name="connsiteX10" fmla="*/ 243650 w 420446"/>
                <a:gd name="connsiteY10" fmla="*/ 324422 h 690373"/>
                <a:gd name="connsiteX11" fmla="*/ 206598 w 420446"/>
                <a:gd name="connsiteY11" fmla="*/ 354331 h 690373"/>
                <a:gd name="connsiteX12" fmla="*/ 196025 w 420446"/>
                <a:gd name="connsiteY12" fmla="*/ 341472 h 690373"/>
                <a:gd name="connsiteX13" fmla="*/ 233554 w 420446"/>
                <a:gd name="connsiteY13" fmla="*/ 311182 h 690373"/>
                <a:gd name="connsiteX14" fmla="*/ 260986 w 420446"/>
                <a:gd name="connsiteY14" fmla="*/ 262795 h 690373"/>
                <a:gd name="connsiteX15" fmla="*/ 242507 w 420446"/>
                <a:gd name="connsiteY15" fmla="*/ 241364 h 690373"/>
                <a:gd name="connsiteX16" fmla="*/ 220600 w 420446"/>
                <a:gd name="connsiteY16" fmla="*/ 246698 h 690373"/>
                <a:gd name="connsiteX17" fmla="*/ 172975 w 420446"/>
                <a:gd name="connsiteY17" fmla="*/ 290132 h 690373"/>
                <a:gd name="connsiteX18" fmla="*/ 44959 w 420446"/>
                <a:gd name="connsiteY18" fmla="*/ 452057 h 690373"/>
                <a:gd name="connsiteX19" fmla="*/ 44959 w 420446"/>
                <a:gd name="connsiteY19" fmla="*/ 570929 h 690373"/>
                <a:gd name="connsiteX20" fmla="*/ 198406 w 420446"/>
                <a:gd name="connsiteY20" fmla="*/ 570929 h 690373"/>
                <a:gd name="connsiteX21" fmla="*/ 198025 w 420446"/>
                <a:gd name="connsiteY21" fmla="*/ 533305 h 690373"/>
                <a:gd name="connsiteX22" fmla="*/ 281559 w 420446"/>
                <a:gd name="connsiteY22" fmla="*/ 430340 h 690373"/>
                <a:gd name="connsiteX23" fmla="*/ 401479 w 420446"/>
                <a:gd name="connsiteY23" fmla="*/ 271653 h 690373"/>
                <a:gd name="connsiteX24" fmla="*/ 402527 w 420446"/>
                <a:gd name="connsiteY24" fmla="*/ 196501 h 690373"/>
                <a:gd name="connsiteX25" fmla="*/ 401479 w 420446"/>
                <a:gd name="connsiteY25" fmla="*/ 59436 h 690373"/>
                <a:gd name="connsiteX26" fmla="*/ 378810 w 420446"/>
                <a:gd name="connsiteY26" fmla="*/ 17431 h 690373"/>
                <a:gd name="connsiteX27" fmla="*/ 378714 w 420446"/>
                <a:gd name="connsiteY27" fmla="*/ 0 h 690373"/>
                <a:gd name="connsiteX28" fmla="*/ 418529 w 420446"/>
                <a:gd name="connsiteY28" fmla="*/ 57817 h 690373"/>
                <a:gd name="connsiteX29" fmla="*/ 419577 w 420446"/>
                <a:gd name="connsiteY29" fmla="*/ 196406 h 690373"/>
                <a:gd name="connsiteX30" fmla="*/ 418529 w 420446"/>
                <a:gd name="connsiteY30" fmla="*/ 270891 h 690373"/>
                <a:gd name="connsiteX31" fmla="*/ 292989 w 420446"/>
                <a:gd name="connsiteY31" fmla="*/ 442341 h 690373"/>
                <a:gd name="connsiteX32" fmla="*/ 215075 w 420446"/>
                <a:gd name="connsiteY32" fmla="*/ 532829 h 690373"/>
                <a:gd name="connsiteX33" fmla="*/ 215075 w 420446"/>
                <a:gd name="connsiteY33" fmla="*/ 570929 h 690373"/>
                <a:gd name="connsiteX34" fmla="*/ 246317 w 420446"/>
                <a:gd name="connsiteY34" fmla="*/ 570929 h 690373"/>
                <a:gd name="connsiteX35" fmla="*/ 246317 w 420446"/>
                <a:gd name="connsiteY35" fmla="*/ 690373 h 690373"/>
                <a:gd name="connsiteX36" fmla="*/ 191 w 420446"/>
                <a:gd name="connsiteY36" fmla="*/ 690373 h 690373"/>
                <a:gd name="connsiteX37" fmla="*/ 0 w 420446"/>
                <a:gd name="connsiteY37" fmla="*/ 570548 h 690373"/>
                <a:gd name="connsiteX38" fmla="*/ 28575 w 420446"/>
                <a:gd name="connsiteY38" fmla="*/ 570548 h 690373"/>
                <a:gd name="connsiteX39" fmla="*/ 28575 w 420446"/>
                <a:gd name="connsiteY39" fmla="*/ 451676 h 690373"/>
                <a:gd name="connsiteX40" fmla="*/ 161925 w 420446"/>
                <a:gd name="connsiteY40" fmla="*/ 276892 h 690373"/>
                <a:gd name="connsiteX41" fmla="*/ 209550 w 420446"/>
                <a:gd name="connsiteY41" fmla="*/ 234411 h 690373"/>
                <a:gd name="connsiteX42" fmla="*/ 248127 w 420446"/>
                <a:gd name="connsiteY42" fmla="*/ 224886 h 690373"/>
                <a:gd name="connsiteX43" fmla="*/ 267177 w 420446"/>
                <a:gd name="connsiteY43" fmla="*/ 237554 h 690373"/>
                <a:gd name="connsiteX44" fmla="*/ 271940 w 420446"/>
                <a:gd name="connsiteY44" fmla="*/ 242888 h 690373"/>
                <a:gd name="connsiteX45" fmla="*/ 274987 w 420446"/>
                <a:gd name="connsiteY45" fmla="*/ 236411 h 690373"/>
                <a:gd name="connsiteX46" fmla="*/ 285465 w 420446"/>
                <a:gd name="connsiteY46" fmla="*/ 155734 h 690373"/>
                <a:gd name="connsiteX47" fmla="*/ 284417 w 420446"/>
                <a:gd name="connsiteY47" fmla="*/ 126016 h 690373"/>
                <a:gd name="connsiteX48" fmla="*/ 378714 w 420446"/>
                <a:gd name="connsiteY48" fmla="*/ 0 h 6903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</a:cxnLst>
              <a:rect l="l" t="t" r="r" b="b"/>
              <a:pathLst>
                <a:path w="420446" h="690373">
                  <a:moveTo>
                    <a:pt x="16764" y="587979"/>
                  </a:moveTo>
                  <a:lnTo>
                    <a:pt x="16764" y="673704"/>
                  </a:lnTo>
                  <a:lnTo>
                    <a:pt x="229743" y="673704"/>
                  </a:lnTo>
                  <a:lnTo>
                    <a:pt x="229743" y="587979"/>
                  </a:lnTo>
                  <a:close/>
                  <a:moveTo>
                    <a:pt x="378810" y="17431"/>
                  </a:moveTo>
                  <a:cubicBezTo>
                    <a:pt x="348234" y="18193"/>
                    <a:pt x="300609" y="78010"/>
                    <a:pt x="300609" y="126778"/>
                  </a:cubicBezTo>
                  <a:cubicBezTo>
                    <a:pt x="300609" y="136303"/>
                    <a:pt x="301658" y="145828"/>
                    <a:pt x="301658" y="155353"/>
                  </a:cubicBezTo>
                  <a:cubicBezTo>
                    <a:pt x="303657" y="190024"/>
                    <a:pt x="305467" y="222790"/>
                    <a:pt x="278797" y="263271"/>
                  </a:cubicBezTo>
                  <a:lnTo>
                    <a:pt x="277940" y="264510"/>
                  </a:lnTo>
                  <a:lnTo>
                    <a:pt x="277940" y="266034"/>
                  </a:lnTo>
                  <a:cubicBezTo>
                    <a:pt x="278512" y="280226"/>
                    <a:pt x="273083" y="301848"/>
                    <a:pt x="243650" y="324422"/>
                  </a:cubicBezTo>
                  <a:cubicBezTo>
                    <a:pt x="236030" y="330232"/>
                    <a:pt x="215361" y="347091"/>
                    <a:pt x="206598" y="354331"/>
                  </a:cubicBezTo>
                  <a:lnTo>
                    <a:pt x="196025" y="341472"/>
                  </a:lnTo>
                  <a:cubicBezTo>
                    <a:pt x="204312" y="334709"/>
                    <a:pt x="224029" y="318135"/>
                    <a:pt x="233554" y="311182"/>
                  </a:cubicBezTo>
                  <a:cubicBezTo>
                    <a:pt x="253651" y="295752"/>
                    <a:pt x="263652" y="278131"/>
                    <a:pt x="260986" y="262795"/>
                  </a:cubicBezTo>
                  <a:cubicBezTo>
                    <a:pt x="259214" y="252813"/>
                    <a:pt x="252127" y="244593"/>
                    <a:pt x="242507" y="241364"/>
                  </a:cubicBezTo>
                  <a:cubicBezTo>
                    <a:pt x="234783" y="238773"/>
                    <a:pt x="226267" y="240850"/>
                    <a:pt x="220600" y="246698"/>
                  </a:cubicBezTo>
                  <a:cubicBezTo>
                    <a:pt x="208217" y="259557"/>
                    <a:pt x="191263" y="274320"/>
                    <a:pt x="172975" y="290132"/>
                  </a:cubicBezTo>
                  <a:cubicBezTo>
                    <a:pt x="118968" y="336709"/>
                    <a:pt x="44959" y="400717"/>
                    <a:pt x="44959" y="452057"/>
                  </a:cubicBezTo>
                  <a:lnTo>
                    <a:pt x="44959" y="570929"/>
                  </a:lnTo>
                  <a:lnTo>
                    <a:pt x="198406" y="570929"/>
                  </a:lnTo>
                  <a:lnTo>
                    <a:pt x="198025" y="533305"/>
                  </a:lnTo>
                  <a:cubicBezTo>
                    <a:pt x="198025" y="506540"/>
                    <a:pt x="234887" y="473012"/>
                    <a:pt x="281559" y="430340"/>
                  </a:cubicBezTo>
                  <a:cubicBezTo>
                    <a:pt x="334804" y="381477"/>
                    <a:pt x="401479" y="320612"/>
                    <a:pt x="401479" y="271653"/>
                  </a:cubicBezTo>
                  <a:cubicBezTo>
                    <a:pt x="401479" y="242316"/>
                    <a:pt x="402051" y="217932"/>
                    <a:pt x="402527" y="196501"/>
                  </a:cubicBezTo>
                  <a:cubicBezTo>
                    <a:pt x="403480" y="153448"/>
                    <a:pt x="404337" y="116586"/>
                    <a:pt x="401479" y="59436"/>
                  </a:cubicBezTo>
                  <a:cubicBezTo>
                    <a:pt x="399765" y="24670"/>
                    <a:pt x="388335" y="17431"/>
                    <a:pt x="378810" y="17431"/>
                  </a:cubicBezTo>
                  <a:close/>
                  <a:moveTo>
                    <a:pt x="378714" y="0"/>
                  </a:moveTo>
                  <a:cubicBezTo>
                    <a:pt x="409004" y="667"/>
                    <a:pt x="417196" y="31719"/>
                    <a:pt x="418529" y="57817"/>
                  </a:cubicBezTo>
                  <a:cubicBezTo>
                    <a:pt x="421387" y="115158"/>
                    <a:pt x="420434" y="154306"/>
                    <a:pt x="419577" y="196406"/>
                  </a:cubicBezTo>
                  <a:cubicBezTo>
                    <a:pt x="418529" y="219075"/>
                    <a:pt x="418529" y="242316"/>
                    <a:pt x="418529" y="270891"/>
                  </a:cubicBezTo>
                  <a:cubicBezTo>
                    <a:pt x="418529" y="327565"/>
                    <a:pt x="351949" y="388430"/>
                    <a:pt x="292989" y="442341"/>
                  </a:cubicBezTo>
                  <a:cubicBezTo>
                    <a:pt x="247365" y="484061"/>
                    <a:pt x="215075" y="515017"/>
                    <a:pt x="215075" y="532829"/>
                  </a:cubicBezTo>
                  <a:lnTo>
                    <a:pt x="215075" y="570929"/>
                  </a:lnTo>
                  <a:lnTo>
                    <a:pt x="246317" y="570929"/>
                  </a:lnTo>
                  <a:lnTo>
                    <a:pt x="246317" y="690373"/>
                  </a:lnTo>
                  <a:lnTo>
                    <a:pt x="191" y="690373"/>
                  </a:lnTo>
                  <a:lnTo>
                    <a:pt x="0" y="570548"/>
                  </a:lnTo>
                  <a:lnTo>
                    <a:pt x="28575" y="570548"/>
                  </a:lnTo>
                  <a:lnTo>
                    <a:pt x="28575" y="451676"/>
                  </a:lnTo>
                  <a:cubicBezTo>
                    <a:pt x="28575" y="392716"/>
                    <a:pt x="102299" y="328518"/>
                    <a:pt x="161925" y="276892"/>
                  </a:cubicBezTo>
                  <a:cubicBezTo>
                    <a:pt x="179261" y="262319"/>
                    <a:pt x="196787" y="247079"/>
                    <a:pt x="209550" y="234411"/>
                  </a:cubicBezTo>
                  <a:cubicBezTo>
                    <a:pt x="219533" y="224133"/>
                    <a:pt x="234506" y="220438"/>
                    <a:pt x="248127" y="224886"/>
                  </a:cubicBezTo>
                  <a:cubicBezTo>
                    <a:pt x="255499" y="227334"/>
                    <a:pt x="262072" y="231705"/>
                    <a:pt x="267177" y="237554"/>
                  </a:cubicBezTo>
                  <a:lnTo>
                    <a:pt x="271940" y="242888"/>
                  </a:lnTo>
                  <a:lnTo>
                    <a:pt x="274987" y="236411"/>
                  </a:lnTo>
                  <a:cubicBezTo>
                    <a:pt x="288418" y="208026"/>
                    <a:pt x="286989" y="182595"/>
                    <a:pt x="285465" y="155734"/>
                  </a:cubicBezTo>
                  <a:cubicBezTo>
                    <a:pt x="284893" y="145923"/>
                    <a:pt x="284417" y="136208"/>
                    <a:pt x="284417" y="126016"/>
                  </a:cubicBezTo>
                  <a:cubicBezTo>
                    <a:pt x="284417" y="71724"/>
                    <a:pt x="337281" y="1143"/>
                    <a:pt x="378714" y="0"/>
                  </a:cubicBezTo>
                  <a:close/>
                </a:path>
              </a:pathLst>
            </a:custGeom>
            <a:solidFill>
              <a:schemeClr val="bg2">
                <a:lumMod val="20000"/>
                <a:lumOff val="80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5DF0459C-2CE6-E4E5-842F-4C1D14D161CE}"/>
                </a:ext>
              </a:extLst>
            </p:cNvPr>
            <p:cNvSpPr/>
            <p:nvPr/>
          </p:nvSpPr>
          <p:spPr>
            <a:xfrm>
              <a:off x="4372165" y="2744669"/>
              <a:ext cx="183827" cy="301608"/>
            </a:xfrm>
            <a:custGeom>
              <a:avLst/>
              <a:gdLst>
                <a:gd name="connsiteX0" fmla="*/ 191084 w 420541"/>
                <a:gd name="connsiteY0" fmla="*/ 587598 h 689992"/>
                <a:gd name="connsiteX1" fmla="*/ 191084 w 420541"/>
                <a:gd name="connsiteY1" fmla="*/ 673323 h 689992"/>
                <a:gd name="connsiteX2" fmla="*/ 403873 w 420541"/>
                <a:gd name="connsiteY2" fmla="*/ 673323 h 689992"/>
                <a:gd name="connsiteX3" fmla="*/ 403967 w 420541"/>
                <a:gd name="connsiteY3" fmla="*/ 587598 h 689992"/>
                <a:gd name="connsiteX4" fmla="*/ 41065 w 420541"/>
                <a:gd name="connsiteY4" fmla="*/ 16574 h 689992"/>
                <a:gd name="connsiteX5" fmla="*/ 18872 w 420541"/>
                <a:gd name="connsiteY5" fmla="*/ 58579 h 689992"/>
                <a:gd name="connsiteX6" fmla="*/ 17824 w 420541"/>
                <a:gd name="connsiteY6" fmla="*/ 195644 h 689992"/>
                <a:gd name="connsiteX7" fmla="*/ 17824 w 420541"/>
                <a:gd name="connsiteY7" fmla="*/ 197358 h 689992"/>
                <a:gd name="connsiteX8" fmla="*/ 18872 w 420541"/>
                <a:gd name="connsiteY8" fmla="*/ 270796 h 689992"/>
                <a:gd name="connsiteX9" fmla="*/ 138792 w 420541"/>
                <a:gd name="connsiteY9" fmla="*/ 429578 h 689992"/>
                <a:gd name="connsiteX10" fmla="*/ 222231 w 420541"/>
                <a:gd name="connsiteY10" fmla="*/ 532448 h 689992"/>
                <a:gd name="connsiteX11" fmla="*/ 222231 w 420541"/>
                <a:gd name="connsiteY11" fmla="*/ 570548 h 689992"/>
                <a:gd name="connsiteX12" fmla="*/ 375774 w 420541"/>
                <a:gd name="connsiteY12" fmla="*/ 570548 h 689992"/>
                <a:gd name="connsiteX13" fmla="*/ 375774 w 420541"/>
                <a:gd name="connsiteY13" fmla="*/ 451200 h 689992"/>
                <a:gd name="connsiteX14" fmla="*/ 247758 w 420541"/>
                <a:gd name="connsiteY14" fmla="*/ 289275 h 689992"/>
                <a:gd name="connsiteX15" fmla="*/ 199657 w 420541"/>
                <a:gd name="connsiteY15" fmla="*/ 245936 h 689992"/>
                <a:gd name="connsiteX16" fmla="*/ 177749 w 420541"/>
                <a:gd name="connsiteY16" fmla="*/ 240507 h 689992"/>
                <a:gd name="connsiteX17" fmla="*/ 159270 w 420541"/>
                <a:gd name="connsiteY17" fmla="*/ 262033 h 689992"/>
                <a:gd name="connsiteX18" fmla="*/ 186702 w 420541"/>
                <a:gd name="connsiteY18" fmla="*/ 310420 h 689992"/>
                <a:gd name="connsiteX19" fmla="*/ 224231 w 420541"/>
                <a:gd name="connsiteY19" fmla="*/ 340710 h 689992"/>
                <a:gd name="connsiteX20" fmla="*/ 213658 w 420541"/>
                <a:gd name="connsiteY20" fmla="*/ 353568 h 689992"/>
                <a:gd name="connsiteX21" fmla="*/ 176510 w 420541"/>
                <a:gd name="connsiteY21" fmla="*/ 323565 h 689992"/>
                <a:gd name="connsiteX22" fmla="*/ 142316 w 420541"/>
                <a:gd name="connsiteY22" fmla="*/ 265176 h 689992"/>
                <a:gd name="connsiteX23" fmla="*/ 142316 w 420541"/>
                <a:gd name="connsiteY23" fmla="*/ 263652 h 689992"/>
                <a:gd name="connsiteX24" fmla="*/ 141458 w 420541"/>
                <a:gd name="connsiteY24" fmla="*/ 262414 h 689992"/>
                <a:gd name="connsiteX25" fmla="*/ 118599 w 420541"/>
                <a:gd name="connsiteY25" fmla="*/ 154591 h 689992"/>
                <a:gd name="connsiteX26" fmla="*/ 119646 w 420541"/>
                <a:gd name="connsiteY26" fmla="*/ 126016 h 689992"/>
                <a:gd name="connsiteX27" fmla="*/ 41065 w 420541"/>
                <a:gd name="connsiteY27" fmla="*/ 16574 h 689992"/>
                <a:gd name="connsiteX28" fmla="*/ 41637 w 420541"/>
                <a:gd name="connsiteY28" fmla="*/ 0 h 689992"/>
                <a:gd name="connsiteX29" fmla="*/ 136029 w 420541"/>
                <a:gd name="connsiteY29" fmla="*/ 126016 h 689992"/>
                <a:gd name="connsiteX30" fmla="*/ 134982 w 420541"/>
                <a:gd name="connsiteY30" fmla="*/ 155734 h 689992"/>
                <a:gd name="connsiteX31" fmla="*/ 145459 w 420541"/>
                <a:gd name="connsiteY31" fmla="*/ 236411 h 689992"/>
                <a:gd name="connsiteX32" fmla="*/ 148507 w 420541"/>
                <a:gd name="connsiteY32" fmla="*/ 242983 h 689992"/>
                <a:gd name="connsiteX33" fmla="*/ 153270 w 420541"/>
                <a:gd name="connsiteY33" fmla="*/ 237554 h 689992"/>
                <a:gd name="connsiteX34" fmla="*/ 172320 w 420541"/>
                <a:gd name="connsiteY34" fmla="*/ 224886 h 689992"/>
                <a:gd name="connsiteX35" fmla="*/ 210991 w 420541"/>
                <a:gd name="connsiteY35" fmla="*/ 234411 h 689992"/>
                <a:gd name="connsiteX36" fmla="*/ 258616 w 420541"/>
                <a:gd name="connsiteY36" fmla="*/ 276987 h 689992"/>
                <a:gd name="connsiteX37" fmla="*/ 391966 w 420541"/>
                <a:gd name="connsiteY37" fmla="*/ 451676 h 689992"/>
                <a:gd name="connsiteX38" fmla="*/ 391966 w 420541"/>
                <a:gd name="connsiteY38" fmla="*/ 570548 h 689992"/>
                <a:gd name="connsiteX39" fmla="*/ 420541 w 420541"/>
                <a:gd name="connsiteY39" fmla="*/ 570548 h 689992"/>
                <a:gd name="connsiteX40" fmla="*/ 420541 w 420541"/>
                <a:gd name="connsiteY40" fmla="*/ 689992 h 689992"/>
                <a:gd name="connsiteX41" fmla="*/ 174415 w 420541"/>
                <a:gd name="connsiteY41" fmla="*/ 689992 h 689992"/>
                <a:gd name="connsiteX42" fmla="*/ 174129 w 420541"/>
                <a:gd name="connsiteY42" fmla="*/ 570643 h 689992"/>
                <a:gd name="connsiteX43" fmla="*/ 205371 w 420541"/>
                <a:gd name="connsiteY43" fmla="*/ 570643 h 689992"/>
                <a:gd name="connsiteX44" fmla="*/ 205371 w 420541"/>
                <a:gd name="connsiteY44" fmla="*/ 532543 h 689992"/>
                <a:gd name="connsiteX45" fmla="*/ 127266 w 420541"/>
                <a:gd name="connsiteY45" fmla="*/ 441865 h 689992"/>
                <a:gd name="connsiteX46" fmla="*/ 1918 w 420541"/>
                <a:gd name="connsiteY46" fmla="*/ 270891 h 689992"/>
                <a:gd name="connsiteX47" fmla="*/ 870 w 420541"/>
                <a:gd name="connsiteY47" fmla="*/ 196025 h 689992"/>
                <a:gd name="connsiteX48" fmla="*/ 1918 w 420541"/>
                <a:gd name="connsiteY48" fmla="*/ 57817 h 689992"/>
                <a:gd name="connsiteX49" fmla="*/ 41637 w 420541"/>
                <a:gd name="connsiteY49" fmla="*/ 0 h 6899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</a:cxnLst>
              <a:rect l="l" t="t" r="r" b="b"/>
              <a:pathLst>
                <a:path w="420541" h="689992">
                  <a:moveTo>
                    <a:pt x="191084" y="587598"/>
                  </a:moveTo>
                  <a:lnTo>
                    <a:pt x="191084" y="673323"/>
                  </a:lnTo>
                  <a:lnTo>
                    <a:pt x="403873" y="673323"/>
                  </a:lnTo>
                  <a:lnTo>
                    <a:pt x="403967" y="587598"/>
                  </a:lnTo>
                  <a:close/>
                  <a:moveTo>
                    <a:pt x="41065" y="16574"/>
                  </a:moveTo>
                  <a:cubicBezTo>
                    <a:pt x="31921" y="16574"/>
                    <a:pt x="20586" y="23908"/>
                    <a:pt x="18872" y="58579"/>
                  </a:cubicBezTo>
                  <a:cubicBezTo>
                    <a:pt x="16014" y="115538"/>
                    <a:pt x="16872" y="152686"/>
                    <a:pt x="17824" y="195644"/>
                  </a:cubicBezTo>
                  <a:lnTo>
                    <a:pt x="17824" y="197358"/>
                  </a:lnTo>
                  <a:cubicBezTo>
                    <a:pt x="18300" y="219742"/>
                    <a:pt x="18872" y="242983"/>
                    <a:pt x="18872" y="270796"/>
                  </a:cubicBezTo>
                  <a:cubicBezTo>
                    <a:pt x="18872" y="319850"/>
                    <a:pt x="85357" y="380715"/>
                    <a:pt x="138792" y="429578"/>
                  </a:cubicBezTo>
                  <a:cubicBezTo>
                    <a:pt x="185464" y="472250"/>
                    <a:pt x="222231" y="505968"/>
                    <a:pt x="222231" y="532448"/>
                  </a:cubicBezTo>
                  <a:lnTo>
                    <a:pt x="222231" y="570548"/>
                  </a:lnTo>
                  <a:lnTo>
                    <a:pt x="375774" y="570548"/>
                  </a:lnTo>
                  <a:lnTo>
                    <a:pt x="375774" y="451200"/>
                  </a:lnTo>
                  <a:cubicBezTo>
                    <a:pt x="375774" y="400146"/>
                    <a:pt x="301860" y="336138"/>
                    <a:pt x="247758" y="289275"/>
                  </a:cubicBezTo>
                  <a:cubicBezTo>
                    <a:pt x="229660" y="273654"/>
                    <a:pt x="212515" y="258795"/>
                    <a:pt x="199657" y="245936"/>
                  </a:cubicBezTo>
                  <a:cubicBezTo>
                    <a:pt x="193999" y="240078"/>
                    <a:pt x="185493" y="237964"/>
                    <a:pt x="177749" y="240507"/>
                  </a:cubicBezTo>
                  <a:cubicBezTo>
                    <a:pt x="168119" y="243764"/>
                    <a:pt x="161032" y="252022"/>
                    <a:pt x="159270" y="262033"/>
                  </a:cubicBezTo>
                  <a:cubicBezTo>
                    <a:pt x="156603" y="277273"/>
                    <a:pt x="166605" y="294894"/>
                    <a:pt x="186702" y="310420"/>
                  </a:cubicBezTo>
                  <a:cubicBezTo>
                    <a:pt x="195656" y="317278"/>
                    <a:pt x="215849" y="333852"/>
                    <a:pt x="224231" y="340710"/>
                  </a:cubicBezTo>
                  <a:lnTo>
                    <a:pt x="213658" y="353568"/>
                  </a:lnTo>
                  <a:cubicBezTo>
                    <a:pt x="190989" y="334995"/>
                    <a:pt x="180987" y="326994"/>
                    <a:pt x="176510" y="323565"/>
                  </a:cubicBezTo>
                  <a:cubicBezTo>
                    <a:pt x="147174" y="301086"/>
                    <a:pt x="141744" y="279369"/>
                    <a:pt x="142316" y="265176"/>
                  </a:cubicBezTo>
                  <a:lnTo>
                    <a:pt x="142316" y="263652"/>
                  </a:lnTo>
                  <a:lnTo>
                    <a:pt x="141458" y="262414"/>
                  </a:lnTo>
                  <a:cubicBezTo>
                    <a:pt x="114884" y="221933"/>
                    <a:pt x="116694" y="189167"/>
                    <a:pt x="118599" y="154591"/>
                  </a:cubicBezTo>
                  <a:cubicBezTo>
                    <a:pt x="119646" y="145066"/>
                    <a:pt x="119646" y="135541"/>
                    <a:pt x="119646" y="126016"/>
                  </a:cubicBezTo>
                  <a:cubicBezTo>
                    <a:pt x="119646" y="77248"/>
                    <a:pt x="71641" y="17336"/>
                    <a:pt x="41065" y="16574"/>
                  </a:cubicBezTo>
                  <a:close/>
                  <a:moveTo>
                    <a:pt x="41637" y="0"/>
                  </a:moveTo>
                  <a:cubicBezTo>
                    <a:pt x="83070" y="1048"/>
                    <a:pt x="136029" y="71724"/>
                    <a:pt x="136029" y="126016"/>
                  </a:cubicBezTo>
                  <a:cubicBezTo>
                    <a:pt x="136029" y="136684"/>
                    <a:pt x="135458" y="146209"/>
                    <a:pt x="134982" y="155734"/>
                  </a:cubicBezTo>
                  <a:cubicBezTo>
                    <a:pt x="133458" y="182690"/>
                    <a:pt x="132029" y="207836"/>
                    <a:pt x="145459" y="236411"/>
                  </a:cubicBezTo>
                  <a:lnTo>
                    <a:pt x="148507" y="242983"/>
                  </a:lnTo>
                  <a:lnTo>
                    <a:pt x="153270" y="237554"/>
                  </a:lnTo>
                  <a:cubicBezTo>
                    <a:pt x="158375" y="231705"/>
                    <a:pt x="164947" y="227333"/>
                    <a:pt x="172320" y="224886"/>
                  </a:cubicBezTo>
                  <a:cubicBezTo>
                    <a:pt x="185978" y="220533"/>
                    <a:pt x="200923" y="224219"/>
                    <a:pt x="210991" y="234411"/>
                  </a:cubicBezTo>
                  <a:cubicBezTo>
                    <a:pt x="224041" y="246984"/>
                    <a:pt x="241662" y="262224"/>
                    <a:pt x="258616" y="276987"/>
                  </a:cubicBezTo>
                  <a:cubicBezTo>
                    <a:pt x="317766" y="328518"/>
                    <a:pt x="391966" y="392811"/>
                    <a:pt x="391966" y="451676"/>
                  </a:cubicBezTo>
                  <a:lnTo>
                    <a:pt x="391966" y="570548"/>
                  </a:lnTo>
                  <a:lnTo>
                    <a:pt x="420541" y="570548"/>
                  </a:lnTo>
                  <a:lnTo>
                    <a:pt x="420541" y="689992"/>
                  </a:lnTo>
                  <a:lnTo>
                    <a:pt x="174415" y="689992"/>
                  </a:lnTo>
                  <a:lnTo>
                    <a:pt x="174129" y="570643"/>
                  </a:lnTo>
                  <a:lnTo>
                    <a:pt x="205371" y="570643"/>
                  </a:lnTo>
                  <a:lnTo>
                    <a:pt x="205371" y="532543"/>
                  </a:lnTo>
                  <a:cubicBezTo>
                    <a:pt x="205371" y="514731"/>
                    <a:pt x="172986" y="483775"/>
                    <a:pt x="127266" y="441865"/>
                  </a:cubicBezTo>
                  <a:cubicBezTo>
                    <a:pt x="68593" y="388144"/>
                    <a:pt x="1918" y="327184"/>
                    <a:pt x="1918" y="270891"/>
                  </a:cubicBezTo>
                  <a:cubicBezTo>
                    <a:pt x="1918" y="242793"/>
                    <a:pt x="1441" y="219456"/>
                    <a:pt x="870" y="196025"/>
                  </a:cubicBezTo>
                  <a:cubicBezTo>
                    <a:pt x="12" y="154686"/>
                    <a:pt x="-940" y="115634"/>
                    <a:pt x="1918" y="57817"/>
                  </a:cubicBezTo>
                  <a:cubicBezTo>
                    <a:pt x="3537" y="20288"/>
                    <a:pt x="17539" y="0"/>
                    <a:pt x="41637" y="0"/>
                  </a:cubicBezTo>
                  <a:close/>
                </a:path>
              </a:pathLst>
            </a:custGeom>
            <a:solidFill>
              <a:schemeClr val="bg2">
                <a:lumMod val="20000"/>
                <a:lumOff val="80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</p:grpSp>
      <p:pic>
        <p:nvPicPr>
          <p:cNvPr id="33" name="Grafik 13" descr="we_support_print_150.jpg">
            <a:extLst>
              <a:ext uri="{FF2B5EF4-FFF2-40B4-BE49-F238E27FC236}">
                <a16:creationId xmlns:a16="http://schemas.microsoft.com/office/drawing/2014/main" id="{A662C870-CFDA-03FB-CB86-F40D4B11CB06}"/>
              </a:ext>
            </a:extLst>
          </p:cNvPr>
          <p:cNvPicPr>
            <a:picLocks noChangeAspect="1"/>
          </p:cNvPicPr>
          <p:nvPr/>
        </p:nvPicPr>
        <p:blipFill>
          <a:blip r:embed="rId10" cstate="screen">
            <a:clrChange>
              <a:clrFrom>
                <a:srgbClr val="FFFEFD"/>
              </a:clrFrom>
              <a:clrTo>
                <a:srgbClr val="FFFEFD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3031405" y="3479235"/>
            <a:ext cx="620590" cy="7200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513725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1A6A978A-E65B-DC67-6740-5ABB58A2C05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088704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5" imgH="426" progId="TCLayout.ActiveDocument.1">
                  <p:embed/>
                </p:oleObj>
              </mc:Choice>
              <mc:Fallback>
                <p:oleObj name="think-cell Folie" r:id="rId4" imgW="425" imgH="42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1A6A978A-E65B-DC67-6740-5ABB58A2C05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FDFE70A-A851-830B-B70B-96D334E362F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D0861B-C22D-41E8-8EC8-4D86DBDF265F}" type="datetime4">
              <a:rPr lang="en-GB" noProof="0" smtClean="0"/>
              <a:pPr/>
              <a:t>14 March 2024</a:t>
            </a:fld>
            <a:endParaRPr lang="en-GB" noProof="0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22DF4CD-80EB-9199-B899-9FA2E996762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94909C6-CC71-4962-A18E-AF0515723D95}" type="slidenum">
              <a:rPr lang="en-GB" noProof="0" smtClean="0"/>
              <a:pPr/>
              <a:t>7</a:t>
            </a:fld>
            <a:endParaRPr lang="en-GB" noProof="0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6BBEB53-973A-69D6-041B-57D44C4055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GB" noProof="0" dirty="0"/>
              <a:t>Munich Re Group – Company Presentation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108A6CCA-BB9F-76AC-65A3-74B18AD4E3B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>
                <a:solidFill>
                  <a:schemeClr val="bg2"/>
                </a:solidFill>
              </a:rPr>
              <a:t>Munich Re Group </a:t>
            </a:r>
            <a:br>
              <a:rPr lang="en-GB" dirty="0"/>
            </a:br>
            <a:r>
              <a:rPr lang="en-GB" sz="1400" dirty="0">
                <a:solidFill>
                  <a:schemeClr val="tx2"/>
                </a:solidFill>
              </a:rPr>
              <a:t>Holistically integrating ESG across the organisation</a:t>
            </a:r>
            <a:endParaRPr lang="en-GB" sz="1600" dirty="0">
              <a:solidFill>
                <a:schemeClr val="tx2"/>
              </a:solidFill>
            </a:endParaRP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76766347-1C19-99F4-A4A7-58E8B4F3EE06}"/>
              </a:ext>
            </a:extLst>
          </p:cNvPr>
          <p:cNvSpPr/>
          <p:nvPr/>
        </p:nvSpPr>
        <p:spPr>
          <a:xfrm rot="5400000">
            <a:off x="44440" y="1615502"/>
            <a:ext cx="3158334" cy="2634441"/>
          </a:xfrm>
          <a:custGeom>
            <a:avLst/>
            <a:gdLst>
              <a:gd name="connsiteX0" fmla="*/ 1592800 w 3184090"/>
              <a:gd name="connsiteY0" fmla="*/ 0 h 2655924"/>
              <a:gd name="connsiteX1" fmla="*/ 2409948 w 3184090"/>
              <a:gd name="connsiteY1" fmla="*/ 818658 h 2655924"/>
              <a:gd name="connsiteX2" fmla="*/ 2375241 w 3184090"/>
              <a:gd name="connsiteY2" fmla="*/ 1052560 h 2655924"/>
              <a:gd name="connsiteX3" fmla="*/ 2170764 w 3184090"/>
              <a:gd name="connsiteY3" fmla="*/ 1395868 h 2655924"/>
              <a:gd name="connsiteX4" fmla="*/ 2172529 w 3184090"/>
              <a:gd name="connsiteY4" fmla="*/ 1397647 h 2655924"/>
              <a:gd name="connsiteX5" fmla="*/ 2170950 w 3184090"/>
              <a:gd name="connsiteY5" fmla="*/ 1398950 h 2655924"/>
              <a:gd name="connsiteX6" fmla="*/ 1989513 w 3184090"/>
              <a:gd name="connsiteY6" fmla="*/ 1836978 h 2655924"/>
              <a:gd name="connsiteX7" fmla="*/ 2608977 w 3184090"/>
              <a:gd name="connsiteY7" fmla="*/ 2456442 h 2655924"/>
              <a:gd name="connsiteX8" fmla="*/ 2955325 w 3184090"/>
              <a:gd name="connsiteY8" fmla="*/ 2350647 h 2655924"/>
              <a:gd name="connsiteX9" fmla="*/ 3044669 w 3184090"/>
              <a:gd name="connsiteY9" fmla="*/ 2276931 h 2655924"/>
              <a:gd name="connsiteX10" fmla="*/ 3184090 w 3184090"/>
              <a:gd name="connsiteY10" fmla="*/ 2417494 h 2655924"/>
              <a:gd name="connsiteX11" fmla="*/ 2606125 w 3184090"/>
              <a:gd name="connsiteY11" fmla="*/ 2655924 h 2655924"/>
              <a:gd name="connsiteX12" fmla="*/ 1788976 w 3184090"/>
              <a:gd name="connsiteY12" fmla="*/ 1837265 h 2655924"/>
              <a:gd name="connsiteX13" fmla="*/ 1927268 w 3184090"/>
              <a:gd name="connsiteY13" fmla="*/ 1381172 h 2655924"/>
              <a:gd name="connsiteX14" fmla="*/ 2029125 w 3184090"/>
              <a:gd name="connsiteY14" fmla="*/ 1257853 h 2655924"/>
              <a:gd name="connsiteX15" fmla="*/ 2030374 w 3184090"/>
              <a:gd name="connsiteY15" fmla="*/ 1256823 h 2655924"/>
              <a:gd name="connsiteX16" fmla="*/ 2211811 w 3184090"/>
              <a:gd name="connsiteY16" fmla="*/ 818796 h 2655924"/>
              <a:gd name="connsiteX17" fmla="*/ 1592347 w 3184090"/>
              <a:gd name="connsiteY17" fmla="*/ 199331 h 2655924"/>
              <a:gd name="connsiteX18" fmla="*/ 972883 w 3184090"/>
              <a:gd name="connsiteY18" fmla="*/ 818796 h 2655924"/>
              <a:gd name="connsiteX19" fmla="*/ 1154320 w 3184090"/>
              <a:gd name="connsiteY19" fmla="*/ 1256823 h 2655924"/>
              <a:gd name="connsiteX20" fmla="*/ 1155319 w 3184090"/>
              <a:gd name="connsiteY20" fmla="*/ 1257647 h 2655924"/>
              <a:gd name="connsiteX21" fmla="*/ 1155176 w 3184090"/>
              <a:gd name="connsiteY21" fmla="*/ 1257791 h 2655924"/>
              <a:gd name="connsiteX22" fmla="*/ 1395869 w 3184090"/>
              <a:gd name="connsiteY22" fmla="*/ 1837265 h 2655924"/>
              <a:gd name="connsiteX23" fmla="*/ 1155621 w 3184090"/>
              <a:gd name="connsiteY23" fmla="*/ 2416294 h 2655924"/>
              <a:gd name="connsiteX24" fmla="*/ 0 w 3184090"/>
              <a:gd name="connsiteY24" fmla="*/ 2414476 h 2655924"/>
              <a:gd name="connsiteX25" fmla="*/ 141088 w 3184090"/>
              <a:gd name="connsiteY25" fmla="*/ 2273284 h 2655924"/>
              <a:gd name="connsiteX26" fmla="*/ 142544 w 3184090"/>
              <a:gd name="connsiteY26" fmla="*/ 2275049 h 2655924"/>
              <a:gd name="connsiteX27" fmla="*/ 580571 w 3184090"/>
              <a:gd name="connsiteY27" fmla="*/ 2456486 h 2655924"/>
              <a:gd name="connsiteX28" fmla="*/ 1200035 w 3184090"/>
              <a:gd name="connsiteY28" fmla="*/ 1837022 h 2655924"/>
              <a:gd name="connsiteX29" fmla="*/ 1018598 w 3184090"/>
              <a:gd name="connsiteY29" fmla="*/ 1398995 h 2655924"/>
              <a:gd name="connsiteX30" fmla="*/ 1011409 w 3184090"/>
              <a:gd name="connsiteY30" fmla="*/ 1393063 h 2655924"/>
              <a:gd name="connsiteX31" fmla="*/ 912558 w 3184090"/>
              <a:gd name="connsiteY31" fmla="*/ 1273175 h 2655924"/>
              <a:gd name="connsiteX32" fmla="*/ 774141 w 3184090"/>
              <a:gd name="connsiteY32" fmla="*/ 817148 h 2655924"/>
              <a:gd name="connsiteX33" fmla="*/ 1592800 w 3184090"/>
              <a:gd name="connsiteY33" fmla="*/ 0 h 26559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</a:cxnLst>
            <a:rect l="l" t="t" r="r" b="b"/>
            <a:pathLst>
              <a:path w="3184090" h="2655924">
                <a:moveTo>
                  <a:pt x="1592800" y="0"/>
                </a:moveTo>
                <a:cubicBezTo>
                  <a:pt x="2044518" y="414"/>
                  <a:pt x="2410364" y="366940"/>
                  <a:pt x="2409948" y="818658"/>
                </a:cubicBezTo>
                <a:cubicBezTo>
                  <a:pt x="2410070" y="897921"/>
                  <a:pt x="2398366" y="976753"/>
                  <a:pt x="2375241" y="1052560"/>
                </a:cubicBezTo>
                <a:cubicBezTo>
                  <a:pt x="2336602" y="1182180"/>
                  <a:pt x="2266333" y="1300157"/>
                  <a:pt x="2170764" y="1395868"/>
                </a:cubicBezTo>
                <a:lnTo>
                  <a:pt x="2172529" y="1397647"/>
                </a:lnTo>
                <a:lnTo>
                  <a:pt x="2170950" y="1398950"/>
                </a:lnTo>
                <a:cubicBezTo>
                  <a:pt x="2058849" y="1511051"/>
                  <a:pt x="1989513" y="1665917"/>
                  <a:pt x="1989513" y="1836978"/>
                </a:cubicBezTo>
                <a:cubicBezTo>
                  <a:pt x="1989513" y="2179098"/>
                  <a:pt x="2266857" y="2456442"/>
                  <a:pt x="2608977" y="2456442"/>
                </a:cubicBezTo>
                <a:cubicBezTo>
                  <a:pt x="2737272" y="2456442"/>
                  <a:pt x="2856458" y="2417440"/>
                  <a:pt x="2955325" y="2350647"/>
                </a:cubicBezTo>
                <a:lnTo>
                  <a:pt x="3044669" y="2276931"/>
                </a:lnTo>
                <a:lnTo>
                  <a:pt x="3184090" y="2417494"/>
                </a:lnTo>
                <a:cubicBezTo>
                  <a:pt x="3030613" y="2570368"/>
                  <a:pt x="2822757" y="2656119"/>
                  <a:pt x="2606125" y="2655924"/>
                </a:cubicBezTo>
                <a:cubicBezTo>
                  <a:pt x="2154414" y="2655508"/>
                  <a:pt x="1788560" y="2288984"/>
                  <a:pt x="1788976" y="1837265"/>
                </a:cubicBezTo>
                <a:cubicBezTo>
                  <a:pt x="1788636" y="1673648"/>
                  <a:pt x="1837466" y="1515040"/>
                  <a:pt x="1927268" y="1381172"/>
                </a:cubicBezTo>
                <a:lnTo>
                  <a:pt x="2029125" y="1257853"/>
                </a:lnTo>
                <a:lnTo>
                  <a:pt x="2030374" y="1256823"/>
                </a:lnTo>
                <a:cubicBezTo>
                  <a:pt x="2142475" y="1144722"/>
                  <a:pt x="2211811" y="989856"/>
                  <a:pt x="2211811" y="818796"/>
                </a:cubicBezTo>
                <a:cubicBezTo>
                  <a:pt x="2211811" y="476675"/>
                  <a:pt x="1934468" y="199331"/>
                  <a:pt x="1592347" y="199331"/>
                </a:cubicBezTo>
                <a:cubicBezTo>
                  <a:pt x="1250227" y="199331"/>
                  <a:pt x="972883" y="476675"/>
                  <a:pt x="972883" y="818796"/>
                </a:cubicBezTo>
                <a:cubicBezTo>
                  <a:pt x="972883" y="989856"/>
                  <a:pt x="1042219" y="1144722"/>
                  <a:pt x="1154320" y="1256823"/>
                </a:cubicBezTo>
                <a:lnTo>
                  <a:pt x="1155319" y="1257647"/>
                </a:lnTo>
                <a:lnTo>
                  <a:pt x="1155176" y="1257791"/>
                </a:lnTo>
                <a:cubicBezTo>
                  <a:pt x="1309469" y="1411125"/>
                  <a:pt x="1396118" y="1619735"/>
                  <a:pt x="1395869" y="1837265"/>
                </a:cubicBezTo>
                <a:cubicBezTo>
                  <a:pt x="1395952" y="2054537"/>
                  <a:pt x="1309498" y="2262900"/>
                  <a:pt x="1155621" y="2416294"/>
                </a:cubicBezTo>
                <a:cubicBezTo>
                  <a:pt x="836005" y="2734906"/>
                  <a:pt x="318613" y="2734092"/>
                  <a:pt x="0" y="2414476"/>
                </a:cubicBezTo>
                <a:lnTo>
                  <a:pt x="141088" y="2273284"/>
                </a:lnTo>
                <a:lnTo>
                  <a:pt x="142544" y="2275049"/>
                </a:lnTo>
                <a:cubicBezTo>
                  <a:pt x="254645" y="2387150"/>
                  <a:pt x="409511" y="2456486"/>
                  <a:pt x="580571" y="2456486"/>
                </a:cubicBezTo>
                <a:cubicBezTo>
                  <a:pt x="922691" y="2456486"/>
                  <a:pt x="1200035" y="2179142"/>
                  <a:pt x="1200035" y="1837022"/>
                </a:cubicBezTo>
                <a:cubicBezTo>
                  <a:pt x="1200035" y="1665962"/>
                  <a:pt x="1130699" y="1511096"/>
                  <a:pt x="1018598" y="1398995"/>
                </a:cubicBezTo>
                <a:lnTo>
                  <a:pt x="1011409" y="1393063"/>
                </a:lnTo>
                <a:lnTo>
                  <a:pt x="912558" y="1273175"/>
                </a:lnTo>
                <a:cubicBezTo>
                  <a:pt x="822844" y="1139276"/>
                  <a:pt x="773989" y="980731"/>
                  <a:pt x="774141" y="817148"/>
                </a:cubicBezTo>
                <a:cubicBezTo>
                  <a:pt x="774556" y="365438"/>
                  <a:pt x="1141081" y="-416"/>
                  <a:pt x="1592800" y="0"/>
                </a:cubicBezTo>
                <a:close/>
              </a:path>
            </a:pathLst>
          </a:custGeom>
          <a:solidFill>
            <a:srgbClr val="EDEDEE"/>
          </a:solidFill>
          <a:ln w="70927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01EA3087-31AC-5EAD-42DE-49940FB4555A}"/>
              </a:ext>
            </a:extLst>
          </p:cNvPr>
          <p:cNvSpPr/>
          <p:nvPr/>
        </p:nvSpPr>
        <p:spPr>
          <a:xfrm rot="5400000">
            <a:off x="613987" y="3435662"/>
            <a:ext cx="1244628" cy="1386826"/>
          </a:xfrm>
          <a:custGeom>
            <a:avLst/>
            <a:gdLst>
              <a:gd name="connsiteX0" fmla="*/ 437625 w 1254777"/>
              <a:gd name="connsiteY0" fmla="*/ 2 h 1398135"/>
              <a:gd name="connsiteX1" fmla="*/ 1017099 w 1254777"/>
              <a:gd name="connsiteY1" fmla="*/ 241449 h 1398135"/>
              <a:gd name="connsiteX2" fmla="*/ 1013327 w 1254777"/>
              <a:gd name="connsiteY2" fmla="*/ 1398135 h 1398135"/>
              <a:gd name="connsiteX3" fmla="*/ 873905 w 1254777"/>
              <a:gd name="connsiteY3" fmla="*/ 1257571 h 1398135"/>
              <a:gd name="connsiteX4" fmla="*/ 876239 w 1254777"/>
              <a:gd name="connsiteY4" fmla="*/ 1255646 h 1398135"/>
              <a:gd name="connsiteX5" fmla="*/ 1057676 w 1254777"/>
              <a:gd name="connsiteY5" fmla="*/ 817619 h 1398135"/>
              <a:gd name="connsiteX6" fmla="*/ 438212 w 1254777"/>
              <a:gd name="connsiteY6" fmla="*/ 198154 h 1398135"/>
              <a:gd name="connsiteX7" fmla="*/ 91864 w 1254777"/>
              <a:gd name="connsiteY7" fmla="*/ 303949 h 1398135"/>
              <a:gd name="connsiteX8" fmla="*/ 1765 w 1254777"/>
              <a:gd name="connsiteY8" fmla="*/ 378287 h 1398135"/>
              <a:gd name="connsiteX9" fmla="*/ 0 w 1254777"/>
              <a:gd name="connsiteY9" fmla="*/ 376509 h 1398135"/>
              <a:gd name="connsiteX10" fmla="*/ 204477 w 1254777"/>
              <a:gd name="connsiteY10" fmla="*/ 33201 h 1398135"/>
              <a:gd name="connsiteX11" fmla="*/ 437625 w 1254777"/>
              <a:gd name="connsiteY11" fmla="*/ 2 h 13981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254777" h="1398135">
                <a:moveTo>
                  <a:pt x="437625" y="2"/>
                </a:moveTo>
                <a:cubicBezTo>
                  <a:pt x="655207" y="205"/>
                  <a:pt x="863749" y="87096"/>
                  <a:pt x="1017099" y="241449"/>
                </a:cubicBezTo>
                <a:cubicBezTo>
                  <a:pt x="1335471" y="561903"/>
                  <a:pt x="1333781" y="1079771"/>
                  <a:pt x="1013327" y="1398135"/>
                </a:cubicBezTo>
                <a:lnTo>
                  <a:pt x="873905" y="1257571"/>
                </a:lnTo>
                <a:lnTo>
                  <a:pt x="876239" y="1255646"/>
                </a:lnTo>
                <a:cubicBezTo>
                  <a:pt x="988340" y="1143545"/>
                  <a:pt x="1057676" y="988679"/>
                  <a:pt x="1057676" y="817619"/>
                </a:cubicBezTo>
                <a:cubicBezTo>
                  <a:pt x="1057676" y="475498"/>
                  <a:pt x="780333" y="198154"/>
                  <a:pt x="438212" y="198154"/>
                </a:cubicBezTo>
                <a:cubicBezTo>
                  <a:pt x="309917" y="198154"/>
                  <a:pt x="190731" y="237155"/>
                  <a:pt x="91864" y="303949"/>
                </a:cubicBezTo>
                <a:lnTo>
                  <a:pt x="1765" y="378287"/>
                </a:lnTo>
                <a:lnTo>
                  <a:pt x="0" y="376509"/>
                </a:lnTo>
                <a:cubicBezTo>
                  <a:pt x="95569" y="280797"/>
                  <a:pt x="165838" y="162820"/>
                  <a:pt x="204477" y="33201"/>
                </a:cubicBezTo>
                <a:cubicBezTo>
                  <a:pt x="280193" y="10995"/>
                  <a:pt x="358717" y="-188"/>
                  <a:pt x="437625" y="2"/>
                </a:cubicBezTo>
                <a:close/>
              </a:path>
            </a:pathLst>
          </a:custGeom>
          <a:solidFill>
            <a:schemeClr val="accent5">
              <a:lumMod val="50000"/>
            </a:schemeClr>
          </a:solidFill>
          <a:ln w="70927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 dirty="0">
              <a:ln>
                <a:noFill/>
              </a:ln>
              <a:solidFill>
                <a:schemeClr val="accent6"/>
              </a:solidFill>
              <a:effectLst/>
              <a:uLnTx/>
              <a:uFillTx/>
            </a:endParaRPr>
          </a:p>
        </p:txBody>
      </p:sp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2D4D5CEF-B412-EE66-6C8F-592C3DB28346}"/>
              </a:ext>
            </a:extLst>
          </p:cNvPr>
          <p:cNvSpPr/>
          <p:nvPr/>
        </p:nvSpPr>
        <p:spPr>
          <a:xfrm rot="5400000">
            <a:off x="618034" y="1043845"/>
            <a:ext cx="1239525" cy="1383833"/>
          </a:xfrm>
          <a:custGeom>
            <a:avLst/>
            <a:gdLst>
              <a:gd name="connsiteX0" fmla="*/ 818970 w 1249633"/>
              <a:gd name="connsiteY0" fmla="*/ 2 h 1395117"/>
              <a:gd name="connsiteX1" fmla="*/ 1047590 w 1249633"/>
              <a:gd name="connsiteY1" fmla="*/ 32446 h 1395117"/>
              <a:gd name="connsiteX2" fmla="*/ 1187133 w 1249633"/>
              <a:gd name="connsiteY2" fmla="*/ 302527 h 1395117"/>
              <a:gd name="connsiteX3" fmla="*/ 1249633 w 1249633"/>
              <a:gd name="connsiteY3" fmla="*/ 372657 h 1395117"/>
              <a:gd name="connsiteX4" fmla="*/ 1166413 w 1249633"/>
              <a:gd name="connsiteY4" fmla="*/ 303994 h 1395117"/>
              <a:gd name="connsiteX5" fmla="*/ 820065 w 1249633"/>
              <a:gd name="connsiteY5" fmla="*/ 198199 h 1395117"/>
              <a:gd name="connsiteX6" fmla="*/ 200601 w 1249633"/>
              <a:gd name="connsiteY6" fmla="*/ 817663 h 1395117"/>
              <a:gd name="connsiteX7" fmla="*/ 306396 w 1249633"/>
              <a:gd name="connsiteY7" fmla="*/ 1164011 h 1395117"/>
              <a:gd name="connsiteX8" fmla="*/ 380582 w 1249633"/>
              <a:gd name="connsiteY8" fmla="*/ 1253925 h 1395117"/>
              <a:gd name="connsiteX9" fmla="*/ 239495 w 1249633"/>
              <a:gd name="connsiteY9" fmla="*/ 1395117 h 1395117"/>
              <a:gd name="connsiteX10" fmla="*/ 2 w 1249633"/>
              <a:gd name="connsiteY10" fmla="*/ 815334 h 1395117"/>
              <a:gd name="connsiteX11" fmla="*/ 818970 w 1249633"/>
              <a:gd name="connsiteY11" fmla="*/ 2 h 13951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249633" h="1395117">
                <a:moveTo>
                  <a:pt x="818970" y="2"/>
                </a:moveTo>
                <a:cubicBezTo>
                  <a:pt x="896331" y="-66"/>
                  <a:pt x="973307" y="10852"/>
                  <a:pt x="1047590" y="32446"/>
                </a:cubicBezTo>
                <a:cubicBezTo>
                  <a:pt x="1076791" y="130742"/>
                  <a:pt x="1124232" y="222319"/>
                  <a:pt x="1187133" y="302527"/>
                </a:cubicBezTo>
                <a:lnTo>
                  <a:pt x="1249633" y="372657"/>
                </a:lnTo>
                <a:lnTo>
                  <a:pt x="1166413" y="303994"/>
                </a:lnTo>
                <a:cubicBezTo>
                  <a:pt x="1067546" y="237200"/>
                  <a:pt x="948360" y="198199"/>
                  <a:pt x="820065" y="198199"/>
                </a:cubicBezTo>
                <a:cubicBezTo>
                  <a:pt x="477945" y="198199"/>
                  <a:pt x="200601" y="475543"/>
                  <a:pt x="200601" y="817663"/>
                </a:cubicBezTo>
                <a:cubicBezTo>
                  <a:pt x="200601" y="945958"/>
                  <a:pt x="239602" y="1065144"/>
                  <a:pt x="306396" y="1164011"/>
                </a:cubicBezTo>
                <a:lnTo>
                  <a:pt x="380582" y="1253925"/>
                </a:lnTo>
                <a:lnTo>
                  <a:pt x="239495" y="1395117"/>
                </a:lnTo>
                <a:cubicBezTo>
                  <a:pt x="85709" y="1241413"/>
                  <a:pt x="-481" y="1032757"/>
                  <a:pt x="2" y="815334"/>
                </a:cubicBezTo>
                <a:cubicBezTo>
                  <a:pt x="1005" y="364029"/>
                  <a:pt x="367674" y="-1002"/>
                  <a:pt x="818970" y="2"/>
                </a:cubicBezTo>
                <a:close/>
              </a:path>
            </a:pathLst>
          </a:custGeom>
          <a:solidFill>
            <a:schemeClr val="accent2">
              <a:lumMod val="75000"/>
            </a:schemeClr>
          </a:solidFill>
          <a:ln w="70927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9748CCAC-75F3-1B3C-F222-47ACB67CE1D9}"/>
              </a:ext>
            </a:extLst>
          </p:cNvPr>
          <p:cNvSpPr/>
          <p:nvPr/>
        </p:nvSpPr>
        <p:spPr>
          <a:xfrm rot="5400000">
            <a:off x="1078687" y="2748898"/>
            <a:ext cx="859961" cy="370490"/>
          </a:xfrm>
          <a:custGeom>
            <a:avLst/>
            <a:gdLst>
              <a:gd name="connsiteX0" fmla="*/ 866974 w 866974"/>
              <a:gd name="connsiteY0" fmla="*/ 0 h 373511"/>
              <a:gd name="connsiteX1" fmla="*/ 804330 w 866974"/>
              <a:gd name="connsiteY1" fmla="*/ 70860 h 373511"/>
              <a:gd name="connsiteX2" fmla="*/ 664449 w 866974"/>
              <a:gd name="connsiteY2" fmla="*/ 340707 h 373511"/>
              <a:gd name="connsiteX3" fmla="*/ 203434 w 866974"/>
              <a:gd name="connsiteY3" fmla="*/ 340707 h 373511"/>
              <a:gd name="connsiteX4" fmla="*/ 63975 w 866974"/>
              <a:gd name="connsiteY4" fmla="*/ 73709 h 373511"/>
              <a:gd name="connsiteX5" fmla="*/ 0 w 866974"/>
              <a:gd name="connsiteY5" fmla="*/ 1865 h 373511"/>
              <a:gd name="connsiteX6" fmla="*/ 86009 w 866974"/>
              <a:gd name="connsiteY6" fmla="*/ 72829 h 373511"/>
              <a:gd name="connsiteX7" fmla="*/ 432357 w 866974"/>
              <a:gd name="connsiteY7" fmla="*/ 178624 h 373511"/>
              <a:gd name="connsiteX8" fmla="*/ 778705 w 866974"/>
              <a:gd name="connsiteY8" fmla="*/ 72829 h 37351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866974" h="373511">
                <a:moveTo>
                  <a:pt x="866974" y="0"/>
                </a:moveTo>
                <a:lnTo>
                  <a:pt x="804330" y="70860"/>
                </a:lnTo>
                <a:cubicBezTo>
                  <a:pt x="741669" y="151203"/>
                  <a:pt x="694152" y="242638"/>
                  <a:pt x="664449" y="340707"/>
                </a:cubicBezTo>
                <a:cubicBezTo>
                  <a:pt x="513890" y="384446"/>
                  <a:pt x="353992" y="384446"/>
                  <a:pt x="203434" y="340707"/>
                </a:cubicBezTo>
                <a:cubicBezTo>
                  <a:pt x="173731" y="243588"/>
                  <a:pt x="126354" y="153116"/>
                  <a:pt x="63975" y="73709"/>
                </a:cubicBezTo>
                <a:lnTo>
                  <a:pt x="0" y="1865"/>
                </a:lnTo>
                <a:lnTo>
                  <a:pt x="86009" y="72829"/>
                </a:lnTo>
                <a:cubicBezTo>
                  <a:pt x="184876" y="139622"/>
                  <a:pt x="304062" y="178624"/>
                  <a:pt x="432357" y="178624"/>
                </a:cubicBezTo>
                <a:cubicBezTo>
                  <a:pt x="560652" y="178624"/>
                  <a:pt x="679838" y="139622"/>
                  <a:pt x="778705" y="72829"/>
                </a:cubicBezTo>
                <a:close/>
              </a:path>
            </a:pathLst>
          </a:custGeom>
          <a:solidFill>
            <a:schemeClr val="accent4">
              <a:lumMod val="75000"/>
            </a:schemeClr>
          </a:solidFill>
          <a:ln w="70927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609E6F83-D420-BE67-6427-0431287F065E}"/>
              </a:ext>
            </a:extLst>
          </p:cNvPr>
          <p:cNvSpPr/>
          <p:nvPr/>
        </p:nvSpPr>
        <p:spPr>
          <a:xfrm>
            <a:off x="1514179" y="2318592"/>
            <a:ext cx="1228906" cy="1228907"/>
          </a:xfrm>
          <a:custGeom>
            <a:avLst/>
            <a:gdLst>
              <a:gd name="connsiteX0" fmla="*/ 1165534 w 1165556"/>
              <a:gd name="connsiteY0" fmla="*/ 582757 h 1165556"/>
              <a:gd name="connsiteX1" fmla="*/ 582756 w 1165556"/>
              <a:gd name="connsiteY1" fmla="*/ 1165535 h 1165556"/>
              <a:gd name="connsiteX2" fmla="*/ -22 w 1165556"/>
              <a:gd name="connsiteY2" fmla="*/ 582757 h 1165556"/>
              <a:gd name="connsiteX3" fmla="*/ 582756 w 1165556"/>
              <a:gd name="connsiteY3" fmla="*/ -22 h 1165556"/>
              <a:gd name="connsiteX4" fmla="*/ 1165534 w 1165556"/>
              <a:gd name="connsiteY4" fmla="*/ 582757 h 11655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65556" h="1165556">
                <a:moveTo>
                  <a:pt x="1165534" y="582757"/>
                </a:moveTo>
                <a:cubicBezTo>
                  <a:pt x="1165534" y="904616"/>
                  <a:pt x="904616" y="1165535"/>
                  <a:pt x="582756" y="1165535"/>
                </a:cubicBezTo>
                <a:cubicBezTo>
                  <a:pt x="260897" y="1165535"/>
                  <a:pt x="-22" y="904616"/>
                  <a:pt x="-22" y="582757"/>
                </a:cubicBezTo>
                <a:cubicBezTo>
                  <a:pt x="-22" y="260897"/>
                  <a:pt x="260897" y="-22"/>
                  <a:pt x="582756" y="-22"/>
                </a:cubicBezTo>
                <a:cubicBezTo>
                  <a:pt x="904616" y="-22"/>
                  <a:pt x="1165534" y="260897"/>
                  <a:pt x="1165534" y="582757"/>
                </a:cubicBezTo>
                <a:close/>
              </a:path>
            </a:pathLst>
          </a:custGeom>
          <a:solidFill>
            <a:sysClr val="window" lastClr="FFFFFF"/>
          </a:solidFill>
          <a:ln w="70927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15" name="Freeform: Shape 14">
            <a:extLst>
              <a:ext uri="{FF2B5EF4-FFF2-40B4-BE49-F238E27FC236}">
                <a16:creationId xmlns:a16="http://schemas.microsoft.com/office/drawing/2014/main" id="{39BCAAED-3191-85DB-93E3-71505EF712E3}"/>
              </a:ext>
            </a:extLst>
          </p:cNvPr>
          <p:cNvSpPr/>
          <p:nvPr/>
        </p:nvSpPr>
        <p:spPr>
          <a:xfrm>
            <a:off x="504233" y="3326997"/>
            <a:ext cx="1228906" cy="1228907"/>
          </a:xfrm>
          <a:custGeom>
            <a:avLst/>
            <a:gdLst>
              <a:gd name="connsiteX0" fmla="*/ 1165534 w 1165556"/>
              <a:gd name="connsiteY0" fmla="*/ 582757 h 1165556"/>
              <a:gd name="connsiteX1" fmla="*/ 582756 w 1165556"/>
              <a:gd name="connsiteY1" fmla="*/ 1165535 h 1165556"/>
              <a:gd name="connsiteX2" fmla="*/ -22 w 1165556"/>
              <a:gd name="connsiteY2" fmla="*/ 582757 h 1165556"/>
              <a:gd name="connsiteX3" fmla="*/ 582756 w 1165556"/>
              <a:gd name="connsiteY3" fmla="*/ -22 h 1165556"/>
              <a:gd name="connsiteX4" fmla="*/ 1165534 w 1165556"/>
              <a:gd name="connsiteY4" fmla="*/ 582757 h 11655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65556" h="1165556">
                <a:moveTo>
                  <a:pt x="1165534" y="582757"/>
                </a:moveTo>
                <a:cubicBezTo>
                  <a:pt x="1165534" y="904616"/>
                  <a:pt x="904616" y="1165535"/>
                  <a:pt x="582756" y="1165535"/>
                </a:cubicBezTo>
                <a:cubicBezTo>
                  <a:pt x="260897" y="1165535"/>
                  <a:pt x="-22" y="904616"/>
                  <a:pt x="-22" y="582757"/>
                </a:cubicBezTo>
                <a:cubicBezTo>
                  <a:pt x="-22" y="260897"/>
                  <a:pt x="260897" y="-22"/>
                  <a:pt x="582756" y="-22"/>
                </a:cubicBezTo>
                <a:cubicBezTo>
                  <a:pt x="904616" y="-22"/>
                  <a:pt x="1165534" y="260897"/>
                  <a:pt x="1165534" y="582757"/>
                </a:cubicBezTo>
                <a:close/>
              </a:path>
            </a:pathLst>
          </a:custGeom>
          <a:solidFill>
            <a:sysClr val="window" lastClr="FFFFFF"/>
          </a:solidFill>
          <a:ln w="70927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C46A7645-AF2D-4D52-B105-BBB613CA57F8}"/>
              </a:ext>
            </a:extLst>
          </p:cNvPr>
          <p:cNvSpPr/>
          <p:nvPr/>
        </p:nvSpPr>
        <p:spPr>
          <a:xfrm>
            <a:off x="504189" y="1314999"/>
            <a:ext cx="1228906" cy="1228906"/>
          </a:xfrm>
          <a:custGeom>
            <a:avLst/>
            <a:gdLst>
              <a:gd name="connsiteX0" fmla="*/ 1165534 w 1165555"/>
              <a:gd name="connsiteY0" fmla="*/ 582756 h 1165555"/>
              <a:gd name="connsiteX1" fmla="*/ 582756 w 1165555"/>
              <a:gd name="connsiteY1" fmla="*/ 1165534 h 1165555"/>
              <a:gd name="connsiteX2" fmla="*/ -22 w 1165555"/>
              <a:gd name="connsiteY2" fmla="*/ 582756 h 1165555"/>
              <a:gd name="connsiteX3" fmla="*/ 582756 w 1165555"/>
              <a:gd name="connsiteY3" fmla="*/ -22 h 1165555"/>
              <a:gd name="connsiteX4" fmla="*/ 1165534 w 1165555"/>
              <a:gd name="connsiteY4" fmla="*/ 582756 h 11655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65555" h="1165555">
                <a:moveTo>
                  <a:pt x="1165534" y="582756"/>
                </a:moveTo>
                <a:cubicBezTo>
                  <a:pt x="1165534" y="904615"/>
                  <a:pt x="904615" y="1165534"/>
                  <a:pt x="582756" y="1165534"/>
                </a:cubicBezTo>
                <a:cubicBezTo>
                  <a:pt x="260897" y="1165534"/>
                  <a:pt x="-22" y="904615"/>
                  <a:pt x="-22" y="582756"/>
                </a:cubicBezTo>
                <a:cubicBezTo>
                  <a:pt x="-22" y="260897"/>
                  <a:pt x="260897" y="-22"/>
                  <a:pt x="582756" y="-22"/>
                </a:cubicBezTo>
                <a:cubicBezTo>
                  <a:pt x="904615" y="-22"/>
                  <a:pt x="1165534" y="260897"/>
                  <a:pt x="1165534" y="582756"/>
                </a:cubicBezTo>
                <a:close/>
              </a:path>
            </a:pathLst>
          </a:custGeom>
          <a:solidFill>
            <a:sysClr val="window" lastClr="FFFFFF"/>
          </a:solidFill>
          <a:ln w="70927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46C33A32-AB07-EC96-9254-99167C5C45B0}"/>
              </a:ext>
            </a:extLst>
          </p:cNvPr>
          <p:cNvSpPr/>
          <p:nvPr/>
        </p:nvSpPr>
        <p:spPr>
          <a:xfrm>
            <a:off x="3393249" y="1115999"/>
            <a:ext cx="2945187" cy="1149292"/>
          </a:xfrm>
          <a:prstGeom prst="rect">
            <a:avLst/>
          </a:prstGeom>
          <a:solidFill>
            <a:schemeClr val="accent2">
              <a:lumMod val="75000"/>
              <a:alpha val="10000"/>
            </a:schemeClr>
          </a:solidFill>
          <a:ln w="9525" cap="flat" cmpd="sng" algn="ctr">
            <a:noFill/>
            <a:prstDash val="solid"/>
            <a:miter lim="800000"/>
          </a:ln>
          <a:effectLst/>
        </p:spPr>
        <p:txBody>
          <a:bodyPr wrap="square" lIns="72000" tIns="72000" rIns="72000" bIns="72000" numCol="1" rtlCol="0" anchor="t" anchorCtr="0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1" i="0" u="none" strike="noStrike" kern="0" cap="none" spc="0" normalizeH="0" baseline="0" noProof="0" dirty="0">
                <a:ln>
                  <a:noFill/>
                </a:ln>
                <a:solidFill>
                  <a:schemeClr val="accent2">
                    <a:lumMod val="75000"/>
                  </a:schemeClr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t>Ambitious decarbonisation targets </a:t>
            </a:r>
          </a:p>
          <a:p>
            <a:pPr marL="126000" marR="0" lvl="0" indent="-12600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>
                <a:schemeClr val="accent2">
                  <a:lumMod val="75000"/>
                </a:schemeClr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GB" sz="900" b="0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t>Climate targets for our (re)insurance business</a:t>
            </a:r>
          </a:p>
          <a:p>
            <a:pPr marL="126000" marR="0" lvl="0" indent="-12600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>
                <a:schemeClr val="accent2">
                  <a:lumMod val="75000"/>
                </a:schemeClr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GB" sz="900" b="0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t>Decarbonisation of our investments</a:t>
            </a:r>
          </a:p>
          <a:p>
            <a:pPr marL="126000" marR="0" lvl="0" indent="-12600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>
                <a:schemeClr val="accent2">
                  <a:lumMod val="75000"/>
                </a:schemeClr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GB" sz="900" b="0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t>Reduction of our own emissions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37123A18-3BDC-8375-794D-99A339CEF508}"/>
              </a:ext>
            </a:extLst>
          </p:cNvPr>
          <p:cNvSpPr/>
          <p:nvPr/>
        </p:nvSpPr>
        <p:spPr>
          <a:xfrm flipH="1">
            <a:off x="3393246" y="2359048"/>
            <a:ext cx="2944570" cy="1149292"/>
          </a:xfrm>
          <a:prstGeom prst="rect">
            <a:avLst/>
          </a:prstGeom>
          <a:solidFill>
            <a:schemeClr val="accent4">
              <a:lumMod val="75000"/>
              <a:alpha val="10000"/>
            </a:schemeClr>
          </a:solidFill>
          <a:ln w="9525" cap="flat" cmpd="sng" algn="ctr">
            <a:noFill/>
            <a:prstDash val="solid"/>
            <a:miter lim="800000"/>
          </a:ln>
          <a:effectLst/>
        </p:spPr>
        <p:txBody>
          <a:bodyPr wrap="square" lIns="72000" tIns="72000" rIns="72000" bIns="72000" numCol="1" rtlCol="0" anchor="t" anchorCtr="0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1" i="0" u="none" strike="noStrike" kern="0" cap="none" spc="0" normalizeH="0" baseline="0" noProof="0" dirty="0">
                <a:ln>
                  <a:noFill/>
                </a:ln>
                <a:solidFill>
                  <a:schemeClr val="accent4">
                    <a:lumMod val="75000"/>
                  </a:schemeClr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t>Diverse workforce</a:t>
            </a:r>
          </a:p>
          <a:p>
            <a:pPr marL="126000" marR="0" lvl="0" indent="-12600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>
                <a:schemeClr val="accent4">
                  <a:lumMod val="75000"/>
                </a:schemeClr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GB" sz="900" b="0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t>40% managers to be female by 2025 </a:t>
            </a:r>
          </a:p>
          <a:p>
            <a:pPr marL="126000" marR="0" lvl="0" indent="-12600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>
                <a:schemeClr val="accent4">
                  <a:lumMod val="75000"/>
                </a:schemeClr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GB" sz="900" b="0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t>25% women in BoM by 2025</a:t>
            </a:r>
          </a:p>
          <a:p>
            <a:pPr marL="126000" marR="0" lvl="0" indent="-12600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>
                <a:schemeClr val="accent4">
                  <a:lumMod val="75000"/>
                </a:schemeClr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GB" sz="900" b="0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t>60+ nationalities</a:t>
            </a:r>
          </a:p>
          <a:p>
            <a:pPr marL="126000" marR="0" lvl="0" indent="-12600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>
                <a:schemeClr val="accent4">
                  <a:lumMod val="75000"/>
                </a:schemeClr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GB" sz="900" b="0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t>80+ professions</a:t>
            </a: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832F6FBE-5047-7546-D738-682F19AF41E9}"/>
              </a:ext>
            </a:extLst>
          </p:cNvPr>
          <p:cNvCxnSpPr>
            <a:cxnSpLocks/>
          </p:cNvCxnSpPr>
          <p:nvPr/>
        </p:nvCxnSpPr>
        <p:spPr>
          <a:xfrm>
            <a:off x="1995151" y="1690644"/>
            <a:ext cx="1302574" cy="0"/>
          </a:xfrm>
          <a:prstGeom prst="line">
            <a:avLst/>
          </a:prstGeom>
          <a:noFill/>
          <a:ln w="19050" cap="rnd" cmpd="sng" algn="ctr">
            <a:solidFill>
              <a:srgbClr val="4D4E53">
                <a:lumMod val="40000"/>
                <a:lumOff val="60000"/>
              </a:srgbClr>
            </a:solidFill>
            <a:prstDash val="sysDot"/>
            <a:round/>
          </a:ln>
          <a:effectLst/>
        </p:spPr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FB03A95C-D54B-574A-C54D-3740F21BE7BD}"/>
              </a:ext>
            </a:extLst>
          </p:cNvPr>
          <p:cNvCxnSpPr>
            <a:cxnSpLocks/>
          </p:cNvCxnSpPr>
          <p:nvPr/>
        </p:nvCxnSpPr>
        <p:spPr>
          <a:xfrm>
            <a:off x="3011159" y="2933694"/>
            <a:ext cx="286566" cy="0"/>
          </a:xfrm>
          <a:prstGeom prst="line">
            <a:avLst/>
          </a:prstGeom>
          <a:noFill/>
          <a:ln w="19050" cap="rnd" cmpd="sng" algn="ctr">
            <a:solidFill>
              <a:srgbClr val="4D4E53">
                <a:lumMod val="40000"/>
                <a:lumOff val="60000"/>
              </a:srgbClr>
            </a:solidFill>
            <a:prstDash val="sysDot"/>
            <a:round/>
          </a:ln>
          <a:effectLst/>
        </p:spPr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17054976-FC2F-B1A8-5C15-847002EB3FB2}"/>
              </a:ext>
            </a:extLst>
          </p:cNvPr>
          <p:cNvCxnSpPr>
            <a:cxnSpLocks/>
          </p:cNvCxnSpPr>
          <p:nvPr/>
        </p:nvCxnSpPr>
        <p:spPr>
          <a:xfrm>
            <a:off x="1995151" y="4191587"/>
            <a:ext cx="1302574" cy="0"/>
          </a:xfrm>
          <a:prstGeom prst="line">
            <a:avLst/>
          </a:prstGeom>
          <a:noFill/>
          <a:ln w="19050" cap="rnd" cmpd="sng" algn="ctr">
            <a:solidFill>
              <a:srgbClr val="4D4E53">
                <a:lumMod val="40000"/>
                <a:lumOff val="60000"/>
              </a:srgbClr>
            </a:solidFill>
            <a:prstDash val="sysDot"/>
            <a:round/>
          </a:ln>
          <a:effectLst/>
        </p:spPr>
      </p:cxnSp>
      <p:sp>
        <p:nvSpPr>
          <p:cNvPr id="22" name="Rectangle 21">
            <a:extLst>
              <a:ext uri="{FF2B5EF4-FFF2-40B4-BE49-F238E27FC236}">
                <a16:creationId xmlns:a16="http://schemas.microsoft.com/office/drawing/2014/main" id="{978D72D2-0C19-DBB8-C8B5-117FF3798AFA}"/>
              </a:ext>
            </a:extLst>
          </p:cNvPr>
          <p:cNvSpPr/>
          <p:nvPr/>
        </p:nvSpPr>
        <p:spPr>
          <a:xfrm>
            <a:off x="6435731" y="1115999"/>
            <a:ext cx="2708269" cy="1149292"/>
          </a:xfrm>
          <a:prstGeom prst="rect">
            <a:avLst/>
          </a:prstGeom>
          <a:solidFill>
            <a:schemeClr val="accent2">
              <a:lumMod val="75000"/>
              <a:alpha val="10000"/>
            </a:schemeClr>
          </a:solidFill>
          <a:ln w="9525" cap="flat" cmpd="sng" algn="ctr">
            <a:noFill/>
            <a:prstDash val="solid"/>
            <a:miter lim="800000"/>
          </a:ln>
          <a:effectLst/>
        </p:spPr>
        <p:txBody>
          <a:bodyPr wrap="square" lIns="72000" tIns="72000" rIns="306000" bIns="72000" numCol="1" rtlCol="0" anchor="t" anchorCtr="0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1" i="0" u="none" strike="noStrike" kern="0" cap="none" spc="0" normalizeH="0" baseline="0" noProof="0" dirty="0">
                <a:ln>
                  <a:noFill/>
                </a:ln>
                <a:solidFill>
                  <a:schemeClr val="accent2">
                    <a:lumMod val="75000"/>
                  </a:schemeClr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t>Climate-related disclosure</a:t>
            </a:r>
          </a:p>
          <a:p>
            <a:pPr marL="126000" marR="0" lvl="0" indent="-12600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>
                <a:schemeClr val="accent2">
                  <a:lumMod val="75000"/>
                </a:schemeClr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GB" sz="900" b="0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t>Aligned with the Task Force on Climate-</a:t>
            </a:r>
            <a:br>
              <a:rPr kumimoji="0" lang="en-GB" sz="900" b="0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</a:br>
            <a:r>
              <a:rPr kumimoji="0" lang="en-GB" sz="900" b="0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t>Related Financial Disclosures (TCFD)</a:t>
            </a:r>
          </a:p>
          <a:p>
            <a:pPr marL="126000" marR="0" lvl="0" indent="-12600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>
                <a:schemeClr val="accent2">
                  <a:lumMod val="75000"/>
                </a:schemeClr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GB" sz="900" b="0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t>Analysing the consequences of climate</a:t>
            </a:r>
            <a:br>
              <a:rPr kumimoji="0" lang="en-GB" sz="900" b="0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</a:br>
            <a:r>
              <a:rPr kumimoji="0" lang="en-GB" sz="900" b="0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t>change for more than 40 years 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1FD1B34C-7AC1-3A3C-6BEF-1B1F43DC3EB9}"/>
              </a:ext>
            </a:extLst>
          </p:cNvPr>
          <p:cNvSpPr/>
          <p:nvPr/>
        </p:nvSpPr>
        <p:spPr>
          <a:xfrm flipH="1">
            <a:off x="6436348" y="2359048"/>
            <a:ext cx="2707652" cy="1149292"/>
          </a:xfrm>
          <a:prstGeom prst="rect">
            <a:avLst/>
          </a:prstGeom>
          <a:solidFill>
            <a:schemeClr val="accent4">
              <a:lumMod val="75000"/>
              <a:alpha val="10000"/>
            </a:schemeClr>
          </a:solidFill>
          <a:ln w="9525" cap="flat" cmpd="sng" algn="ctr">
            <a:noFill/>
            <a:prstDash val="solid"/>
            <a:miter lim="800000"/>
          </a:ln>
          <a:effectLst/>
        </p:spPr>
        <p:txBody>
          <a:bodyPr wrap="square" lIns="72000" tIns="72000" rIns="306000" bIns="72000" numCol="1" rtlCol="0" anchor="t" anchorCtr="0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1" i="0" u="none" strike="noStrike" kern="0" cap="none" spc="0" normalizeH="0" baseline="0" noProof="0" dirty="0">
                <a:ln>
                  <a:noFill/>
                </a:ln>
                <a:solidFill>
                  <a:schemeClr val="accent4">
                    <a:lumMod val="75000"/>
                  </a:schemeClr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t>Employer of choice </a:t>
            </a:r>
          </a:p>
          <a:p>
            <a:pPr marL="126000" marR="0" lvl="0" indent="-12600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>
                <a:schemeClr val="accent4">
                  <a:lumMod val="75000"/>
                </a:schemeClr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GB" sz="900" b="0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t>Comprehensive training and</a:t>
            </a:r>
            <a:br>
              <a:rPr kumimoji="0" lang="en-GB" sz="900" b="0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</a:br>
            <a:r>
              <a:rPr kumimoji="0" lang="en-GB" sz="900" b="0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t>development programmes</a:t>
            </a:r>
          </a:p>
          <a:p>
            <a:pPr marL="126000" marR="0" lvl="0" indent="-12600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>
                <a:schemeClr val="accent4">
                  <a:lumMod val="75000"/>
                </a:schemeClr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GB" sz="900" b="0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t>Measuring employee satisfaction</a:t>
            </a:r>
          </a:p>
          <a:p>
            <a:pPr marL="126000" marR="0" lvl="0" indent="-12600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>
                <a:schemeClr val="accent4">
                  <a:lumMod val="75000"/>
                </a:schemeClr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GB" sz="900" b="0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t>Promoting digital culture and shaping</a:t>
            </a:r>
            <a:br>
              <a:rPr kumimoji="0" lang="en-GB" sz="900" b="0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</a:br>
            <a:r>
              <a:rPr kumimoji="0" lang="en-GB" sz="900" b="0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t>new ways of working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3CCB77C3-4174-8931-715F-AFA4DF1BDD0F}"/>
              </a:ext>
            </a:extLst>
          </p:cNvPr>
          <p:cNvSpPr/>
          <p:nvPr/>
        </p:nvSpPr>
        <p:spPr>
          <a:xfrm flipH="1">
            <a:off x="3393248" y="3602096"/>
            <a:ext cx="1808730" cy="1149292"/>
          </a:xfrm>
          <a:prstGeom prst="rect">
            <a:avLst/>
          </a:prstGeom>
          <a:solidFill>
            <a:schemeClr val="accent4">
              <a:lumMod val="50000"/>
              <a:alpha val="10000"/>
            </a:schemeClr>
          </a:solidFill>
          <a:ln w="9525" cap="flat" cmpd="sng" algn="ctr">
            <a:noFill/>
            <a:prstDash val="solid"/>
            <a:miter lim="800000"/>
          </a:ln>
          <a:effectLst/>
        </p:spPr>
        <p:txBody>
          <a:bodyPr wrap="square" lIns="72000" tIns="72000" rIns="72000" bIns="72000" numCol="1" rtlCol="0" anchor="t" anchorCtr="0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1" i="0" u="none" strike="noStrike" kern="0" cap="none" spc="0" normalizeH="0" baseline="0" noProof="0" dirty="0">
                <a:ln>
                  <a:noFill/>
                </a:ln>
                <a:solidFill>
                  <a:schemeClr val="accent4">
                    <a:lumMod val="50000"/>
                  </a:schemeClr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t>ESG criteria in</a:t>
            </a:r>
            <a:br>
              <a:rPr kumimoji="0" lang="en-GB" sz="1000" b="1" i="0" u="none" strike="noStrike" kern="0" cap="none" spc="0" normalizeH="0" baseline="0" noProof="0" dirty="0">
                <a:ln>
                  <a:noFill/>
                </a:ln>
                <a:solidFill>
                  <a:schemeClr val="accent4">
                    <a:lumMod val="50000"/>
                  </a:schemeClr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</a:br>
            <a:r>
              <a:rPr kumimoji="0" lang="en-GB" sz="1000" b="1" i="0" u="none" strike="noStrike" kern="0" cap="none" spc="0" normalizeH="0" baseline="0" noProof="0" dirty="0">
                <a:ln>
                  <a:noFill/>
                </a:ln>
                <a:solidFill>
                  <a:schemeClr val="accent4">
                    <a:lumMod val="50000"/>
                  </a:schemeClr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t>BoM remuneration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t>ESG criteria relevant for </a:t>
            </a:r>
            <a:br>
              <a:rPr kumimoji="0" lang="en-GB" sz="900" b="0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</a:br>
            <a:r>
              <a:rPr kumimoji="0" lang="en-GB" sz="900" b="0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t>variable remuneration and </a:t>
            </a:r>
            <a:br>
              <a:rPr kumimoji="0" lang="en-GB" sz="900" b="0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</a:br>
            <a:r>
              <a:rPr kumimoji="0" lang="en-GB" sz="900" b="0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t>multi-year bonus.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2E8B6983-90B0-3CBC-5700-1FC6DD615C38}"/>
              </a:ext>
            </a:extLst>
          </p:cNvPr>
          <p:cNvSpPr/>
          <p:nvPr/>
        </p:nvSpPr>
        <p:spPr>
          <a:xfrm flipH="1">
            <a:off x="5292255" y="3602096"/>
            <a:ext cx="1808730" cy="1149292"/>
          </a:xfrm>
          <a:prstGeom prst="rect">
            <a:avLst/>
          </a:prstGeom>
          <a:solidFill>
            <a:schemeClr val="accent4">
              <a:lumMod val="50000"/>
              <a:alpha val="10000"/>
            </a:schemeClr>
          </a:solidFill>
          <a:ln w="9525" cap="flat" cmpd="sng" algn="ctr">
            <a:noFill/>
            <a:prstDash val="solid"/>
            <a:miter lim="800000"/>
          </a:ln>
          <a:effectLst/>
        </p:spPr>
        <p:txBody>
          <a:bodyPr wrap="square" lIns="72000" tIns="72000" rIns="72000" bIns="72000" numCol="1" rtlCol="0" anchor="t" anchorCtr="0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1" i="0" u="none" strike="noStrike" kern="0" cap="none" spc="0" normalizeH="0" baseline="0" noProof="0" dirty="0">
                <a:ln>
                  <a:noFill/>
                </a:ln>
                <a:solidFill>
                  <a:schemeClr val="accent4">
                    <a:lumMod val="50000"/>
                  </a:schemeClr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t>Sound ESG</a:t>
            </a:r>
            <a:br>
              <a:rPr kumimoji="0" lang="en-GB" sz="1000" b="1" i="0" u="none" strike="noStrike" kern="0" cap="none" spc="0" normalizeH="0" baseline="0" noProof="0" dirty="0">
                <a:ln>
                  <a:noFill/>
                </a:ln>
                <a:solidFill>
                  <a:schemeClr val="accent4">
                    <a:lumMod val="50000"/>
                  </a:schemeClr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</a:br>
            <a:r>
              <a:rPr kumimoji="0" lang="en-GB" sz="1000" b="1" i="0" u="none" strike="noStrike" kern="0" cap="none" spc="0" normalizeH="0" baseline="0" noProof="0" dirty="0">
                <a:ln>
                  <a:noFill/>
                </a:ln>
                <a:solidFill>
                  <a:schemeClr val="accent4">
                    <a:lumMod val="50000"/>
                  </a:schemeClr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t>governance ​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t>Board-Level “ESG Committee” and high- level “ESG Management Team” with top managers from different business fields.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12323EA9-9AED-1A1A-B878-B1879072E18A}"/>
              </a:ext>
            </a:extLst>
          </p:cNvPr>
          <p:cNvSpPr/>
          <p:nvPr/>
        </p:nvSpPr>
        <p:spPr>
          <a:xfrm flipH="1">
            <a:off x="7191260" y="3602096"/>
            <a:ext cx="1952740" cy="1149292"/>
          </a:xfrm>
          <a:prstGeom prst="rect">
            <a:avLst/>
          </a:prstGeom>
          <a:solidFill>
            <a:schemeClr val="accent4">
              <a:lumMod val="50000"/>
              <a:alpha val="10000"/>
            </a:schemeClr>
          </a:solidFill>
          <a:ln w="9525" cap="flat" cmpd="sng" algn="ctr">
            <a:noFill/>
            <a:prstDash val="solid"/>
            <a:miter lim="800000"/>
          </a:ln>
          <a:effectLst/>
        </p:spPr>
        <p:txBody>
          <a:bodyPr wrap="square" lIns="72000" tIns="72000" rIns="306000" bIns="72000" numCol="1" rtlCol="0" anchor="t" anchorCtr="0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1" i="0" u="none" strike="noStrike" kern="0" cap="none" spc="0" normalizeH="0" baseline="0" noProof="0" dirty="0">
                <a:ln>
                  <a:noFill/>
                </a:ln>
                <a:solidFill>
                  <a:schemeClr val="accent4">
                    <a:lumMod val="50000"/>
                  </a:schemeClr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t>Winner in</a:t>
            </a:r>
            <a:br>
              <a:rPr kumimoji="0" lang="en-GB" sz="1000" b="1" i="0" u="none" strike="noStrike" kern="0" cap="none" spc="0" normalizeH="0" baseline="0" noProof="0" dirty="0">
                <a:ln>
                  <a:noFill/>
                </a:ln>
                <a:solidFill>
                  <a:schemeClr val="accent4">
                    <a:lumMod val="50000"/>
                  </a:schemeClr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</a:br>
            <a:r>
              <a:rPr kumimoji="0" lang="en-GB" sz="1000" b="1" i="0" u="none" strike="noStrike" kern="0" cap="none" spc="0" normalizeH="0" baseline="0" noProof="0" dirty="0">
                <a:ln>
                  <a:noFill/>
                </a:ln>
                <a:solidFill>
                  <a:schemeClr val="accent4">
                    <a:lumMod val="50000"/>
                  </a:schemeClr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t>Governance Ranking 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t>“Excellent“ rating in the </a:t>
            </a:r>
            <a:br>
              <a:rPr kumimoji="0" lang="en-GB" sz="900" b="0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</a:br>
            <a:r>
              <a:rPr kumimoji="0" lang="en-GB" sz="900" b="0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t>2021 DVFA Scorecard for </a:t>
            </a:r>
            <a:br>
              <a:rPr kumimoji="0" lang="en-GB" sz="900" b="0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</a:br>
            <a:r>
              <a:rPr kumimoji="0" lang="en-GB" sz="900" b="0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t>Corporate Governance, </a:t>
            </a:r>
            <a:br>
              <a:rPr kumimoji="0" lang="en-GB" sz="900" b="0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</a:br>
            <a:r>
              <a:rPr kumimoji="0" lang="en-GB" sz="900" b="0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t>1</a:t>
            </a:r>
            <a:r>
              <a:rPr kumimoji="0" lang="en-GB" sz="900" b="0" i="0" u="none" strike="noStrike" kern="0" cap="none" spc="0" normalizeH="0" baseline="3000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t>st</a:t>
            </a:r>
            <a:r>
              <a:rPr kumimoji="0" lang="en-GB" sz="900" b="0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t> rank of DAX 40 companies.</a:t>
            </a:r>
          </a:p>
        </p:txBody>
      </p:sp>
      <p:sp>
        <p:nvSpPr>
          <p:cNvPr id="28" name="Rechteck 58">
            <a:extLst>
              <a:ext uri="{FF2B5EF4-FFF2-40B4-BE49-F238E27FC236}">
                <a16:creationId xmlns:a16="http://schemas.microsoft.com/office/drawing/2014/main" id="{6975A76D-7E86-2D47-DC27-3EA34FE6E5E5}"/>
              </a:ext>
            </a:extLst>
          </p:cNvPr>
          <p:cNvSpPr/>
          <p:nvPr/>
        </p:nvSpPr>
        <p:spPr>
          <a:xfrm>
            <a:off x="674610" y="2088718"/>
            <a:ext cx="888064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1" i="0" u="none" strike="noStrike" kern="0" cap="none" spc="0" normalizeH="0" baseline="0" noProof="0" dirty="0">
                <a:ln>
                  <a:noFill/>
                </a:ln>
                <a:solidFill>
                  <a:schemeClr val="accent2">
                    <a:lumMod val="75000"/>
                  </a:schemeClr>
                </a:solidFill>
                <a:effectLst/>
                <a:uLnTx/>
                <a:uFillTx/>
              </a:rPr>
              <a:t>Environmental</a:t>
            </a:r>
          </a:p>
        </p:txBody>
      </p:sp>
      <p:grpSp>
        <p:nvGrpSpPr>
          <p:cNvPr id="9" name="Gruppieren 8">
            <a:extLst>
              <a:ext uri="{FF2B5EF4-FFF2-40B4-BE49-F238E27FC236}">
                <a16:creationId xmlns:a16="http://schemas.microsoft.com/office/drawing/2014/main" id="{608BC743-858F-4566-61F9-DD733C11CBF4}"/>
              </a:ext>
            </a:extLst>
          </p:cNvPr>
          <p:cNvGrpSpPr/>
          <p:nvPr/>
        </p:nvGrpSpPr>
        <p:grpSpPr>
          <a:xfrm>
            <a:off x="916116" y="1622875"/>
            <a:ext cx="405062" cy="382908"/>
            <a:chOff x="916116" y="1622875"/>
            <a:chExt cx="405062" cy="382908"/>
          </a:xfrm>
        </p:grpSpPr>
        <p:grpSp>
          <p:nvGrpSpPr>
            <p:cNvPr id="30" name="Group 652">
              <a:extLst>
                <a:ext uri="{FF2B5EF4-FFF2-40B4-BE49-F238E27FC236}">
                  <a16:creationId xmlns:a16="http://schemas.microsoft.com/office/drawing/2014/main" id="{4A76747F-1A42-42D1-0668-849E1C828BF3}"/>
                </a:ext>
              </a:extLst>
            </p:cNvPr>
            <p:cNvGrpSpPr/>
            <p:nvPr/>
          </p:nvGrpSpPr>
          <p:grpSpPr>
            <a:xfrm>
              <a:off x="1066570" y="1622875"/>
              <a:ext cx="254608" cy="342530"/>
              <a:chOff x="2720187" y="1697301"/>
              <a:chExt cx="288500" cy="388125"/>
            </a:xfrm>
            <a:solidFill>
              <a:schemeClr val="accent2">
                <a:lumMod val="75000"/>
              </a:schemeClr>
            </a:solidFill>
          </p:grpSpPr>
          <p:sp>
            <p:nvSpPr>
              <p:cNvPr id="50" name="Freihandform: Form 358">
                <a:extLst>
                  <a:ext uri="{FF2B5EF4-FFF2-40B4-BE49-F238E27FC236}">
                    <a16:creationId xmlns:a16="http://schemas.microsoft.com/office/drawing/2014/main" id="{EBE540CD-3754-63F3-2804-E6A873EE7A7B}"/>
                  </a:ext>
                </a:extLst>
              </p:cNvPr>
              <p:cNvSpPr/>
              <p:nvPr/>
            </p:nvSpPr>
            <p:spPr>
              <a:xfrm>
                <a:off x="2720187" y="1697301"/>
                <a:ext cx="288500" cy="388125"/>
              </a:xfrm>
              <a:custGeom>
                <a:avLst/>
                <a:gdLst>
                  <a:gd name="connsiteX0" fmla="*/ 140469 w 288500"/>
                  <a:gd name="connsiteY0" fmla="*/ 388126 h 388125"/>
                  <a:gd name="connsiteX1" fmla="*/ 132379 w 288500"/>
                  <a:gd name="connsiteY1" fmla="*/ 387808 h 388125"/>
                  <a:gd name="connsiteX2" fmla="*/ 94689 w 288500"/>
                  <a:gd name="connsiteY2" fmla="*/ 362610 h 388125"/>
                  <a:gd name="connsiteX3" fmla="*/ 116890 w 288500"/>
                  <a:gd name="connsiteY3" fmla="*/ 270786 h 388125"/>
                  <a:gd name="connsiteX4" fmla="*/ 161396 w 288500"/>
                  <a:gd name="connsiteY4" fmla="*/ 171137 h 388125"/>
                  <a:gd name="connsiteX5" fmla="*/ 169035 w 288500"/>
                  <a:gd name="connsiteY5" fmla="*/ 165885 h 388125"/>
                  <a:gd name="connsiteX6" fmla="*/ 174287 w 288500"/>
                  <a:gd name="connsiteY6" fmla="*/ 173524 h 388125"/>
                  <a:gd name="connsiteX7" fmla="*/ 127738 w 288500"/>
                  <a:gd name="connsiteY7" fmla="*/ 278133 h 388125"/>
                  <a:gd name="connsiteX8" fmla="*/ 106652 w 288500"/>
                  <a:gd name="connsiteY8" fmla="*/ 357199 h 388125"/>
                  <a:gd name="connsiteX9" fmla="*/ 133891 w 288500"/>
                  <a:gd name="connsiteY9" fmla="*/ 374785 h 388125"/>
                  <a:gd name="connsiteX10" fmla="*/ 224496 w 288500"/>
                  <a:gd name="connsiteY10" fmla="*/ 343115 h 388125"/>
                  <a:gd name="connsiteX11" fmla="*/ 275368 w 288500"/>
                  <a:gd name="connsiteY11" fmla="*/ 191851 h 388125"/>
                  <a:gd name="connsiteX12" fmla="*/ 222321 w 288500"/>
                  <a:gd name="connsiteY12" fmla="*/ 47006 h 388125"/>
                  <a:gd name="connsiteX13" fmla="*/ 105856 w 288500"/>
                  <a:gd name="connsiteY13" fmla="*/ 14197 h 388125"/>
                  <a:gd name="connsiteX14" fmla="*/ 13103 w 288500"/>
                  <a:gd name="connsiteY14" fmla="*/ 138857 h 388125"/>
                  <a:gd name="connsiteX15" fmla="*/ 6552 w 288500"/>
                  <a:gd name="connsiteY15" fmla="*/ 145382 h 388125"/>
                  <a:gd name="connsiteX16" fmla="*/ 6525 w 288500"/>
                  <a:gd name="connsiteY16" fmla="*/ 145382 h 388125"/>
                  <a:gd name="connsiteX17" fmla="*/ 0 w 288500"/>
                  <a:gd name="connsiteY17" fmla="*/ 138804 h 388125"/>
                  <a:gd name="connsiteX18" fmla="*/ 104424 w 288500"/>
                  <a:gd name="connsiteY18" fmla="*/ 1147 h 388125"/>
                  <a:gd name="connsiteX19" fmla="*/ 230782 w 288500"/>
                  <a:gd name="connsiteY19" fmla="*/ 36927 h 388125"/>
                  <a:gd name="connsiteX20" fmla="*/ 288497 w 288500"/>
                  <a:gd name="connsiteY20" fmla="*/ 191745 h 388125"/>
                  <a:gd name="connsiteX21" fmla="*/ 233169 w 288500"/>
                  <a:gd name="connsiteY21" fmla="*/ 352903 h 388125"/>
                  <a:gd name="connsiteX22" fmla="*/ 140469 w 288500"/>
                  <a:gd name="connsiteY22" fmla="*/ 388126 h 3881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288500" h="388125">
                    <a:moveTo>
                      <a:pt x="140469" y="388126"/>
                    </a:moveTo>
                    <a:cubicBezTo>
                      <a:pt x="135774" y="388126"/>
                      <a:pt x="132857" y="387861"/>
                      <a:pt x="132379" y="387808"/>
                    </a:cubicBezTo>
                    <a:cubicBezTo>
                      <a:pt x="114078" y="385500"/>
                      <a:pt x="101108" y="376800"/>
                      <a:pt x="94689" y="362610"/>
                    </a:cubicBezTo>
                    <a:cubicBezTo>
                      <a:pt x="84478" y="340012"/>
                      <a:pt x="92568" y="306539"/>
                      <a:pt x="116890" y="270786"/>
                    </a:cubicBezTo>
                    <a:cubicBezTo>
                      <a:pt x="140920" y="235430"/>
                      <a:pt x="155482" y="202832"/>
                      <a:pt x="161396" y="171137"/>
                    </a:cubicBezTo>
                    <a:cubicBezTo>
                      <a:pt x="162059" y="167582"/>
                      <a:pt x="165428" y="165195"/>
                      <a:pt x="169035" y="165885"/>
                    </a:cubicBezTo>
                    <a:cubicBezTo>
                      <a:pt x="172589" y="166548"/>
                      <a:pt x="174950" y="169969"/>
                      <a:pt x="174287" y="173524"/>
                    </a:cubicBezTo>
                    <a:cubicBezTo>
                      <a:pt x="168027" y="207049"/>
                      <a:pt x="152803" y="241265"/>
                      <a:pt x="127738" y="278133"/>
                    </a:cubicBezTo>
                    <a:cubicBezTo>
                      <a:pt x="106360" y="309563"/>
                      <a:pt x="98482" y="339137"/>
                      <a:pt x="106652" y="357199"/>
                    </a:cubicBezTo>
                    <a:cubicBezTo>
                      <a:pt x="111161" y="367172"/>
                      <a:pt x="120311" y="373087"/>
                      <a:pt x="133891" y="374785"/>
                    </a:cubicBezTo>
                    <a:cubicBezTo>
                      <a:pt x="134236" y="374838"/>
                      <a:pt x="184525" y="379400"/>
                      <a:pt x="224496" y="343115"/>
                    </a:cubicBezTo>
                    <a:cubicBezTo>
                      <a:pt x="258526" y="312215"/>
                      <a:pt x="275633" y="261317"/>
                      <a:pt x="275368" y="191851"/>
                    </a:cubicBezTo>
                    <a:cubicBezTo>
                      <a:pt x="275103" y="125808"/>
                      <a:pt x="257279" y="77084"/>
                      <a:pt x="222321" y="47006"/>
                    </a:cubicBezTo>
                    <a:cubicBezTo>
                      <a:pt x="173358" y="4860"/>
                      <a:pt x="106519" y="14117"/>
                      <a:pt x="105856" y="14197"/>
                    </a:cubicBezTo>
                    <a:cubicBezTo>
                      <a:pt x="101639" y="14541"/>
                      <a:pt x="13474" y="22923"/>
                      <a:pt x="13103" y="138857"/>
                    </a:cubicBezTo>
                    <a:cubicBezTo>
                      <a:pt x="13103" y="142465"/>
                      <a:pt x="10159" y="145382"/>
                      <a:pt x="6552" y="145382"/>
                    </a:cubicBezTo>
                    <a:cubicBezTo>
                      <a:pt x="6552" y="145382"/>
                      <a:pt x="6552" y="145382"/>
                      <a:pt x="6525" y="145382"/>
                    </a:cubicBezTo>
                    <a:cubicBezTo>
                      <a:pt x="2891" y="145382"/>
                      <a:pt x="-26" y="142411"/>
                      <a:pt x="0" y="138804"/>
                    </a:cubicBezTo>
                    <a:cubicBezTo>
                      <a:pt x="425" y="10457"/>
                      <a:pt x="103389" y="1226"/>
                      <a:pt x="104424" y="1147"/>
                    </a:cubicBezTo>
                    <a:cubicBezTo>
                      <a:pt x="106890" y="749"/>
                      <a:pt x="177204" y="-9091"/>
                      <a:pt x="230782" y="36927"/>
                    </a:cubicBezTo>
                    <a:cubicBezTo>
                      <a:pt x="268790" y="69578"/>
                      <a:pt x="288205" y="121670"/>
                      <a:pt x="288497" y="191745"/>
                    </a:cubicBezTo>
                    <a:cubicBezTo>
                      <a:pt x="288789" y="265189"/>
                      <a:pt x="270169" y="319430"/>
                      <a:pt x="233169" y="352903"/>
                    </a:cubicBezTo>
                    <a:cubicBezTo>
                      <a:pt x="198290" y="384439"/>
                      <a:pt x="157550" y="388126"/>
                      <a:pt x="140469" y="388126"/>
                    </a:cubicBezTo>
                    <a:close/>
                  </a:path>
                </a:pathLst>
              </a:custGeom>
              <a:grpFill/>
              <a:ln w="26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51" name="Freihandform: Form 357">
                <a:extLst>
                  <a:ext uri="{FF2B5EF4-FFF2-40B4-BE49-F238E27FC236}">
                    <a16:creationId xmlns:a16="http://schemas.microsoft.com/office/drawing/2014/main" id="{D1F75D54-E381-F60A-DB48-9C40B8EA02AF}"/>
                  </a:ext>
                </a:extLst>
              </p:cNvPr>
              <p:cNvSpPr/>
              <p:nvPr/>
            </p:nvSpPr>
            <p:spPr>
              <a:xfrm>
                <a:off x="2766134" y="1773791"/>
                <a:ext cx="172443" cy="258883"/>
              </a:xfrm>
              <a:custGeom>
                <a:avLst/>
                <a:gdLst>
                  <a:gd name="connsiteX0" fmla="*/ 68636 w 172443"/>
                  <a:gd name="connsiteY0" fmla="*/ 258883 h 258883"/>
                  <a:gd name="connsiteX1" fmla="*/ 51847 w 172443"/>
                  <a:gd name="connsiteY1" fmla="*/ 257557 h 258883"/>
                  <a:gd name="connsiteX2" fmla="*/ 49990 w 172443"/>
                  <a:gd name="connsiteY2" fmla="*/ 257133 h 258883"/>
                  <a:gd name="connsiteX3" fmla="*/ 48770 w 172443"/>
                  <a:gd name="connsiteY3" fmla="*/ 256708 h 258883"/>
                  <a:gd name="connsiteX4" fmla="*/ 1478 w 172443"/>
                  <a:gd name="connsiteY4" fmla="*/ 203316 h 258883"/>
                  <a:gd name="connsiteX5" fmla="*/ 23254 w 172443"/>
                  <a:gd name="connsiteY5" fmla="*/ 135681 h 258883"/>
                  <a:gd name="connsiteX6" fmla="*/ 23732 w 172443"/>
                  <a:gd name="connsiteY6" fmla="*/ 135151 h 258883"/>
                  <a:gd name="connsiteX7" fmla="*/ 122665 w 172443"/>
                  <a:gd name="connsiteY7" fmla="*/ 7334 h 258883"/>
                  <a:gd name="connsiteX8" fmla="*/ 126696 w 172443"/>
                  <a:gd name="connsiteY8" fmla="*/ 491 h 258883"/>
                  <a:gd name="connsiteX9" fmla="*/ 134362 w 172443"/>
                  <a:gd name="connsiteY9" fmla="*/ 2559 h 258883"/>
                  <a:gd name="connsiteX10" fmla="*/ 170036 w 172443"/>
                  <a:gd name="connsiteY10" fmla="*/ 85711 h 258883"/>
                  <a:gd name="connsiteX11" fmla="*/ 170036 w 172443"/>
                  <a:gd name="connsiteY11" fmla="*/ 85711 h 258883"/>
                  <a:gd name="connsiteX12" fmla="*/ 131842 w 172443"/>
                  <a:gd name="connsiteY12" fmla="*/ 232678 h 258883"/>
                  <a:gd name="connsiteX13" fmla="*/ 68636 w 172443"/>
                  <a:gd name="connsiteY13" fmla="*/ 258883 h 258883"/>
                  <a:gd name="connsiteX14" fmla="*/ 53677 w 172443"/>
                  <a:gd name="connsiteY14" fmla="*/ 244561 h 258883"/>
                  <a:gd name="connsiteX15" fmla="*/ 54340 w 172443"/>
                  <a:gd name="connsiteY15" fmla="*/ 244720 h 258883"/>
                  <a:gd name="connsiteX16" fmla="*/ 122505 w 172443"/>
                  <a:gd name="connsiteY16" fmla="*/ 223474 h 258883"/>
                  <a:gd name="connsiteX17" fmla="*/ 157092 w 172443"/>
                  <a:gd name="connsiteY17" fmla="*/ 87912 h 258883"/>
                  <a:gd name="connsiteX18" fmla="*/ 157092 w 172443"/>
                  <a:gd name="connsiteY18" fmla="*/ 87912 h 258883"/>
                  <a:gd name="connsiteX19" fmla="*/ 131762 w 172443"/>
                  <a:gd name="connsiteY19" fmla="*/ 22266 h 258883"/>
                  <a:gd name="connsiteX20" fmla="*/ 33121 w 172443"/>
                  <a:gd name="connsiteY20" fmla="*/ 144328 h 258883"/>
                  <a:gd name="connsiteX21" fmla="*/ 14236 w 172443"/>
                  <a:gd name="connsiteY21" fmla="*/ 200425 h 258883"/>
                  <a:gd name="connsiteX22" fmla="*/ 53677 w 172443"/>
                  <a:gd name="connsiteY22" fmla="*/ 244561 h 2588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172443" h="258883">
                    <a:moveTo>
                      <a:pt x="68636" y="258883"/>
                    </a:moveTo>
                    <a:cubicBezTo>
                      <a:pt x="63172" y="258883"/>
                      <a:pt x="57576" y="258432"/>
                      <a:pt x="51847" y="257557"/>
                    </a:cubicBezTo>
                    <a:lnTo>
                      <a:pt x="49990" y="257133"/>
                    </a:lnTo>
                    <a:cubicBezTo>
                      <a:pt x="49566" y="257027"/>
                      <a:pt x="49168" y="256894"/>
                      <a:pt x="48770" y="256708"/>
                    </a:cubicBezTo>
                    <a:cubicBezTo>
                      <a:pt x="47179" y="255966"/>
                      <a:pt x="9488" y="238275"/>
                      <a:pt x="1478" y="203316"/>
                    </a:cubicBezTo>
                    <a:cubicBezTo>
                      <a:pt x="-3428" y="181885"/>
                      <a:pt x="3892" y="159128"/>
                      <a:pt x="23254" y="135681"/>
                    </a:cubicBezTo>
                    <a:cubicBezTo>
                      <a:pt x="23413" y="135496"/>
                      <a:pt x="23573" y="135310"/>
                      <a:pt x="23732" y="135151"/>
                    </a:cubicBezTo>
                    <a:cubicBezTo>
                      <a:pt x="121683" y="39878"/>
                      <a:pt x="122718" y="7625"/>
                      <a:pt x="122665" y="7334"/>
                    </a:cubicBezTo>
                    <a:cubicBezTo>
                      <a:pt x="122320" y="4416"/>
                      <a:pt x="123964" y="1605"/>
                      <a:pt x="126696" y="491"/>
                    </a:cubicBezTo>
                    <a:cubicBezTo>
                      <a:pt x="129428" y="-623"/>
                      <a:pt x="132558" y="199"/>
                      <a:pt x="134362" y="2559"/>
                    </a:cubicBezTo>
                    <a:cubicBezTo>
                      <a:pt x="135502" y="4018"/>
                      <a:pt x="162105" y="38870"/>
                      <a:pt x="170036" y="85711"/>
                    </a:cubicBezTo>
                    <a:lnTo>
                      <a:pt x="170036" y="85711"/>
                    </a:lnTo>
                    <a:cubicBezTo>
                      <a:pt x="177807" y="131623"/>
                      <a:pt x="167198" y="196845"/>
                      <a:pt x="131842" y="232678"/>
                    </a:cubicBezTo>
                    <a:cubicBezTo>
                      <a:pt x="114761" y="249998"/>
                      <a:pt x="93144" y="258883"/>
                      <a:pt x="68636" y="258883"/>
                    </a:cubicBezTo>
                    <a:close/>
                    <a:moveTo>
                      <a:pt x="53677" y="244561"/>
                    </a:moveTo>
                    <a:lnTo>
                      <a:pt x="54340" y="244720"/>
                    </a:lnTo>
                    <a:cubicBezTo>
                      <a:pt x="81341" y="248910"/>
                      <a:pt x="104443" y="241776"/>
                      <a:pt x="122505" y="223474"/>
                    </a:cubicBezTo>
                    <a:cubicBezTo>
                      <a:pt x="154413" y="191142"/>
                      <a:pt x="164147" y="129475"/>
                      <a:pt x="157092" y="87912"/>
                    </a:cubicBezTo>
                    <a:lnTo>
                      <a:pt x="157092" y="87912"/>
                    </a:lnTo>
                    <a:cubicBezTo>
                      <a:pt x="152318" y="59665"/>
                      <a:pt x="139958" y="35740"/>
                      <a:pt x="131762" y="22266"/>
                    </a:cubicBezTo>
                    <a:cubicBezTo>
                      <a:pt x="123858" y="41337"/>
                      <a:pt x="100571" y="78682"/>
                      <a:pt x="33121" y="144328"/>
                    </a:cubicBezTo>
                    <a:cubicBezTo>
                      <a:pt x="16650" y="164353"/>
                      <a:pt x="10311" y="183238"/>
                      <a:pt x="14236" y="200425"/>
                    </a:cubicBezTo>
                    <a:cubicBezTo>
                      <a:pt x="20363" y="227135"/>
                      <a:pt x="49380" y="242412"/>
                      <a:pt x="53677" y="244561"/>
                    </a:cubicBezTo>
                    <a:close/>
                  </a:path>
                </a:pathLst>
              </a:custGeom>
              <a:grpFill/>
              <a:ln w="26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</p:grpSp>
        <p:grpSp>
          <p:nvGrpSpPr>
            <p:cNvPr id="31" name="Group 653">
              <a:extLst>
                <a:ext uri="{FF2B5EF4-FFF2-40B4-BE49-F238E27FC236}">
                  <a16:creationId xmlns:a16="http://schemas.microsoft.com/office/drawing/2014/main" id="{DF9B76F4-0E35-6B5F-8AB5-A74DA9556283}"/>
                </a:ext>
              </a:extLst>
            </p:cNvPr>
            <p:cNvGrpSpPr/>
            <p:nvPr/>
          </p:nvGrpSpPr>
          <p:grpSpPr>
            <a:xfrm>
              <a:off x="916116" y="1739614"/>
              <a:ext cx="243011" cy="266169"/>
              <a:chOff x="2549695" y="1829563"/>
              <a:chExt cx="275359" cy="301596"/>
            </a:xfrm>
            <a:solidFill>
              <a:schemeClr val="tx2"/>
            </a:solidFill>
          </p:grpSpPr>
          <p:grpSp>
            <p:nvGrpSpPr>
              <p:cNvPr id="32" name="Grafik 228">
                <a:extLst>
                  <a:ext uri="{FF2B5EF4-FFF2-40B4-BE49-F238E27FC236}">
                    <a16:creationId xmlns:a16="http://schemas.microsoft.com/office/drawing/2014/main" id="{57C59B77-C8C6-E0C6-CCEE-12550C865270}"/>
                  </a:ext>
                </a:extLst>
              </p:cNvPr>
              <p:cNvGrpSpPr/>
              <p:nvPr/>
            </p:nvGrpSpPr>
            <p:grpSpPr>
              <a:xfrm>
                <a:off x="2628357" y="1829563"/>
                <a:ext cx="196697" cy="301596"/>
                <a:chOff x="2628364" y="1829583"/>
                <a:chExt cx="196698" cy="301599"/>
              </a:xfrm>
              <a:grpFill/>
            </p:grpSpPr>
            <p:grpSp>
              <p:nvGrpSpPr>
                <p:cNvPr id="35" name="Grafik 228">
                  <a:extLst>
                    <a:ext uri="{FF2B5EF4-FFF2-40B4-BE49-F238E27FC236}">
                      <a16:creationId xmlns:a16="http://schemas.microsoft.com/office/drawing/2014/main" id="{8BAEA421-A27E-EFB8-1A00-9FC46A47BC19}"/>
                    </a:ext>
                  </a:extLst>
                </p:cNvPr>
                <p:cNvGrpSpPr/>
                <p:nvPr/>
              </p:nvGrpSpPr>
              <p:grpSpPr>
                <a:xfrm>
                  <a:off x="2628364" y="1829583"/>
                  <a:ext cx="196698" cy="301599"/>
                  <a:chOff x="2628364" y="1829583"/>
                  <a:chExt cx="196698" cy="301599"/>
                </a:xfrm>
                <a:grpFill/>
              </p:grpSpPr>
              <p:sp>
                <p:nvSpPr>
                  <p:cNvPr id="48" name="Freihandform: Form 362">
                    <a:extLst>
                      <a:ext uri="{FF2B5EF4-FFF2-40B4-BE49-F238E27FC236}">
                        <a16:creationId xmlns:a16="http://schemas.microsoft.com/office/drawing/2014/main" id="{0115DA79-4896-780D-DF27-29B0DBF6AF48}"/>
                      </a:ext>
                    </a:extLst>
                  </p:cNvPr>
                  <p:cNvSpPr/>
                  <p:nvPr/>
                </p:nvSpPr>
                <p:spPr>
                  <a:xfrm>
                    <a:off x="2628364" y="1862366"/>
                    <a:ext cx="196698" cy="268816"/>
                  </a:xfrm>
                  <a:custGeom>
                    <a:avLst/>
                    <a:gdLst>
                      <a:gd name="connsiteX0" fmla="*/ 190148 w 196698"/>
                      <a:gd name="connsiteY0" fmla="*/ 268816 h 268816"/>
                      <a:gd name="connsiteX1" fmla="*/ 6551 w 196698"/>
                      <a:gd name="connsiteY1" fmla="*/ 268816 h 268816"/>
                      <a:gd name="connsiteX2" fmla="*/ 0 w 196698"/>
                      <a:gd name="connsiteY2" fmla="*/ 262265 h 268816"/>
                      <a:gd name="connsiteX3" fmla="*/ 0 w 196698"/>
                      <a:gd name="connsiteY3" fmla="*/ 6551 h 268816"/>
                      <a:gd name="connsiteX4" fmla="*/ 6551 w 196698"/>
                      <a:gd name="connsiteY4" fmla="*/ 0 h 268816"/>
                      <a:gd name="connsiteX5" fmla="*/ 183596 w 196698"/>
                      <a:gd name="connsiteY5" fmla="*/ 0 h 268816"/>
                      <a:gd name="connsiteX6" fmla="*/ 183596 w 196698"/>
                      <a:gd name="connsiteY6" fmla="*/ 13103 h 268816"/>
                      <a:gd name="connsiteX7" fmla="*/ 13129 w 196698"/>
                      <a:gd name="connsiteY7" fmla="*/ 13103 h 268816"/>
                      <a:gd name="connsiteX8" fmla="*/ 13129 w 196698"/>
                      <a:gd name="connsiteY8" fmla="*/ 255714 h 268816"/>
                      <a:gd name="connsiteX9" fmla="*/ 183596 w 196698"/>
                      <a:gd name="connsiteY9" fmla="*/ 255714 h 268816"/>
                      <a:gd name="connsiteX10" fmla="*/ 183596 w 196698"/>
                      <a:gd name="connsiteY10" fmla="*/ 222931 h 268816"/>
                      <a:gd name="connsiteX11" fmla="*/ 196699 w 196698"/>
                      <a:gd name="connsiteY11" fmla="*/ 236033 h 268816"/>
                      <a:gd name="connsiteX12" fmla="*/ 196699 w 196698"/>
                      <a:gd name="connsiteY12" fmla="*/ 262265 h 268816"/>
                      <a:gd name="connsiteX13" fmla="*/ 190148 w 196698"/>
                      <a:gd name="connsiteY13" fmla="*/ 268816 h 26881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</a:cxnLst>
                    <a:rect l="l" t="t" r="r" b="b"/>
                    <a:pathLst>
                      <a:path w="196698" h="268816">
                        <a:moveTo>
                          <a:pt x="190148" y="268816"/>
                        </a:moveTo>
                        <a:lnTo>
                          <a:pt x="6551" y="268816"/>
                        </a:lnTo>
                        <a:cubicBezTo>
                          <a:pt x="2918" y="268816"/>
                          <a:pt x="0" y="265872"/>
                          <a:pt x="0" y="262265"/>
                        </a:cubicBezTo>
                        <a:lnTo>
                          <a:pt x="0" y="6551"/>
                        </a:lnTo>
                        <a:cubicBezTo>
                          <a:pt x="0" y="2918"/>
                          <a:pt x="2944" y="0"/>
                          <a:pt x="6551" y="0"/>
                        </a:cubicBezTo>
                        <a:lnTo>
                          <a:pt x="183596" y="0"/>
                        </a:lnTo>
                        <a:lnTo>
                          <a:pt x="183596" y="13103"/>
                        </a:lnTo>
                        <a:lnTo>
                          <a:pt x="13129" y="13103"/>
                        </a:lnTo>
                        <a:lnTo>
                          <a:pt x="13129" y="255714"/>
                        </a:lnTo>
                        <a:lnTo>
                          <a:pt x="183596" y="255714"/>
                        </a:lnTo>
                        <a:lnTo>
                          <a:pt x="183596" y="222931"/>
                        </a:lnTo>
                        <a:lnTo>
                          <a:pt x="196699" y="236033"/>
                        </a:lnTo>
                        <a:lnTo>
                          <a:pt x="196699" y="262265"/>
                        </a:lnTo>
                        <a:cubicBezTo>
                          <a:pt x="196699" y="265899"/>
                          <a:pt x="193755" y="268816"/>
                          <a:pt x="190148" y="268816"/>
                        </a:cubicBezTo>
                        <a:close/>
                      </a:path>
                    </a:pathLst>
                  </a:custGeom>
                  <a:grpFill/>
                  <a:ln w="2651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49" name="Freihandform: Form 363">
                    <a:extLst>
                      <a:ext uri="{FF2B5EF4-FFF2-40B4-BE49-F238E27FC236}">
                        <a16:creationId xmlns:a16="http://schemas.microsoft.com/office/drawing/2014/main" id="{59E7CB9D-28DE-CEB0-61A0-D394085B2F59}"/>
                      </a:ext>
                    </a:extLst>
                  </p:cNvPr>
                  <p:cNvSpPr/>
                  <p:nvPr/>
                </p:nvSpPr>
                <p:spPr>
                  <a:xfrm>
                    <a:off x="2654595" y="1829583"/>
                    <a:ext cx="144235" cy="45885"/>
                  </a:xfrm>
                  <a:custGeom>
                    <a:avLst/>
                    <a:gdLst>
                      <a:gd name="connsiteX0" fmla="*/ 137684 w 144235"/>
                      <a:gd name="connsiteY0" fmla="*/ 45886 h 45885"/>
                      <a:gd name="connsiteX1" fmla="*/ 6551 w 144235"/>
                      <a:gd name="connsiteY1" fmla="*/ 45886 h 45885"/>
                      <a:gd name="connsiteX2" fmla="*/ 0 w 144235"/>
                      <a:gd name="connsiteY2" fmla="*/ 39334 h 45885"/>
                      <a:gd name="connsiteX3" fmla="*/ 0 w 144235"/>
                      <a:gd name="connsiteY3" fmla="*/ 6551 h 45885"/>
                      <a:gd name="connsiteX4" fmla="*/ 6551 w 144235"/>
                      <a:gd name="connsiteY4" fmla="*/ 0 h 45885"/>
                      <a:gd name="connsiteX5" fmla="*/ 137684 w 144235"/>
                      <a:gd name="connsiteY5" fmla="*/ 0 h 45885"/>
                      <a:gd name="connsiteX6" fmla="*/ 144235 w 144235"/>
                      <a:gd name="connsiteY6" fmla="*/ 6551 h 45885"/>
                      <a:gd name="connsiteX7" fmla="*/ 144235 w 144235"/>
                      <a:gd name="connsiteY7" fmla="*/ 39334 h 45885"/>
                      <a:gd name="connsiteX8" fmla="*/ 137684 w 144235"/>
                      <a:gd name="connsiteY8" fmla="*/ 45886 h 45885"/>
                      <a:gd name="connsiteX9" fmla="*/ 13103 w 144235"/>
                      <a:gd name="connsiteY9" fmla="*/ 32783 h 45885"/>
                      <a:gd name="connsiteX10" fmla="*/ 131133 w 144235"/>
                      <a:gd name="connsiteY10" fmla="*/ 32783 h 45885"/>
                      <a:gd name="connsiteX11" fmla="*/ 131133 w 144235"/>
                      <a:gd name="connsiteY11" fmla="*/ 13103 h 45885"/>
                      <a:gd name="connsiteX12" fmla="*/ 13103 w 144235"/>
                      <a:gd name="connsiteY12" fmla="*/ 13103 h 45885"/>
                      <a:gd name="connsiteX13" fmla="*/ 13103 w 144235"/>
                      <a:gd name="connsiteY13" fmla="*/ 32783 h 4588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</a:cxnLst>
                    <a:rect l="l" t="t" r="r" b="b"/>
                    <a:pathLst>
                      <a:path w="144235" h="45885">
                        <a:moveTo>
                          <a:pt x="137684" y="45886"/>
                        </a:moveTo>
                        <a:lnTo>
                          <a:pt x="6551" y="45886"/>
                        </a:lnTo>
                        <a:cubicBezTo>
                          <a:pt x="2918" y="45886"/>
                          <a:pt x="0" y="42942"/>
                          <a:pt x="0" y="39334"/>
                        </a:cubicBezTo>
                        <a:lnTo>
                          <a:pt x="0" y="6551"/>
                        </a:lnTo>
                        <a:cubicBezTo>
                          <a:pt x="0" y="2918"/>
                          <a:pt x="2944" y="0"/>
                          <a:pt x="6551" y="0"/>
                        </a:cubicBezTo>
                        <a:lnTo>
                          <a:pt x="137684" y="0"/>
                        </a:lnTo>
                        <a:cubicBezTo>
                          <a:pt x="141318" y="0"/>
                          <a:pt x="144235" y="2944"/>
                          <a:pt x="144235" y="6551"/>
                        </a:cubicBezTo>
                        <a:lnTo>
                          <a:pt x="144235" y="39334"/>
                        </a:lnTo>
                        <a:cubicBezTo>
                          <a:pt x="144235" y="42968"/>
                          <a:pt x="141291" y="45886"/>
                          <a:pt x="137684" y="45886"/>
                        </a:cubicBezTo>
                        <a:close/>
                        <a:moveTo>
                          <a:pt x="13103" y="32783"/>
                        </a:moveTo>
                        <a:lnTo>
                          <a:pt x="131133" y="32783"/>
                        </a:lnTo>
                        <a:lnTo>
                          <a:pt x="131133" y="13103"/>
                        </a:lnTo>
                        <a:lnTo>
                          <a:pt x="13103" y="13103"/>
                        </a:lnTo>
                        <a:lnTo>
                          <a:pt x="13103" y="32783"/>
                        </a:lnTo>
                        <a:close/>
                      </a:path>
                    </a:pathLst>
                  </a:custGeom>
                  <a:grpFill/>
                  <a:ln w="2651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</a:endParaRPr>
                  </a:p>
                </p:txBody>
              </p:sp>
            </p:grpSp>
            <p:grpSp>
              <p:nvGrpSpPr>
                <p:cNvPr id="36" name="Grafik 228">
                  <a:extLst>
                    <a:ext uri="{FF2B5EF4-FFF2-40B4-BE49-F238E27FC236}">
                      <a16:creationId xmlns:a16="http://schemas.microsoft.com/office/drawing/2014/main" id="{F10EA8CF-AEB3-50F4-8325-45701245C9F5}"/>
                    </a:ext>
                  </a:extLst>
                </p:cNvPr>
                <p:cNvGrpSpPr/>
                <p:nvPr/>
              </p:nvGrpSpPr>
              <p:grpSpPr>
                <a:xfrm>
                  <a:off x="2661147" y="1901701"/>
                  <a:ext cx="118003" cy="13129"/>
                  <a:chOff x="2661147" y="1901701"/>
                  <a:chExt cx="118003" cy="13129"/>
                </a:xfrm>
                <a:grpFill/>
              </p:grpSpPr>
              <p:sp>
                <p:nvSpPr>
                  <p:cNvPr id="46" name="Freihandform: Form 365">
                    <a:extLst>
                      <a:ext uri="{FF2B5EF4-FFF2-40B4-BE49-F238E27FC236}">
                        <a16:creationId xmlns:a16="http://schemas.microsoft.com/office/drawing/2014/main" id="{C26F88FA-5E34-F9BE-DCE6-C55E2C6541A4}"/>
                      </a:ext>
                    </a:extLst>
                  </p:cNvPr>
                  <p:cNvSpPr/>
                  <p:nvPr/>
                </p:nvSpPr>
                <p:spPr>
                  <a:xfrm>
                    <a:off x="2661147" y="1901701"/>
                    <a:ext cx="45885" cy="13102"/>
                  </a:xfrm>
                  <a:custGeom>
                    <a:avLst/>
                    <a:gdLst>
                      <a:gd name="connsiteX0" fmla="*/ 0 w 45885"/>
                      <a:gd name="connsiteY0" fmla="*/ 0 h 13102"/>
                      <a:gd name="connsiteX1" fmla="*/ 45886 w 45885"/>
                      <a:gd name="connsiteY1" fmla="*/ 0 h 13102"/>
                      <a:gd name="connsiteX2" fmla="*/ 45886 w 45885"/>
                      <a:gd name="connsiteY2" fmla="*/ 13103 h 13102"/>
                      <a:gd name="connsiteX3" fmla="*/ 0 w 45885"/>
                      <a:gd name="connsiteY3" fmla="*/ 13103 h 1310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45885" h="13102">
                        <a:moveTo>
                          <a:pt x="0" y="0"/>
                        </a:moveTo>
                        <a:lnTo>
                          <a:pt x="45886" y="0"/>
                        </a:lnTo>
                        <a:lnTo>
                          <a:pt x="45886" y="13103"/>
                        </a:lnTo>
                        <a:lnTo>
                          <a:pt x="0" y="13103"/>
                        </a:lnTo>
                        <a:close/>
                      </a:path>
                    </a:pathLst>
                  </a:custGeom>
                  <a:grpFill/>
                  <a:ln w="2651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47" name="Freihandform: Form 366">
                    <a:extLst>
                      <a:ext uri="{FF2B5EF4-FFF2-40B4-BE49-F238E27FC236}">
                        <a16:creationId xmlns:a16="http://schemas.microsoft.com/office/drawing/2014/main" id="{13CD1D80-211C-B93B-0F14-63346E1AA28B}"/>
                      </a:ext>
                    </a:extLst>
                  </p:cNvPr>
                  <p:cNvSpPr/>
                  <p:nvPr/>
                </p:nvSpPr>
                <p:spPr>
                  <a:xfrm>
                    <a:off x="2746367" y="1901701"/>
                    <a:ext cx="32783" cy="13129"/>
                  </a:xfrm>
                  <a:custGeom>
                    <a:avLst/>
                    <a:gdLst>
                      <a:gd name="connsiteX0" fmla="*/ 19680 w 32783"/>
                      <a:gd name="connsiteY0" fmla="*/ 13129 h 13129"/>
                      <a:gd name="connsiteX1" fmla="*/ 0 w 32783"/>
                      <a:gd name="connsiteY1" fmla="*/ 13129 h 13129"/>
                      <a:gd name="connsiteX2" fmla="*/ 0 w 32783"/>
                      <a:gd name="connsiteY2" fmla="*/ 0 h 13129"/>
                      <a:gd name="connsiteX3" fmla="*/ 32783 w 32783"/>
                      <a:gd name="connsiteY3" fmla="*/ 0 h 1312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32783" h="13129">
                        <a:moveTo>
                          <a:pt x="19680" y="13129"/>
                        </a:moveTo>
                        <a:lnTo>
                          <a:pt x="0" y="13129"/>
                        </a:lnTo>
                        <a:lnTo>
                          <a:pt x="0" y="0"/>
                        </a:lnTo>
                        <a:lnTo>
                          <a:pt x="32783" y="0"/>
                        </a:lnTo>
                        <a:close/>
                      </a:path>
                    </a:pathLst>
                  </a:custGeom>
                  <a:grpFill/>
                  <a:ln w="2651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</a:endParaRPr>
                  </a:p>
                </p:txBody>
              </p:sp>
            </p:grpSp>
            <p:grpSp>
              <p:nvGrpSpPr>
                <p:cNvPr id="37" name="Grafik 228">
                  <a:extLst>
                    <a:ext uri="{FF2B5EF4-FFF2-40B4-BE49-F238E27FC236}">
                      <a16:creationId xmlns:a16="http://schemas.microsoft.com/office/drawing/2014/main" id="{5731C69A-EAB5-93FA-8B60-D910DC0EE48D}"/>
                    </a:ext>
                  </a:extLst>
                </p:cNvPr>
                <p:cNvGrpSpPr/>
                <p:nvPr/>
              </p:nvGrpSpPr>
              <p:grpSpPr>
                <a:xfrm>
                  <a:off x="2661147" y="1941035"/>
                  <a:ext cx="111452" cy="13102"/>
                  <a:chOff x="2661147" y="1941035"/>
                  <a:chExt cx="111452" cy="13102"/>
                </a:xfrm>
                <a:grpFill/>
              </p:grpSpPr>
              <p:sp>
                <p:nvSpPr>
                  <p:cNvPr id="44" name="Freihandform: Form 368">
                    <a:extLst>
                      <a:ext uri="{FF2B5EF4-FFF2-40B4-BE49-F238E27FC236}">
                        <a16:creationId xmlns:a16="http://schemas.microsoft.com/office/drawing/2014/main" id="{4A412D4F-19C6-89EA-C0D8-CBAE5C8CB439}"/>
                      </a:ext>
                    </a:extLst>
                  </p:cNvPr>
                  <p:cNvSpPr/>
                  <p:nvPr/>
                </p:nvSpPr>
                <p:spPr>
                  <a:xfrm>
                    <a:off x="2661147" y="1941035"/>
                    <a:ext cx="45885" cy="13102"/>
                  </a:xfrm>
                  <a:custGeom>
                    <a:avLst/>
                    <a:gdLst>
                      <a:gd name="connsiteX0" fmla="*/ 0 w 45885"/>
                      <a:gd name="connsiteY0" fmla="*/ 0 h 13102"/>
                      <a:gd name="connsiteX1" fmla="*/ 45886 w 45885"/>
                      <a:gd name="connsiteY1" fmla="*/ 0 h 13102"/>
                      <a:gd name="connsiteX2" fmla="*/ 45886 w 45885"/>
                      <a:gd name="connsiteY2" fmla="*/ 13103 h 13102"/>
                      <a:gd name="connsiteX3" fmla="*/ 0 w 45885"/>
                      <a:gd name="connsiteY3" fmla="*/ 13103 h 1310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45885" h="13102">
                        <a:moveTo>
                          <a:pt x="0" y="0"/>
                        </a:moveTo>
                        <a:lnTo>
                          <a:pt x="45886" y="0"/>
                        </a:lnTo>
                        <a:lnTo>
                          <a:pt x="45886" y="13103"/>
                        </a:lnTo>
                        <a:lnTo>
                          <a:pt x="0" y="13103"/>
                        </a:lnTo>
                        <a:close/>
                      </a:path>
                    </a:pathLst>
                  </a:custGeom>
                  <a:grpFill/>
                  <a:ln w="2651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45" name="Freihandform: Form 369">
                    <a:extLst>
                      <a:ext uri="{FF2B5EF4-FFF2-40B4-BE49-F238E27FC236}">
                        <a16:creationId xmlns:a16="http://schemas.microsoft.com/office/drawing/2014/main" id="{461C0024-6452-EA5F-1092-8CF373430A07}"/>
                      </a:ext>
                    </a:extLst>
                  </p:cNvPr>
                  <p:cNvSpPr/>
                  <p:nvPr/>
                </p:nvSpPr>
                <p:spPr>
                  <a:xfrm>
                    <a:off x="2746367" y="1941035"/>
                    <a:ext cx="26231" cy="13102"/>
                  </a:xfrm>
                  <a:custGeom>
                    <a:avLst/>
                    <a:gdLst>
                      <a:gd name="connsiteX0" fmla="*/ 0 w 26231"/>
                      <a:gd name="connsiteY0" fmla="*/ 0 h 13102"/>
                      <a:gd name="connsiteX1" fmla="*/ 26232 w 26231"/>
                      <a:gd name="connsiteY1" fmla="*/ 0 h 13102"/>
                      <a:gd name="connsiteX2" fmla="*/ 26232 w 26231"/>
                      <a:gd name="connsiteY2" fmla="*/ 13103 h 13102"/>
                      <a:gd name="connsiteX3" fmla="*/ 0 w 26231"/>
                      <a:gd name="connsiteY3" fmla="*/ 13103 h 1310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26231" h="13102">
                        <a:moveTo>
                          <a:pt x="0" y="0"/>
                        </a:moveTo>
                        <a:lnTo>
                          <a:pt x="26232" y="0"/>
                        </a:lnTo>
                        <a:lnTo>
                          <a:pt x="26232" y="13103"/>
                        </a:lnTo>
                        <a:lnTo>
                          <a:pt x="0" y="13103"/>
                        </a:lnTo>
                        <a:close/>
                      </a:path>
                    </a:pathLst>
                  </a:custGeom>
                  <a:grpFill/>
                  <a:ln w="2651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</a:endParaRPr>
                  </a:p>
                </p:txBody>
              </p:sp>
            </p:grpSp>
            <p:grpSp>
              <p:nvGrpSpPr>
                <p:cNvPr id="38" name="Grafik 228">
                  <a:extLst>
                    <a:ext uri="{FF2B5EF4-FFF2-40B4-BE49-F238E27FC236}">
                      <a16:creationId xmlns:a16="http://schemas.microsoft.com/office/drawing/2014/main" id="{48D925D3-40EB-08CD-A4E2-D693538F55C5}"/>
                    </a:ext>
                  </a:extLst>
                </p:cNvPr>
                <p:cNvGrpSpPr/>
                <p:nvPr/>
              </p:nvGrpSpPr>
              <p:grpSpPr>
                <a:xfrm>
                  <a:off x="2661147" y="2000050"/>
                  <a:ext cx="131106" cy="13102"/>
                  <a:chOff x="2661147" y="2000050"/>
                  <a:chExt cx="131106" cy="13102"/>
                </a:xfrm>
                <a:grpFill/>
              </p:grpSpPr>
              <p:sp>
                <p:nvSpPr>
                  <p:cNvPr id="42" name="Freihandform: Form 371">
                    <a:extLst>
                      <a:ext uri="{FF2B5EF4-FFF2-40B4-BE49-F238E27FC236}">
                        <a16:creationId xmlns:a16="http://schemas.microsoft.com/office/drawing/2014/main" id="{1C4FFBFD-10BC-A6B0-4FFD-36F7CBD01A3A}"/>
                      </a:ext>
                    </a:extLst>
                  </p:cNvPr>
                  <p:cNvSpPr/>
                  <p:nvPr/>
                </p:nvSpPr>
                <p:spPr>
                  <a:xfrm>
                    <a:off x="2661147" y="2000050"/>
                    <a:ext cx="45885" cy="13102"/>
                  </a:xfrm>
                  <a:custGeom>
                    <a:avLst/>
                    <a:gdLst>
                      <a:gd name="connsiteX0" fmla="*/ 0 w 45885"/>
                      <a:gd name="connsiteY0" fmla="*/ 0 h 13102"/>
                      <a:gd name="connsiteX1" fmla="*/ 45886 w 45885"/>
                      <a:gd name="connsiteY1" fmla="*/ 0 h 13102"/>
                      <a:gd name="connsiteX2" fmla="*/ 45886 w 45885"/>
                      <a:gd name="connsiteY2" fmla="*/ 13103 h 13102"/>
                      <a:gd name="connsiteX3" fmla="*/ 0 w 45885"/>
                      <a:gd name="connsiteY3" fmla="*/ 13103 h 1310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45885" h="13102">
                        <a:moveTo>
                          <a:pt x="0" y="0"/>
                        </a:moveTo>
                        <a:lnTo>
                          <a:pt x="45886" y="0"/>
                        </a:lnTo>
                        <a:lnTo>
                          <a:pt x="45886" y="13103"/>
                        </a:lnTo>
                        <a:lnTo>
                          <a:pt x="0" y="13103"/>
                        </a:lnTo>
                        <a:close/>
                      </a:path>
                    </a:pathLst>
                  </a:custGeom>
                  <a:grpFill/>
                  <a:ln w="2651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43" name="Freihandform: Form 372">
                    <a:extLst>
                      <a:ext uri="{FF2B5EF4-FFF2-40B4-BE49-F238E27FC236}">
                        <a16:creationId xmlns:a16="http://schemas.microsoft.com/office/drawing/2014/main" id="{1DE2DE6B-E635-2F28-3260-A8D523659ED3}"/>
                      </a:ext>
                    </a:extLst>
                  </p:cNvPr>
                  <p:cNvSpPr/>
                  <p:nvPr/>
                </p:nvSpPr>
                <p:spPr>
                  <a:xfrm>
                    <a:off x="2746367" y="2000050"/>
                    <a:ext cx="45885" cy="13102"/>
                  </a:xfrm>
                  <a:custGeom>
                    <a:avLst/>
                    <a:gdLst>
                      <a:gd name="connsiteX0" fmla="*/ 0 w 45885"/>
                      <a:gd name="connsiteY0" fmla="*/ 0 h 13102"/>
                      <a:gd name="connsiteX1" fmla="*/ 45886 w 45885"/>
                      <a:gd name="connsiteY1" fmla="*/ 0 h 13102"/>
                      <a:gd name="connsiteX2" fmla="*/ 45886 w 45885"/>
                      <a:gd name="connsiteY2" fmla="*/ 13103 h 13102"/>
                      <a:gd name="connsiteX3" fmla="*/ 0 w 45885"/>
                      <a:gd name="connsiteY3" fmla="*/ 13103 h 1310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45885" h="13102">
                        <a:moveTo>
                          <a:pt x="0" y="0"/>
                        </a:moveTo>
                        <a:lnTo>
                          <a:pt x="45886" y="0"/>
                        </a:lnTo>
                        <a:lnTo>
                          <a:pt x="45886" y="13103"/>
                        </a:lnTo>
                        <a:lnTo>
                          <a:pt x="0" y="13103"/>
                        </a:lnTo>
                        <a:close/>
                      </a:path>
                    </a:pathLst>
                  </a:custGeom>
                  <a:grpFill/>
                  <a:ln w="2651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</a:endParaRPr>
                  </a:p>
                </p:txBody>
              </p:sp>
            </p:grpSp>
            <p:grpSp>
              <p:nvGrpSpPr>
                <p:cNvPr id="39" name="Grafik 228">
                  <a:extLst>
                    <a:ext uri="{FF2B5EF4-FFF2-40B4-BE49-F238E27FC236}">
                      <a16:creationId xmlns:a16="http://schemas.microsoft.com/office/drawing/2014/main" id="{2F7DA4BC-0B2D-059F-B410-4E484E92880D}"/>
                    </a:ext>
                  </a:extLst>
                </p:cNvPr>
                <p:cNvGrpSpPr/>
                <p:nvPr/>
              </p:nvGrpSpPr>
              <p:grpSpPr>
                <a:xfrm>
                  <a:off x="2661147" y="2039411"/>
                  <a:ext cx="131106" cy="13102"/>
                  <a:chOff x="2661147" y="2039411"/>
                  <a:chExt cx="131106" cy="13102"/>
                </a:xfrm>
                <a:grpFill/>
              </p:grpSpPr>
              <p:sp>
                <p:nvSpPr>
                  <p:cNvPr id="40" name="Freihandform: Form 374">
                    <a:extLst>
                      <a:ext uri="{FF2B5EF4-FFF2-40B4-BE49-F238E27FC236}">
                        <a16:creationId xmlns:a16="http://schemas.microsoft.com/office/drawing/2014/main" id="{AE6244BD-ECC1-C13A-3B07-7A9AA07EA3FE}"/>
                      </a:ext>
                    </a:extLst>
                  </p:cNvPr>
                  <p:cNvSpPr/>
                  <p:nvPr/>
                </p:nvSpPr>
                <p:spPr>
                  <a:xfrm>
                    <a:off x="2661147" y="2039411"/>
                    <a:ext cx="45885" cy="13102"/>
                  </a:xfrm>
                  <a:custGeom>
                    <a:avLst/>
                    <a:gdLst>
                      <a:gd name="connsiteX0" fmla="*/ 0 w 45885"/>
                      <a:gd name="connsiteY0" fmla="*/ 0 h 13102"/>
                      <a:gd name="connsiteX1" fmla="*/ 45886 w 45885"/>
                      <a:gd name="connsiteY1" fmla="*/ 0 h 13102"/>
                      <a:gd name="connsiteX2" fmla="*/ 45886 w 45885"/>
                      <a:gd name="connsiteY2" fmla="*/ 13103 h 13102"/>
                      <a:gd name="connsiteX3" fmla="*/ 0 w 45885"/>
                      <a:gd name="connsiteY3" fmla="*/ 13103 h 1310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45885" h="13102">
                        <a:moveTo>
                          <a:pt x="0" y="0"/>
                        </a:moveTo>
                        <a:lnTo>
                          <a:pt x="45886" y="0"/>
                        </a:lnTo>
                        <a:lnTo>
                          <a:pt x="45886" y="13103"/>
                        </a:lnTo>
                        <a:lnTo>
                          <a:pt x="0" y="13103"/>
                        </a:lnTo>
                        <a:close/>
                      </a:path>
                    </a:pathLst>
                  </a:custGeom>
                  <a:grpFill/>
                  <a:ln w="2651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41" name="Freihandform: Form 375">
                    <a:extLst>
                      <a:ext uri="{FF2B5EF4-FFF2-40B4-BE49-F238E27FC236}">
                        <a16:creationId xmlns:a16="http://schemas.microsoft.com/office/drawing/2014/main" id="{630E7ED7-DADC-185B-BB19-6A18034FC423}"/>
                      </a:ext>
                    </a:extLst>
                  </p:cNvPr>
                  <p:cNvSpPr/>
                  <p:nvPr/>
                </p:nvSpPr>
                <p:spPr>
                  <a:xfrm>
                    <a:off x="2746367" y="2039411"/>
                    <a:ext cx="45885" cy="13102"/>
                  </a:xfrm>
                  <a:custGeom>
                    <a:avLst/>
                    <a:gdLst>
                      <a:gd name="connsiteX0" fmla="*/ 0 w 45885"/>
                      <a:gd name="connsiteY0" fmla="*/ 0 h 13102"/>
                      <a:gd name="connsiteX1" fmla="*/ 45886 w 45885"/>
                      <a:gd name="connsiteY1" fmla="*/ 0 h 13102"/>
                      <a:gd name="connsiteX2" fmla="*/ 45886 w 45885"/>
                      <a:gd name="connsiteY2" fmla="*/ 13103 h 13102"/>
                      <a:gd name="connsiteX3" fmla="*/ 0 w 45885"/>
                      <a:gd name="connsiteY3" fmla="*/ 13103 h 1310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45885" h="13102">
                        <a:moveTo>
                          <a:pt x="0" y="0"/>
                        </a:moveTo>
                        <a:lnTo>
                          <a:pt x="45886" y="0"/>
                        </a:lnTo>
                        <a:lnTo>
                          <a:pt x="45886" y="13103"/>
                        </a:lnTo>
                        <a:lnTo>
                          <a:pt x="0" y="13103"/>
                        </a:lnTo>
                        <a:close/>
                      </a:path>
                    </a:pathLst>
                  </a:custGeom>
                  <a:grpFill/>
                  <a:ln w="2651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</a:endParaRPr>
                  </a:p>
                </p:txBody>
              </p:sp>
            </p:grpSp>
          </p:grpSp>
          <p:sp>
            <p:nvSpPr>
              <p:cNvPr id="33" name="Freihandform: Form 376">
                <a:extLst>
                  <a:ext uri="{FF2B5EF4-FFF2-40B4-BE49-F238E27FC236}">
                    <a16:creationId xmlns:a16="http://schemas.microsoft.com/office/drawing/2014/main" id="{EAA357CB-4004-9D61-8036-F22151C8985E}"/>
                  </a:ext>
                </a:extLst>
              </p:cNvPr>
              <p:cNvSpPr/>
              <p:nvPr/>
            </p:nvSpPr>
            <p:spPr>
              <a:xfrm>
                <a:off x="2569342" y="2013156"/>
                <a:ext cx="72117" cy="118002"/>
              </a:xfrm>
              <a:custGeom>
                <a:avLst/>
                <a:gdLst>
                  <a:gd name="connsiteX0" fmla="*/ 65566 w 72117"/>
                  <a:gd name="connsiteY0" fmla="*/ 118003 h 118003"/>
                  <a:gd name="connsiteX1" fmla="*/ 6551 w 72117"/>
                  <a:gd name="connsiteY1" fmla="*/ 118003 h 118003"/>
                  <a:gd name="connsiteX2" fmla="*/ 0 w 72117"/>
                  <a:gd name="connsiteY2" fmla="*/ 111452 h 118003"/>
                  <a:gd name="connsiteX3" fmla="*/ 0 w 72117"/>
                  <a:gd name="connsiteY3" fmla="*/ 6551 h 118003"/>
                  <a:gd name="connsiteX4" fmla="*/ 6551 w 72117"/>
                  <a:gd name="connsiteY4" fmla="*/ 0 h 118003"/>
                  <a:gd name="connsiteX5" fmla="*/ 65566 w 72117"/>
                  <a:gd name="connsiteY5" fmla="*/ 0 h 118003"/>
                  <a:gd name="connsiteX6" fmla="*/ 72118 w 72117"/>
                  <a:gd name="connsiteY6" fmla="*/ 6551 h 118003"/>
                  <a:gd name="connsiteX7" fmla="*/ 72118 w 72117"/>
                  <a:gd name="connsiteY7" fmla="*/ 111452 h 118003"/>
                  <a:gd name="connsiteX8" fmla="*/ 65566 w 72117"/>
                  <a:gd name="connsiteY8" fmla="*/ 118003 h 118003"/>
                  <a:gd name="connsiteX9" fmla="*/ 13103 w 72117"/>
                  <a:gd name="connsiteY9" fmla="*/ 104901 h 118003"/>
                  <a:gd name="connsiteX10" fmla="*/ 58989 w 72117"/>
                  <a:gd name="connsiteY10" fmla="*/ 104901 h 118003"/>
                  <a:gd name="connsiteX11" fmla="*/ 58989 w 72117"/>
                  <a:gd name="connsiteY11" fmla="*/ 13103 h 118003"/>
                  <a:gd name="connsiteX12" fmla="*/ 13103 w 72117"/>
                  <a:gd name="connsiteY12" fmla="*/ 13103 h 118003"/>
                  <a:gd name="connsiteX13" fmla="*/ 13103 w 72117"/>
                  <a:gd name="connsiteY13" fmla="*/ 104901 h 1180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72117" h="118003">
                    <a:moveTo>
                      <a:pt x="65566" y="118003"/>
                    </a:moveTo>
                    <a:lnTo>
                      <a:pt x="6551" y="118003"/>
                    </a:lnTo>
                    <a:cubicBezTo>
                      <a:pt x="2918" y="118003"/>
                      <a:pt x="0" y="115059"/>
                      <a:pt x="0" y="111452"/>
                    </a:cubicBezTo>
                    <a:lnTo>
                      <a:pt x="0" y="6551"/>
                    </a:lnTo>
                    <a:cubicBezTo>
                      <a:pt x="0" y="2918"/>
                      <a:pt x="2944" y="0"/>
                      <a:pt x="6551" y="0"/>
                    </a:cubicBezTo>
                    <a:lnTo>
                      <a:pt x="65566" y="0"/>
                    </a:lnTo>
                    <a:cubicBezTo>
                      <a:pt x="69200" y="0"/>
                      <a:pt x="72118" y="2944"/>
                      <a:pt x="72118" y="6551"/>
                    </a:cubicBezTo>
                    <a:lnTo>
                      <a:pt x="72118" y="111452"/>
                    </a:lnTo>
                    <a:cubicBezTo>
                      <a:pt x="72118" y="115086"/>
                      <a:pt x="69174" y="118003"/>
                      <a:pt x="65566" y="118003"/>
                    </a:cubicBezTo>
                    <a:close/>
                    <a:moveTo>
                      <a:pt x="13103" y="104901"/>
                    </a:moveTo>
                    <a:lnTo>
                      <a:pt x="58989" y="104901"/>
                    </a:lnTo>
                    <a:lnTo>
                      <a:pt x="58989" y="13103"/>
                    </a:lnTo>
                    <a:lnTo>
                      <a:pt x="13103" y="13103"/>
                    </a:lnTo>
                    <a:lnTo>
                      <a:pt x="13103" y="104901"/>
                    </a:lnTo>
                    <a:close/>
                  </a:path>
                </a:pathLst>
              </a:custGeom>
              <a:grpFill/>
              <a:ln w="26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4" name="Freihandform: Form 377">
                <a:extLst>
                  <a:ext uri="{FF2B5EF4-FFF2-40B4-BE49-F238E27FC236}">
                    <a16:creationId xmlns:a16="http://schemas.microsoft.com/office/drawing/2014/main" id="{2C4C8438-49EB-CD4A-9892-913C44BB893D}"/>
                  </a:ext>
                </a:extLst>
              </p:cNvPr>
              <p:cNvSpPr/>
              <p:nvPr/>
            </p:nvSpPr>
            <p:spPr>
              <a:xfrm>
                <a:off x="2549695" y="2013180"/>
                <a:ext cx="91771" cy="13102"/>
              </a:xfrm>
              <a:custGeom>
                <a:avLst/>
                <a:gdLst>
                  <a:gd name="connsiteX0" fmla="*/ 85220 w 91771"/>
                  <a:gd name="connsiteY0" fmla="*/ 13103 h 13102"/>
                  <a:gd name="connsiteX1" fmla="*/ 6551 w 91771"/>
                  <a:gd name="connsiteY1" fmla="*/ 13103 h 13102"/>
                  <a:gd name="connsiteX2" fmla="*/ 0 w 91771"/>
                  <a:gd name="connsiteY2" fmla="*/ 6551 h 13102"/>
                  <a:gd name="connsiteX3" fmla="*/ 6551 w 91771"/>
                  <a:gd name="connsiteY3" fmla="*/ 0 h 13102"/>
                  <a:gd name="connsiteX4" fmla="*/ 85220 w 91771"/>
                  <a:gd name="connsiteY4" fmla="*/ 0 h 13102"/>
                  <a:gd name="connsiteX5" fmla="*/ 91772 w 91771"/>
                  <a:gd name="connsiteY5" fmla="*/ 6551 h 13102"/>
                  <a:gd name="connsiteX6" fmla="*/ 85220 w 91771"/>
                  <a:gd name="connsiteY6" fmla="*/ 13103 h 131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91771" h="13102">
                    <a:moveTo>
                      <a:pt x="85220" y="13103"/>
                    </a:moveTo>
                    <a:lnTo>
                      <a:pt x="6551" y="13103"/>
                    </a:lnTo>
                    <a:cubicBezTo>
                      <a:pt x="2918" y="13103"/>
                      <a:pt x="0" y="10159"/>
                      <a:pt x="0" y="6551"/>
                    </a:cubicBezTo>
                    <a:cubicBezTo>
                      <a:pt x="0" y="2944"/>
                      <a:pt x="2944" y="0"/>
                      <a:pt x="6551" y="0"/>
                    </a:cubicBezTo>
                    <a:lnTo>
                      <a:pt x="85220" y="0"/>
                    </a:lnTo>
                    <a:cubicBezTo>
                      <a:pt x="88854" y="0"/>
                      <a:pt x="91772" y="2944"/>
                      <a:pt x="91772" y="6551"/>
                    </a:cubicBezTo>
                    <a:cubicBezTo>
                      <a:pt x="91772" y="10159"/>
                      <a:pt x="88827" y="13103"/>
                      <a:pt x="85220" y="13103"/>
                    </a:cubicBezTo>
                    <a:close/>
                  </a:path>
                </a:pathLst>
              </a:custGeom>
              <a:grpFill/>
              <a:ln w="26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</p:grpSp>
      </p:grpSp>
      <p:sp>
        <p:nvSpPr>
          <p:cNvPr id="52" name="Rechteck 58">
            <a:extLst>
              <a:ext uri="{FF2B5EF4-FFF2-40B4-BE49-F238E27FC236}">
                <a16:creationId xmlns:a16="http://schemas.microsoft.com/office/drawing/2014/main" id="{D18079BF-655C-81DA-05D6-8D38B58501C4}"/>
              </a:ext>
            </a:extLst>
          </p:cNvPr>
          <p:cNvSpPr/>
          <p:nvPr/>
        </p:nvSpPr>
        <p:spPr>
          <a:xfrm>
            <a:off x="1941081" y="3059610"/>
            <a:ext cx="375103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1" i="0" u="none" strike="noStrike" kern="0" cap="none" spc="0" normalizeH="0" baseline="0" noProof="0" dirty="0">
                <a:ln>
                  <a:noFill/>
                </a:ln>
                <a:solidFill>
                  <a:schemeClr val="accent4">
                    <a:lumMod val="75000"/>
                  </a:schemeClr>
                </a:solidFill>
                <a:effectLst/>
                <a:uLnTx/>
                <a:uFillTx/>
              </a:rPr>
              <a:t>Social</a:t>
            </a:r>
          </a:p>
        </p:txBody>
      </p:sp>
      <p:sp>
        <p:nvSpPr>
          <p:cNvPr id="64" name="Freihandform: Form 379">
            <a:extLst>
              <a:ext uri="{FF2B5EF4-FFF2-40B4-BE49-F238E27FC236}">
                <a16:creationId xmlns:a16="http://schemas.microsoft.com/office/drawing/2014/main" id="{63E86257-61A6-8EED-7227-0C31A63A5B28}"/>
              </a:ext>
            </a:extLst>
          </p:cNvPr>
          <p:cNvSpPr/>
          <p:nvPr/>
        </p:nvSpPr>
        <p:spPr>
          <a:xfrm>
            <a:off x="2124278" y="2872297"/>
            <a:ext cx="8691" cy="104382"/>
          </a:xfrm>
          <a:custGeom>
            <a:avLst/>
            <a:gdLst>
              <a:gd name="connsiteX0" fmla="*/ 0 w 13102"/>
              <a:gd name="connsiteY0" fmla="*/ 0 h 157364"/>
              <a:gd name="connsiteX1" fmla="*/ 13103 w 13102"/>
              <a:gd name="connsiteY1" fmla="*/ 0 h 157364"/>
              <a:gd name="connsiteX2" fmla="*/ 13103 w 13102"/>
              <a:gd name="connsiteY2" fmla="*/ 157364 h 157364"/>
              <a:gd name="connsiteX3" fmla="*/ 0 w 13102"/>
              <a:gd name="connsiteY3" fmla="*/ 157364 h 1573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3102" h="157364">
                <a:moveTo>
                  <a:pt x="0" y="0"/>
                </a:moveTo>
                <a:lnTo>
                  <a:pt x="13103" y="0"/>
                </a:lnTo>
                <a:lnTo>
                  <a:pt x="13103" y="157364"/>
                </a:lnTo>
                <a:lnTo>
                  <a:pt x="0" y="157364"/>
                </a:lnTo>
                <a:close/>
              </a:path>
            </a:pathLst>
          </a:custGeom>
          <a:solidFill>
            <a:schemeClr val="bg2"/>
          </a:solidFill>
          <a:ln w="2651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grpSp>
        <p:nvGrpSpPr>
          <p:cNvPr id="54" name="Gruppieren 53">
            <a:extLst>
              <a:ext uri="{FF2B5EF4-FFF2-40B4-BE49-F238E27FC236}">
                <a16:creationId xmlns:a16="http://schemas.microsoft.com/office/drawing/2014/main" id="{9D20C57D-FA81-178F-C0BF-EAD594CD9D10}"/>
              </a:ext>
            </a:extLst>
          </p:cNvPr>
          <p:cNvGrpSpPr/>
          <p:nvPr/>
        </p:nvGrpSpPr>
        <p:grpSpPr>
          <a:xfrm>
            <a:off x="1993804" y="2659171"/>
            <a:ext cx="269639" cy="317507"/>
            <a:chOff x="1993804" y="2659171"/>
            <a:chExt cx="269639" cy="317507"/>
          </a:xfrm>
          <a:solidFill>
            <a:schemeClr val="accent4">
              <a:lumMod val="75000"/>
            </a:schemeClr>
          </a:solidFill>
        </p:grpSpPr>
        <p:sp>
          <p:nvSpPr>
            <p:cNvPr id="65" name="Freihandform: Form 380">
              <a:extLst>
                <a:ext uri="{FF2B5EF4-FFF2-40B4-BE49-F238E27FC236}">
                  <a16:creationId xmlns:a16="http://schemas.microsoft.com/office/drawing/2014/main" id="{566D2DA3-0FDD-CE9A-9CF5-DA072184E3EF}"/>
                </a:ext>
              </a:extLst>
            </p:cNvPr>
            <p:cNvSpPr/>
            <p:nvPr/>
          </p:nvSpPr>
          <p:spPr>
            <a:xfrm>
              <a:off x="1993804" y="2737477"/>
              <a:ext cx="269639" cy="239201"/>
            </a:xfrm>
            <a:custGeom>
              <a:avLst/>
              <a:gdLst>
                <a:gd name="connsiteX0" fmla="*/ 268843 w 406500"/>
                <a:gd name="connsiteY0" fmla="*/ 360615 h 360614"/>
                <a:gd name="connsiteX1" fmla="*/ 255740 w 406500"/>
                <a:gd name="connsiteY1" fmla="*/ 360615 h 360614"/>
                <a:gd name="connsiteX2" fmla="*/ 255740 w 406500"/>
                <a:gd name="connsiteY2" fmla="*/ 58988 h 360614"/>
                <a:gd name="connsiteX3" fmla="*/ 261682 w 406500"/>
                <a:gd name="connsiteY3" fmla="*/ 52464 h 360614"/>
                <a:gd name="connsiteX4" fmla="*/ 393451 w 406500"/>
                <a:gd name="connsiteY4" fmla="*/ 39918 h 360614"/>
                <a:gd name="connsiteX5" fmla="*/ 393451 w 406500"/>
                <a:gd name="connsiteY5" fmla="*/ 13103 h 360614"/>
                <a:gd name="connsiteX6" fmla="*/ 13103 w 406500"/>
                <a:gd name="connsiteY6" fmla="*/ 13103 h 360614"/>
                <a:gd name="connsiteX7" fmla="*/ 13103 w 406500"/>
                <a:gd name="connsiteY7" fmla="*/ 39918 h 360614"/>
                <a:gd name="connsiteX8" fmla="*/ 144872 w 406500"/>
                <a:gd name="connsiteY8" fmla="*/ 52464 h 360614"/>
                <a:gd name="connsiteX9" fmla="*/ 150813 w 406500"/>
                <a:gd name="connsiteY9" fmla="*/ 58988 h 360614"/>
                <a:gd name="connsiteX10" fmla="*/ 150813 w 406500"/>
                <a:gd name="connsiteY10" fmla="*/ 360588 h 360614"/>
                <a:gd name="connsiteX11" fmla="*/ 137710 w 406500"/>
                <a:gd name="connsiteY11" fmla="*/ 360588 h 360614"/>
                <a:gd name="connsiteX12" fmla="*/ 137710 w 406500"/>
                <a:gd name="connsiteY12" fmla="*/ 64956 h 360614"/>
                <a:gd name="connsiteX13" fmla="*/ 5941 w 406500"/>
                <a:gd name="connsiteY13" fmla="*/ 52411 h 360614"/>
                <a:gd name="connsiteX14" fmla="*/ 0 w 406500"/>
                <a:gd name="connsiteY14" fmla="*/ 45886 h 360614"/>
                <a:gd name="connsiteX15" fmla="*/ 0 w 406500"/>
                <a:gd name="connsiteY15" fmla="*/ 6551 h 360614"/>
                <a:gd name="connsiteX16" fmla="*/ 6551 w 406500"/>
                <a:gd name="connsiteY16" fmla="*/ 0 h 360614"/>
                <a:gd name="connsiteX17" fmla="*/ 399949 w 406500"/>
                <a:gd name="connsiteY17" fmla="*/ 0 h 360614"/>
                <a:gd name="connsiteX18" fmla="*/ 406500 w 406500"/>
                <a:gd name="connsiteY18" fmla="*/ 6551 h 360614"/>
                <a:gd name="connsiteX19" fmla="*/ 406500 w 406500"/>
                <a:gd name="connsiteY19" fmla="*/ 45886 h 360614"/>
                <a:gd name="connsiteX20" fmla="*/ 400559 w 406500"/>
                <a:gd name="connsiteY20" fmla="*/ 52411 h 360614"/>
                <a:gd name="connsiteX21" fmla="*/ 268790 w 406500"/>
                <a:gd name="connsiteY21" fmla="*/ 64956 h 360614"/>
                <a:gd name="connsiteX22" fmla="*/ 268790 w 406500"/>
                <a:gd name="connsiteY22" fmla="*/ 360615 h 3606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406500" h="360614">
                  <a:moveTo>
                    <a:pt x="268843" y="360615"/>
                  </a:moveTo>
                  <a:lnTo>
                    <a:pt x="255740" y="360615"/>
                  </a:lnTo>
                  <a:lnTo>
                    <a:pt x="255740" y="58988"/>
                  </a:lnTo>
                  <a:cubicBezTo>
                    <a:pt x="255740" y="55620"/>
                    <a:pt x="258313" y="52782"/>
                    <a:pt x="261682" y="52464"/>
                  </a:cubicBezTo>
                  <a:lnTo>
                    <a:pt x="393451" y="39918"/>
                  </a:lnTo>
                  <a:lnTo>
                    <a:pt x="393451" y="13103"/>
                  </a:lnTo>
                  <a:lnTo>
                    <a:pt x="13103" y="13103"/>
                  </a:lnTo>
                  <a:lnTo>
                    <a:pt x="13103" y="39918"/>
                  </a:lnTo>
                  <a:lnTo>
                    <a:pt x="144872" y="52464"/>
                  </a:lnTo>
                  <a:cubicBezTo>
                    <a:pt x="148240" y="52782"/>
                    <a:pt x="150813" y="55620"/>
                    <a:pt x="150813" y="58988"/>
                  </a:cubicBezTo>
                  <a:lnTo>
                    <a:pt x="150813" y="360588"/>
                  </a:lnTo>
                  <a:lnTo>
                    <a:pt x="137710" y="360588"/>
                  </a:lnTo>
                  <a:lnTo>
                    <a:pt x="137710" y="64956"/>
                  </a:lnTo>
                  <a:lnTo>
                    <a:pt x="5941" y="52411"/>
                  </a:lnTo>
                  <a:cubicBezTo>
                    <a:pt x="2573" y="52092"/>
                    <a:pt x="0" y="49254"/>
                    <a:pt x="0" y="45886"/>
                  </a:cubicBezTo>
                  <a:lnTo>
                    <a:pt x="0" y="6551"/>
                  </a:lnTo>
                  <a:cubicBezTo>
                    <a:pt x="0" y="2918"/>
                    <a:pt x="2944" y="0"/>
                    <a:pt x="6551" y="0"/>
                  </a:cubicBezTo>
                  <a:lnTo>
                    <a:pt x="399949" y="0"/>
                  </a:lnTo>
                  <a:cubicBezTo>
                    <a:pt x="403583" y="0"/>
                    <a:pt x="406500" y="2944"/>
                    <a:pt x="406500" y="6551"/>
                  </a:cubicBezTo>
                  <a:lnTo>
                    <a:pt x="406500" y="45886"/>
                  </a:lnTo>
                  <a:cubicBezTo>
                    <a:pt x="406500" y="49254"/>
                    <a:pt x="403928" y="52092"/>
                    <a:pt x="400559" y="52411"/>
                  </a:cubicBezTo>
                  <a:lnTo>
                    <a:pt x="268790" y="64956"/>
                  </a:lnTo>
                  <a:lnTo>
                    <a:pt x="268790" y="360615"/>
                  </a:lnTo>
                  <a:close/>
                </a:path>
              </a:pathLst>
            </a:custGeom>
            <a:grpFill/>
            <a:ln w="265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66" name="Freihandform: Form 381">
              <a:extLst>
                <a:ext uri="{FF2B5EF4-FFF2-40B4-BE49-F238E27FC236}">
                  <a16:creationId xmlns:a16="http://schemas.microsoft.com/office/drawing/2014/main" id="{B097505D-6118-E5F1-F9D4-06ADFEF77DB7}"/>
                </a:ext>
              </a:extLst>
            </p:cNvPr>
            <p:cNvSpPr/>
            <p:nvPr/>
          </p:nvSpPr>
          <p:spPr>
            <a:xfrm>
              <a:off x="2098190" y="2659171"/>
              <a:ext cx="60873" cy="69600"/>
            </a:xfrm>
            <a:custGeom>
              <a:avLst/>
              <a:gdLst>
                <a:gd name="connsiteX0" fmla="*/ 45886 w 91771"/>
                <a:gd name="connsiteY0" fmla="*/ 104927 h 104927"/>
                <a:gd name="connsiteX1" fmla="*/ 0 w 91771"/>
                <a:gd name="connsiteY1" fmla="*/ 52464 h 104927"/>
                <a:gd name="connsiteX2" fmla="*/ 45886 w 91771"/>
                <a:gd name="connsiteY2" fmla="*/ 0 h 104927"/>
                <a:gd name="connsiteX3" fmla="*/ 91772 w 91771"/>
                <a:gd name="connsiteY3" fmla="*/ 52464 h 104927"/>
                <a:gd name="connsiteX4" fmla="*/ 45886 w 91771"/>
                <a:gd name="connsiteY4" fmla="*/ 104927 h 104927"/>
                <a:gd name="connsiteX5" fmla="*/ 45886 w 91771"/>
                <a:gd name="connsiteY5" fmla="*/ 13129 h 104927"/>
                <a:gd name="connsiteX6" fmla="*/ 13103 w 91771"/>
                <a:gd name="connsiteY6" fmla="*/ 52464 h 104927"/>
                <a:gd name="connsiteX7" fmla="*/ 45886 w 91771"/>
                <a:gd name="connsiteY7" fmla="*/ 91798 h 104927"/>
                <a:gd name="connsiteX8" fmla="*/ 78669 w 91771"/>
                <a:gd name="connsiteY8" fmla="*/ 52464 h 104927"/>
                <a:gd name="connsiteX9" fmla="*/ 45886 w 91771"/>
                <a:gd name="connsiteY9" fmla="*/ 13129 h 1049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91771" h="104927">
                  <a:moveTo>
                    <a:pt x="45886" y="104927"/>
                  </a:moveTo>
                  <a:cubicBezTo>
                    <a:pt x="18434" y="104927"/>
                    <a:pt x="0" y="83841"/>
                    <a:pt x="0" y="52464"/>
                  </a:cubicBezTo>
                  <a:cubicBezTo>
                    <a:pt x="0" y="21086"/>
                    <a:pt x="18434" y="0"/>
                    <a:pt x="45886" y="0"/>
                  </a:cubicBezTo>
                  <a:cubicBezTo>
                    <a:pt x="73338" y="0"/>
                    <a:pt x="91772" y="21086"/>
                    <a:pt x="91772" y="52464"/>
                  </a:cubicBezTo>
                  <a:cubicBezTo>
                    <a:pt x="91798" y="83841"/>
                    <a:pt x="73364" y="104927"/>
                    <a:pt x="45886" y="104927"/>
                  </a:cubicBezTo>
                  <a:close/>
                  <a:moveTo>
                    <a:pt x="45886" y="13129"/>
                  </a:moveTo>
                  <a:cubicBezTo>
                    <a:pt x="21696" y="13129"/>
                    <a:pt x="13103" y="34321"/>
                    <a:pt x="13103" y="52464"/>
                  </a:cubicBezTo>
                  <a:cubicBezTo>
                    <a:pt x="13103" y="70606"/>
                    <a:pt x="21696" y="91798"/>
                    <a:pt x="45886" y="91798"/>
                  </a:cubicBezTo>
                  <a:cubicBezTo>
                    <a:pt x="70075" y="91798"/>
                    <a:pt x="78669" y="70606"/>
                    <a:pt x="78669" y="52464"/>
                  </a:cubicBezTo>
                  <a:cubicBezTo>
                    <a:pt x="78669" y="34321"/>
                    <a:pt x="70102" y="13129"/>
                    <a:pt x="45886" y="13129"/>
                  </a:cubicBezTo>
                  <a:close/>
                </a:path>
              </a:pathLst>
            </a:custGeom>
            <a:grpFill/>
            <a:ln w="265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55" name="Group 221">
            <a:extLst>
              <a:ext uri="{FF2B5EF4-FFF2-40B4-BE49-F238E27FC236}">
                <a16:creationId xmlns:a16="http://schemas.microsoft.com/office/drawing/2014/main" id="{B5EB2A02-829C-85B6-7B76-B9609F377E55}"/>
              </a:ext>
            </a:extLst>
          </p:cNvPr>
          <p:cNvGrpSpPr/>
          <p:nvPr/>
        </p:nvGrpSpPr>
        <p:grpSpPr>
          <a:xfrm>
            <a:off x="1993822" y="2667893"/>
            <a:ext cx="269638" cy="287038"/>
            <a:chOff x="923614" y="2458617"/>
            <a:chExt cx="406499" cy="432731"/>
          </a:xfrm>
          <a:solidFill>
            <a:schemeClr val="tx2"/>
          </a:solidFill>
        </p:grpSpPr>
        <p:sp>
          <p:nvSpPr>
            <p:cNvPr id="56" name="Freihandform: Form 383">
              <a:extLst>
                <a:ext uri="{FF2B5EF4-FFF2-40B4-BE49-F238E27FC236}">
                  <a16:creationId xmlns:a16="http://schemas.microsoft.com/office/drawing/2014/main" id="{89C9A834-0A17-B9F6-B8DA-C2654E3E90DE}"/>
                </a:ext>
              </a:extLst>
            </p:cNvPr>
            <p:cNvSpPr/>
            <p:nvPr/>
          </p:nvSpPr>
          <p:spPr>
            <a:xfrm>
              <a:off x="1310460" y="2633646"/>
              <a:ext cx="19653" cy="133121"/>
            </a:xfrm>
            <a:custGeom>
              <a:avLst/>
              <a:gdLst>
                <a:gd name="connsiteX0" fmla="*/ 13103 w 19653"/>
                <a:gd name="connsiteY0" fmla="*/ 133122 h 133121"/>
                <a:gd name="connsiteX1" fmla="*/ 0 w 19653"/>
                <a:gd name="connsiteY1" fmla="*/ 133122 h 133121"/>
                <a:gd name="connsiteX2" fmla="*/ 0 w 19653"/>
                <a:gd name="connsiteY2" fmla="*/ 120019 h 133121"/>
                <a:gd name="connsiteX3" fmla="*/ 6551 w 19653"/>
                <a:gd name="connsiteY3" fmla="*/ 120019 h 133121"/>
                <a:gd name="connsiteX4" fmla="*/ 6551 w 19653"/>
                <a:gd name="connsiteY4" fmla="*/ 0 h 133121"/>
                <a:gd name="connsiteX5" fmla="*/ 19654 w 19653"/>
                <a:gd name="connsiteY5" fmla="*/ 0 h 133121"/>
                <a:gd name="connsiteX6" fmla="*/ 19654 w 19653"/>
                <a:gd name="connsiteY6" fmla="*/ 126571 h 133121"/>
                <a:gd name="connsiteX7" fmla="*/ 13103 w 19653"/>
                <a:gd name="connsiteY7" fmla="*/ 133122 h 1331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9653" h="133121">
                  <a:moveTo>
                    <a:pt x="13103" y="133122"/>
                  </a:moveTo>
                  <a:lnTo>
                    <a:pt x="0" y="133122"/>
                  </a:lnTo>
                  <a:lnTo>
                    <a:pt x="0" y="120019"/>
                  </a:lnTo>
                  <a:lnTo>
                    <a:pt x="6551" y="120019"/>
                  </a:lnTo>
                  <a:lnTo>
                    <a:pt x="6551" y="0"/>
                  </a:lnTo>
                  <a:lnTo>
                    <a:pt x="19654" y="0"/>
                  </a:lnTo>
                  <a:lnTo>
                    <a:pt x="19654" y="126571"/>
                  </a:lnTo>
                  <a:cubicBezTo>
                    <a:pt x="19654" y="130178"/>
                    <a:pt x="16710" y="133122"/>
                    <a:pt x="13103" y="133122"/>
                  </a:cubicBezTo>
                  <a:close/>
                </a:path>
              </a:pathLst>
            </a:custGeom>
            <a:grpFill/>
            <a:ln w="265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57" name="Freihandform: Form 384">
              <a:extLst>
                <a:ext uri="{FF2B5EF4-FFF2-40B4-BE49-F238E27FC236}">
                  <a16:creationId xmlns:a16="http://schemas.microsoft.com/office/drawing/2014/main" id="{2F7B8F7B-1C1A-6F6F-1A4A-A06502955CFC}"/>
                </a:ext>
              </a:extLst>
            </p:cNvPr>
            <p:cNvSpPr/>
            <p:nvPr/>
          </p:nvSpPr>
          <p:spPr>
            <a:xfrm>
              <a:off x="1231765" y="2747087"/>
              <a:ext cx="13102" cy="144261"/>
            </a:xfrm>
            <a:custGeom>
              <a:avLst/>
              <a:gdLst>
                <a:gd name="connsiteX0" fmla="*/ 0 w 13102"/>
                <a:gd name="connsiteY0" fmla="*/ 0 h 144261"/>
                <a:gd name="connsiteX1" fmla="*/ 13103 w 13102"/>
                <a:gd name="connsiteY1" fmla="*/ 0 h 144261"/>
                <a:gd name="connsiteX2" fmla="*/ 13103 w 13102"/>
                <a:gd name="connsiteY2" fmla="*/ 144262 h 144261"/>
                <a:gd name="connsiteX3" fmla="*/ 0 w 13102"/>
                <a:gd name="connsiteY3" fmla="*/ 144262 h 1442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102" h="144261">
                  <a:moveTo>
                    <a:pt x="0" y="0"/>
                  </a:moveTo>
                  <a:lnTo>
                    <a:pt x="13103" y="0"/>
                  </a:lnTo>
                  <a:lnTo>
                    <a:pt x="13103" y="144262"/>
                  </a:lnTo>
                  <a:lnTo>
                    <a:pt x="0" y="144262"/>
                  </a:lnTo>
                  <a:close/>
                </a:path>
              </a:pathLst>
            </a:custGeom>
            <a:grpFill/>
            <a:ln w="265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58" name="Freihandform: Form 385">
              <a:extLst>
                <a:ext uri="{FF2B5EF4-FFF2-40B4-BE49-F238E27FC236}">
                  <a16:creationId xmlns:a16="http://schemas.microsoft.com/office/drawing/2014/main" id="{A6401690-EE6E-6E4E-C439-7AE81D572F59}"/>
                </a:ext>
              </a:extLst>
            </p:cNvPr>
            <p:cNvSpPr/>
            <p:nvPr/>
          </p:nvSpPr>
          <p:spPr>
            <a:xfrm>
              <a:off x="1198982" y="2458617"/>
              <a:ext cx="78668" cy="91771"/>
            </a:xfrm>
            <a:custGeom>
              <a:avLst/>
              <a:gdLst>
                <a:gd name="connsiteX0" fmla="*/ 39334 w 78668"/>
                <a:gd name="connsiteY0" fmla="*/ 91772 h 91771"/>
                <a:gd name="connsiteX1" fmla="*/ 0 w 78668"/>
                <a:gd name="connsiteY1" fmla="*/ 45886 h 91771"/>
                <a:gd name="connsiteX2" fmla="*/ 39334 w 78668"/>
                <a:gd name="connsiteY2" fmla="*/ 0 h 91771"/>
                <a:gd name="connsiteX3" fmla="*/ 78669 w 78668"/>
                <a:gd name="connsiteY3" fmla="*/ 45886 h 91771"/>
                <a:gd name="connsiteX4" fmla="*/ 39334 w 78668"/>
                <a:gd name="connsiteY4" fmla="*/ 91772 h 91771"/>
                <a:gd name="connsiteX5" fmla="*/ 39334 w 78668"/>
                <a:gd name="connsiteY5" fmla="*/ 13103 h 91771"/>
                <a:gd name="connsiteX6" fmla="*/ 13103 w 78668"/>
                <a:gd name="connsiteY6" fmla="*/ 45886 h 91771"/>
                <a:gd name="connsiteX7" fmla="*/ 39334 w 78668"/>
                <a:gd name="connsiteY7" fmla="*/ 78669 h 91771"/>
                <a:gd name="connsiteX8" fmla="*/ 65566 w 78668"/>
                <a:gd name="connsiteY8" fmla="*/ 45886 h 91771"/>
                <a:gd name="connsiteX9" fmla="*/ 39334 w 78668"/>
                <a:gd name="connsiteY9" fmla="*/ 13103 h 917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78668" h="91771">
                  <a:moveTo>
                    <a:pt x="39334" y="91772"/>
                  </a:moveTo>
                  <a:cubicBezTo>
                    <a:pt x="15808" y="91772"/>
                    <a:pt x="0" y="73338"/>
                    <a:pt x="0" y="45886"/>
                  </a:cubicBezTo>
                  <a:cubicBezTo>
                    <a:pt x="0" y="18434"/>
                    <a:pt x="15808" y="0"/>
                    <a:pt x="39334" y="0"/>
                  </a:cubicBezTo>
                  <a:cubicBezTo>
                    <a:pt x="62861" y="0"/>
                    <a:pt x="78669" y="18434"/>
                    <a:pt x="78669" y="45886"/>
                  </a:cubicBezTo>
                  <a:cubicBezTo>
                    <a:pt x="78669" y="73338"/>
                    <a:pt x="62861" y="91772"/>
                    <a:pt x="39334" y="91772"/>
                  </a:cubicBezTo>
                  <a:close/>
                  <a:moveTo>
                    <a:pt x="39334" y="13103"/>
                  </a:moveTo>
                  <a:cubicBezTo>
                    <a:pt x="19999" y="13103"/>
                    <a:pt x="13103" y="30051"/>
                    <a:pt x="13103" y="45886"/>
                  </a:cubicBezTo>
                  <a:cubicBezTo>
                    <a:pt x="13103" y="61720"/>
                    <a:pt x="19999" y="78669"/>
                    <a:pt x="39334" y="78669"/>
                  </a:cubicBezTo>
                  <a:cubicBezTo>
                    <a:pt x="58670" y="78669"/>
                    <a:pt x="65566" y="61720"/>
                    <a:pt x="65566" y="45886"/>
                  </a:cubicBezTo>
                  <a:cubicBezTo>
                    <a:pt x="65566" y="30025"/>
                    <a:pt x="58670" y="13103"/>
                    <a:pt x="39334" y="13103"/>
                  </a:cubicBezTo>
                  <a:close/>
                </a:path>
              </a:pathLst>
            </a:custGeom>
            <a:grpFill/>
            <a:ln w="265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59" name="Freihandform: Form 386">
              <a:extLst>
                <a:ext uri="{FF2B5EF4-FFF2-40B4-BE49-F238E27FC236}">
                  <a16:creationId xmlns:a16="http://schemas.microsoft.com/office/drawing/2014/main" id="{3104ADE7-A036-0401-B6F1-C458CA27EDA6}"/>
                </a:ext>
              </a:extLst>
            </p:cNvPr>
            <p:cNvSpPr/>
            <p:nvPr/>
          </p:nvSpPr>
          <p:spPr>
            <a:xfrm>
              <a:off x="1284228" y="2648764"/>
              <a:ext cx="19653" cy="242584"/>
            </a:xfrm>
            <a:custGeom>
              <a:avLst/>
              <a:gdLst>
                <a:gd name="connsiteX0" fmla="*/ 13103 w 19653"/>
                <a:gd name="connsiteY0" fmla="*/ 242585 h 242584"/>
                <a:gd name="connsiteX1" fmla="*/ 0 w 19653"/>
                <a:gd name="connsiteY1" fmla="*/ 242585 h 242584"/>
                <a:gd name="connsiteX2" fmla="*/ 0 w 19653"/>
                <a:gd name="connsiteY2" fmla="*/ 6551 h 242584"/>
                <a:gd name="connsiteX3" fmla="*/ 6551 w 19653"/>
                <a:gd name="connsiteY3" fmla="*/ 0 h 242584"/>
                <a:gd name="connsiteX4" fmla="*/ 19654 w 19653"/>
                <a:gd name="connsiteY4" fmla="*/ 0 h 242584"/>
                <a:gd name="connsiteX5" fmla="*/ 19654 w 19653"/>
                <a:gd name="connsiteY5" fmla="*/ 13103 h 242584"/>
                <a:gd name="connsiteX6" fmla="*/ 13103 w 19653"/>
                <a:gd name="connsiteY6" fmla="*/ 13103 h 242584"/>
                <a:gd name="connsiteX7" fmla="*/ 13103 w 19653"/>
                <a:gd name="connsiteY7" fmla="*/ 242585 h 2425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9653" h="242584">
                  <a:moveTo>
                    <a:pt x="13103" y="242585"/>
                  </a:moveTo>
                  <a:lnTo>
                    <a:pt x="0" y="242585"/>
                  </a:lnTo>
                  <a:lnTo>
                    <a:pt x="0" y="6551"/>
                  </a:lnTo>
                  <a:cubicBezTo>
                    <a:pt x="0" y="2918"/>
                    <a:pt x="2944" y="0"/>
                    <a:pt x="6551" y="0"/>
                  </a:cubicBezTo>
                  <a:lnTo>
                    <a:pt x="19654" y="0"/>
                  </a:lnTo>
                  <a:lnTo>
                    <a:pt x="19654" y="13103"/>
                  </a:lnTo>
                  <a:lnTo>
                    <a:pt x="13103" y="13103"/>
                  </a:lnTo>
                  <a:lnTo>
                    <a:pt x="13103" y="242585"/>
                  </a:lnTo>
                  <a:close/>
                </a:path>
              </a:pathLst>
            </a:custGeom>
            <a:grpFill/>
            <a:ln w="265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60" name="Freihandform: Form 388">
              <a:extLst>
                <a:ext uri="{FF2B5EF4-FFF2-40B4-BE49-F238E27FC236}">
                  <a16:creationId xmlns:a16="http://schemas.microsoft.com/office/drawing/2014/main" id="{FEC0DE50-82CC-B3C8-D51B-6737AEB53BEB}"/>
                </a:ext>
              </a:extLst>
            </p:cNvPr>
            <p:cNvSpPr/>
            <p:nvPr/>
          </p:nvSpPr>
          <p:spPr>
            <a:xfrm>
              <a:off x="923614" y="2633646"/>
              <a:ext cx="19653" cy="133121"/>
            </a:xfrm>
            <a:custGeom>
              <a:avLst/>
              <a:gdLst>
                <a:gd name="connsiteX0" fmla="*/ 19654 w 19653"/>
                <a:gd name="connsiteY0" fmla="*/ 133122 h 133121"/>
                <a:gd name="connsiteX1" fmla="*/ 6551 w 19653"/>
                <a:gd name="connsiteY1" fmla="*/ 133122 h 133121"/>
                <a:gd name="connsiteX2" fmla="*/ 0 w 19653"/>
                <a:gd name="connsiteY2" fmla="*/ 126571 h 133121"/>
                <a:gd name="connsiteX3" fmla="*/ 0 w 19653"/>
                <a:gd name="connsiteY3" fmla="*/ 0 h 133121"/>
                <a:gd name="connsiteX4" fmla="*/ 13103 w 19653"/>
                <a:gd name="connsiteY4" fmla="*/ 0 h 133121"/>
                <a:gd name="connsiteX5" fmla="*/ 13103 w 19653"/>
                <a:gd name="connsiteY5" fmla="*/ 120019 h 133121"/>
                <a:gd name="connsiteX6" fmla="*/ 19654 w 19653"/>
                <a:gd name="connsiteY6" fmla="*/ 120019 h 133121"/>
                <a:gd name="connsiteX7" fmla="*/ 19654 w 19653"/>
                <a:gd name="connsiteY7" fmla="*/ 133122 h 1331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9653" h="133121">
                  <a:moveTo>
                    <a:pt x="19654" y="133122"/>
                  </a:moveTo>
                  <a:lnTo>
                    <a:pt x="6551" y="133122"/>
                  </a:lnTo>
                  <a:cubicBezTo>
                    <a:pt x="2918" y="133122"/>
                    <a:pt x="0" y="130178"/>
                    <a:pt x="0" y="126571"/>
                  </a:cubicBezTo>
                  <a:lnTo>
                    <a:pt x="0" y="0"/>
                  </a:lnTo>
                  <a:lnTo>
                    <a:pt x="13103" y="0"/>
                  </a:lnTo>
                  <a:lnTo>
                    <a:pt x="13103" y="120019"/>
                  </a:lnTo>
                  <a:lnTo>
                    <a:pt x="19654" y="120019"/>
                  </a:lnTo>
                  <a:lnTo>
                    <a:pt x="19654" y="133122"/>
                  </a:lnTo>
                  <a:close/>
                </a:path>
              </a:pathLst>
            </a:custGeom>
            <a:grpFill/>
            <a:ln w="265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61" name="Freihandform: Form 389">
              <a:extLst>
                <a:ext uri="{FF2B5EF4-FFF2-40B4-BE49-F238E27FC236}">
                  <a16:creationId xmlns:a16="http://schemas.microsoft.com/office/drawing/2014/main" id="{30DB82B9-C178-520A-1FC7-B38FBF432F8A}"/>
                </a:ext>
              </a:extLst>
            </p:cNvPr>
            <p:cNvSpPr/>
            <p:nvPr/>
          </p:nvSpPr>
          <p:spPr>
            <a:xfrm>
              <a:off x="1008834" y="2747087"/>
              <a:ext cx="13102" cy="144261"/>
            </a:xfrm>
            <a:custGeom>
              <a:avLst/>
              <a:gdLst>
                <a:gd name="connsiteX0" fmla="*/ 0 w 13102"/>
                <a:gd name="connsiteY0" fmla="*/ 0 h 144261"/>
                <a:gd name="connsiteX1" fmla="*/ 13103 w 13102"/>
                <a:gd name="connsiteY1" fmla="*/ 0 h 144261"/>
                <a:gd name="connsiteX2" fmla="*/ 13103 w 13102"/>
                <a:gd name="connsiteY2" fmla="*/ 144262 h 144261"/>
                <a:gd name="connsiteX3" fmla="*/ 0 w 13102"/>
                <a:gd name="connsiteY3" fmla="*/ 144262 h 1442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102" h="144261">
                  <a:moveTo>
                    <a:pt x="0" y="0"/>
                  </a:moveTo>
                  <a:lnTo>
                    <a:pt x="13103" y="0"/>
                  </a:lnTo>
                  <a:lnTo>
                    <a:pt x="13103" y="144262"/>
                  </a:lnTo>
                  <a:lnTo>
                    <a:pt x="0" y="144262"/>
                  </a:lnTo>
                  <a:close/>
                </a:path>
              </a:pathLst>
            </a:custGeom>
            <a:grpFill/>
            <a:ln w="265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62" name="Freihandform: Form 390">
              <a:extLst>
                <a:ext uri="{FF2B5EF4-FFF2-40B4-BE49-F238E27FC236}">
                  <a16:creationId xmlns:a16="http://schemas.microsoft.com/office/drawing/2014/main" id="{7221B4B6-4F8D-8F68-DA2D-CE2E8AE68B55}"/>
                </a:ext>
              </a:extLst>
            </p:cNvPr>
            <p:cNvSpPr/>
            <p:nvPr/>
          </p:nvSpPr>
          <p:spPr>
            <a:xfrm>
              <a:off x="976051" y="2458617"/>
              <a:ext cx="78668" cy="91771"/>
            </a:xfrm>
            <a:custGeom>
              <a:avLst/>
              <a:gdLst>
                <a:gd name="connsiteX0" fmla="*/ 39334 w 78668"/>
                <a:gd name="connsiteY0" fmla="*/ 91772 h 91771"/>
                <a:gd name="connsiteX1" fmla="*/ 0 w 78668"/>
                <a:gd name="connsiteY1" fmla="*/ 45886 h 91771"/>
                <a:gd name="connsiteX2" fmla="*/ 39334 w 78668"/>
                <a:gd name="connsiteY2" fmla="*/ 0 h 91771"/>
                <a:gd name="connsiteX3" fmla="*/ 78669 w 78668"/>
                <a:gd name="connsiteY3" fmla="*/ 45886 h 91771"/>
                <a:gd name="connsiteX4" fmla="*/ 39334 w 78668"/>
                <a:gd name="connsiteY4" fmla="*/ 91772 h 91771"/>
                <a:gd name="connsiteX5" fmla="*/ 39334 w 78668"/>
                <a:gd name="connsiteY5" fmla="*/ 13103 h 91771"/>
                <a:gd name="connsiteX6" fmla="*/ 13103 w 78668"/>
                <a:gd name="connsiteY6" fmla="*/ 45886 h 91771"/>
                <a:gd name="connsiteX7" fmla="*/ 39334 w 78668"/>
                <a:gd name="connsiteY7" fmla="*/ 78669 h 91771"/>
                <a:gd name="connsiteX8" fmla="*/ 65566 w 78668"/>
                <a:gd name="connsiteY8" fmla="*/ 45886 h 91771"/>
                <a:gd name="connsiteX9" fmla="*/ 39334 w 78668"/>
                <a:gd name="connsiteY9" fmla="*/ 13103 h 917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78668" h="91771">
                  <a:moveTo>
                    <a:pt x="39334" y="91772"/>
                  </a:moveTo>
                  <a:cubicBezTo>
                    <a:pt x="15808" y="91772"/>
                    <a:pt x="0" y="73338"/>
                    <a:pt x="0" y="45886"/>
                  </a:cubicBezTo>
                  <a:cubicBezTo>
                    <a:pt x="0" y="18434"/>
                    <a:pt x="15808" y="0"/>
                    <a:pt x="39334" y="0"/>
                  </a:cubicBezTo>
                  <a:cubicBezTo>
                    <a:pt x="62861" y="0"/>
                    <a:pt x="78669" y="18434"/>
                    <a:pt x="78669" y="45886"/>
                  </a:cubicBezTo>
                  <a:cubicBezTo>
                    <a:pt x="78669" y="73338"/>
                    <a:pt x="62861" y="91772"/>
                    <a:pt x="39334" y="91772"/>
                  </a:cubicBezTo>
                  <a:close/>
                  <a:moveTo>
                    <a:pt x="39334" y="13103"/>
                  </a:moveTo>
                  <a:cubicBezTo>
                    <a:pt x="19999" y="13103"/>
                    <a:pt x="13103" y="30051"/>
                    <a:pt x="13103" y="45886"/>
                  </a:cubicBezTo>
                  <a:cubicBezTo>
                    <a:pt x="13103" y="61720"/>
                    <a:pt x="19999" y="78669"/>
                    <a:pt x="39334" y="78669"/>
                  </a:cubicBezTo>
                  <a:cubicBezTo>
                    <a:pt x="58670" y="78669"/>
                    <a:pt x="65566" y="61720"/>
                    <a:pt x="65566" y="45886"/>
                  </a:cubicBezTo>
                  <a:cubicBezTo>
                    <a:pt x="65566" y="30025"/>
                    <a:pt x="58670" y="13103"/>
                    <a:pt x="39334" y="13103"/>
                  </a:cubicBezTo>
                  <a:close/>
                </a:path>
              </a:pathLst>
            </a:custGeom>
            <a:grpFill/>
            <a:ln w="265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63" name="Freihandform: Form 391">
              <a:extLst>
                <a:ext uri="{FF2B5EF4-FFF2-40B4-BE49-F238E27FC236}">
                  <a16:creationId xmlns:a16="http://schemas.microsoft.com/office/drawing/2014/main" id="{7F9B043E-A435-81E0-7BC5-110BD5922315}"/>
                </a:ext>
              </a:extLst>
            </p:cNvPr>
            <p:cNvSpPr/>
            <p:nvPr/>
          </p:nvSpPr>
          <p:spPr>
            <a:xfrm>
              <a:off x="949819" y="2648764"/>
              <a:ext cx="19680" cy="242584"/>
            </a:xfrm>
            <a:custGeom>
              <a:avLst/>
              <a:gdLst>
                <a:gd name="connsiteX0" fmla="*/ 19680 w 19680"/>
                <a:gd name="connsiteY0" fmla="*/ 242585 h 242584"/>
                <a:gd name="connsiteX1" fmla="*/ 6578 w 19680"/>
                <a:gd name="connsiteY1" fmla="*/ 242585 h 242584"/>
                <a:gd name="connsiteX2" fmla="*/ 6578 w 19680"/>
                <a:gd name="connsiteY2" fmla="*/ 13103 h 242584"/>
                <a:gd name="connsiteX3" fmla="*/ 0 w 19680"/>
                <a:gd name="connsiteY3" fmla="*/ 13103 h 242584"/>
                <a:gd name="connsiteX4" fmla="*/ 0 w 19680"/>
                <a:gd name="connsiteY4" fmla="*/ 0 h 242584"/>
                <a:gd name="connsiteX5" fmla="*/ 13103 w 19680"/>
                <a:gd name="connsiteY5" fmla="*/ 0 h 242584"/>
                <a:gd name="connsiteX6" fmla="*/ 19654 w 19680"/>
                <a:gd name="connsiteY6" fmla="*/ 6551 h 242584"/>
                <a:gd name="connsiteX7" fmla="*/ 19654 w 19680"/>
                <a:gd name="connsiteY7" fmla="*/ 242585 h 2425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9680" h="242584">
                  <a:moveTo>
                    <a:pt x="19680" y="242585"/>
                  </a:moveTo>
                  <a:lnTo>
                    <a:pt x="6578" y="242585"/>
                  </a:lnTo>
                  <a:lnTo>
                    <a:pt x="6578" y="13103"/>
                  </a:lnTo>
                  <a:lnTo>
                    <a:pt x="0" y="13103"/>
                  </a:lnTo>
                  <a:lnTo>
                    <a:pt x="0" y="0"/>
                  </a:lnTo>
                  <a:lnTo>
                    <a:pt x="13103" y="0"/>
                  </a:lnTo>
                  <a:cubicBezTo>
                    <a:pt x="16736" y="0"/>
                    <a:pt x="19654" y="2944"/>
                    <a:pt x="19654" y="6551"/>
                  </a:cubicBezTo>
                  <a:lnTo>
                    <a:pt x="19654" y="242585"/>
                  </a:lnTo>
                  <a:close/>
                </a:path>
              </a:pathLst>
            </a:custGeom>
            <a:grpFill/>
            <a:ln w="265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67" name="Rechteck 58">
            <a:extLst>
              <a:ext uri="{FF2B5EF4-FFF2-40B4-BE49-F238E27FC236}">
                <a16:creationId xmlns:a16="http://schemas.microsoft.com/office/drawing/2014/main" id="{A95C4A84-30CD-ABC2-0C49-6B0BC0884898}"/>
              </a:ext>
            </a:extLst>
          </p:cNvPr>
          <p:cNvSpPr/>
          <p:nvPr/>
        </p:nvSpPr>
        <p:spPr>
          <a:xfrm>
            <a:off x="749996" y="4100715"/>
            <a:ext cx="737381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1" i="0" u="none" strike="noStrike" kern="0" cap="none" spc="0" normalizeH="0" baseline="0" noProof="0" dirty="0">
                <a:ln>
                  <a:noFill/>
                </a:ln>
                <a:solidFill>
                  <a:schemeClr val="accent5">
                    <a:lumMod val="50000"/>
                  </a:schemeClr>
                </a:solidFill>
                <a:effectLst/>
                <a:uLnTx/>
                <a:uFillTx/>
              </a:rPr>
              <a:t>Governance</a:t>
            </a:r>
          </a:p>
        </p:txBody>
      </p:sp>
      <p:grpSp>
        <p:nvGrpSpPr>
          <p:cNvPr id="53" name="Gruppieren 52">
            <a:extLst>
              <a:ext uri="{FF2B5EF4-FFF2-40B4-BE49-F238E27FC236}">
                <a16:creationId xmlns:a16="http://schemas.microsoft.com/office/drawing/2014/main" id="{9A087D77-6F13-F775-C158-E7102B0DEAEF}"/>
              </a:ext>
            </a:extLst>
          </p:cNvPr>
          <p:cNvGrpSpPr/>
          <p:nvPr/>
        </p:nvGrpSpPr>
        <p:grpSpPr>
          <a:xfrm>
            <a:off x="881970" y="3634874"/>
            <a:ext cx="473431" cy="382909"/>
            <a:chOff x="881970" y="3634874"/>
            <a:chExt cx="473431" cy="382909"/>
          </a:xfrm>
        </p:grpSpPr>
        <p:grpSp>
          <p:nvGrpSpPr>
            <p:cNvPr id="69" name="Grafik 300">
              <a:extLst>
                <a:ext uri="{FF2B5EF4-FFF2-40B4-BE49-F238E27FC236}">
                  <a16:creationId xmlns:a16="http://schemas.microsoft.com/office/drawing/2014/main" id="{DC387EFD-F140-1D59-AEFA-5F15CD198185}"/>
                </a:ext>
              </a:extLst>
            </p:cNvPr>
            <p:cNvGrpSpPr/>
            <p:nvPr/>
          </p:nvGrpSpPr>
          <p:grpSpPr>
            <a:xfrm>
              <a:off x="881970" y="3751345"/>
              <a:ext cx="241500" cy="212821"/>
              <a:chOff x="7785130" y="3453739"/>
              <a:chExt cx="276770" cy="243901"/>
            </a:xfrm>
            <a:solidFill>
              <a:schemeClr val="accent5">
                <a:lumMod val="50000"/>
              </a:schemeClr>
            </a:solidFill>
          </p:grpSpPr>
          <p:sp>
            <p:nvSpPr>
              <p:cNvPr id="78" name="Freihandform: Form 1136">
                <a:extLst>
                  <a:ext uri="{FF2B5EF4-FFF2-40B4-BE49-F238E27FC236}">
                    <a16:creationId xmlns:a16="http://schemas.microsoft.com/office/drawing/2014/main" id="{E52E00E7-3A7A-1103-3893-AE505D53CBEB}"/>
                  </a:ext>
                </a:extLst>
              </p:cNvPr>
              <p:cNvSpPr/>
              <p:nvPr/>
            </p:nvSpPr>
            <p:spPr>
              <a:xfrm>
                <a:off x="7904289" y="3477122"/>
                <a:ext cx="138029" cy="143366"/>
              </a:xfrm>
              <a:custGeom>
                <a:avLst/>
                <a:gdLst>
                  <a:gd name="connsiteX0" fmla="*/ 70565 w 138029"/>
                  <a:gd name="connsiteY0" fmla="*/ 143366 h 143366"/>
                  <a:gd name="connsiteX1" fmla="*/ 65288 w 138029"/>
                  <a:gd name="connsiteY1" fmla="*/ 140765 h 143366"/>
                  <a:gd name="connsiteX2" fmla="*/ 1365 w 138029"/>
                  <a:gd name="connsiteY2" fmla="*/ 57186 h 143366"/>
                  <a:gd name="connsiteX3" fmla="*/ 2616 w 138029"/>
                  <a:gd name="connsiteY3" fmla="*/ 47857 h 143366"/>
                  <a:gd name="connsiteX4" fmla="*/ 63412 w 138029"/>
                  <a:gd name="connsiteY4" fmla="*/ 1366 h 143366"/>
                  <a:gd name="connsiteX5" fmla="*/ 68339 w 138029"/>
                  <a:gd name="connsiteY5" fmla="*/ 65 h 143366"/>
                  <a:gd name="connsiteX6" fmla="*/ 72741 w 138029"/>
                  <a:gd name="connsiteY6" fmla="*/ 2616 h 143366"/>
                  <a:gd name="connsiteX7" fmla="*/ 136663 w 138029"/>
                  <a:gd name="connsiteY7" fmla="*/ 86196 h 143366"/>
                  <a:gd name="connsiteX8" fmla="*/ 137964 w 138029"/>
                  <a:gd name="connsiteY8" fmla="*/ 91123 h 143366"/>
                  <a:gd name="connsiteX9" fmla="*/ 135413 w 138029"/>
                  <a:gd name="connsiteY9" fmla="*/ 95524 h 143366"/>
                  <a:gd name="connsiteX10" fmla="*/ 74616 w 138029"/>
                  <a:gd name="connsiteY10" fmla="*/ 142016 h 143366"/>
                  <a:gd name="connsiteX11" fmla="*/ 70565 w 138029"/>
                  <a:gd name="connsiteY11" fmla="*/ 143366 h 143366"/>
                  <a:gd name="connsiteX12" fmla="*/ 15971 w 138029"/>
                  <a:gd name="connsiteY12" fmla="*/ 54385 h 143366"/>
                  <a:gd name="connsiteX13" fmla="*/ 71815 w 138029"/>
                  <a:gd name="connsiteY13" fmla="*/ 127410 h 143366"/>
                  <a:gd name="connsiteX14" fmla="*/ 122058 w 138029"/>
                  <a:gd name="connsiteY14" fmla="*/ 88997 h 143366"/>
                  <a:gd name="connsiteX15" fmla="*/ 66213 w 138029"/>
                  <a:gd name="connsiteY15" fmla="*/ 15971 h 143366"/>
                  <a:gd name="connsiteX16" fmla="*/ 15971 w 138029"/>
                  <a:gd name="connsiteY16" fmla="*/ 54385 h 1433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138029" h="143366">
                    <a:moveTo>
                      <a:pt x="70565" y="143366"/>
                    </a:moveTo>
                    <a:cubicBezTo>
                      <a:pt x="68564" y="143366"/>
                      <a:pt x="66589" y="142466"/>
                      <a:pt x="65288" y="140765"/>
                    </a:cubicBezTo>
                    <a:lnTo>
                      <a:pt x="1365" y="57186"/>
                    </a:lnTo>
                    <a:cubicBezTo>
                      <a:pt x="-860" y="54260"/>
                      <a:pt x="-310" y="50083"/>
                      <a:pt x="2616" y="47857"/>
                    </a:cubicBezTo>
                    <a:lnTo>
                      <a:pt x="63412" y="1366"/>
                    </a:lnTo>
                    <a:cubicBezTo>
                      <a:pt x="64813" y="290"/>
                      <a:pt x="66589" y="-185"/>
                      <a:pt x="68339" y="65"/>
                    </a:cubicBezTo>
                    <a:cubicBezTo>
                      <a:pt x="70090" y="290"/>
                      <a:pt x="71665" y="1216"/>
                      <a:pt x="72741" y="2616"/>
                    </a:cubicBezTo>
                    <a:lnTo>
                      <a:pt x="136663" y="86196"/>
                    </a:lnTo>
                    <a:cubicBezTo>
                      <a:pt x="137739" y="87596"/>
                      <a:pt x="138214" y="89372"/>
                      <a:pt x="137964" y="91123"/>
                    </a:cubicBezTo>
                    <a:cubicBezTo>
                      <a:pt x="137739" y="92873"/>
                      <a:pt x="136813" y="94449"/>
                      <a:pt x="135413" y="95524"/>
                    </a:cubicBezTo>
                    <a:lnTo>
                      <a:pt x="74616" y="142016"/>
                    </a:lnTo>
                    <a:cubicBezTo>
                      <a:pt x="73391" y="142916"/>
                      <a:pt x="71990" y="143366"/>
                      <a:pt x="70565" y="143366"/>
                    </a:cubicBezTo>
                    <a:close/>
                    <a:moveTo>
                      <a:pt x="15971" y="54385"/>
                    </a:moveTo>
                    <a:lnTo>
                      <a:pt x="71815" y="127410"/>
                    </a:lnTo>
                    <a:lnTo>
                      <a:pt x="122058" y="88997"/>
                    </a:lnTo>
                    <a:lnTo>
                      <a:pt x="66213" y="15971"/>
                    </a:lnTo>
                    <a:lnTo>
                      <a:pt x="15971" y="54385"/>
                    </a:lnTo>
                    <a:close/>
                  </a:path>
                </a:pathLst>
              </a:custGeom>
              <a:grpFill/>
              <a:ln w="249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 dirty="0">
                  <a:ln>
                    <a:noFill/>
                  </a:ln>
                  <a:solidFill>
                    <a:schemeClr val="tx1">
                      <a:lumMod val="50000"/>
                      <a:lumOff val="50000"/>
                    </a:schemeClr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9" name="Freihandform: Form 1137">
                <a:extLst>
                  <a:ext uri="{FF2B5EF4-FFF2-40B4-BE49-F238E27FC236}">
                    <a16:creationId xmlns:a16="http://schemas.microsoft.com/office/drawing/2014/main" id="{C97C4554-76DB-A259-FEAA-074C02B3D086}"/>
                  </a:ext>
                </a:extLst>
              </p:cNvPr>
              <p:cNvSpPr/>
              <p:nvPr/>
            </p:nvSpPr>
            <p:spPr>
              <a:xfrm>
                <a:off x="7882806" y="3453739"/>
                <a:ext cx="87660" cy="70139"/>
              </a:xfrm>
              <a:custGeom>
                <a:avLst/>
                <a:gdLst>
                  <a:gd name="connsiteX0" fmla="*/ 6642 w 87660"/>
                  <a:gd name="connsiteY0" fmla="*/ 70140 h 70139"/>
                  <a:gd name="connsiteX1" fmla="*/ 1365 w 87660"/>
                  <a:gd name="connsiteY1" fmla="*/ 67539 h 70139"/>
                  <a:gd name="connsiteX2" fmla="*/ 2616 w 87660"/>
                  <a:gd name="connsiteY2" fmla="*/ 58211 h 70139"/>
                  <a:gd name="connsiteX3" fmla="*/ 76967 w 87660"/>
                  <a:gd name="connsiteY3" fmla="*/ 1365 h 70139"/>
                  <a:gd name="connsiteX4" fmla="*/ 86295 w 87660"/>
                  <a:gd name="connsiteY4" fmla="*/ 2616 h 70139"/>
                  <a:gd name="connsiteX5" fmla="*/ 85045 w 87660"/>
                  <a:gd name="connsiteY5" fmla="*/ 11944 h 70139"/>
                  <a:gd name="connsiteX6" fmla="*/ 10694 w 87660"/>
                  <a:gd name="connsiteY6" fmla="*/ 68789 h 70139"/>
                  <a:gd name="connsiteX7" fmla="*/ 6642 w 87660"/>
                  <a:gd name="connsiteY7" fmla="*/ 70140 h 701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87660" h="70139">
                    <a:moveTo>
                      <a:pt x="6642" y="70140"/>
                    </a:moveTo>
                    <a:cubicBezTo>
                      <a:pt x="4642" y="70140"/>
                      <a:pt x="2666" y="69239"/>
                      <a:pt x="1365" y="67539"/>
                    </a:cubicBezTo>
                    <a:cubicBezTo>
                      <a:pt x="-860" y="64613"/>
                      <a:pt x="-310" y="60436"/>
                      <a:pt x="2616" y="58211"/>
                    </a:cubicBezTo>
                    <a:lnTo>
                      <a:pt x="76967" y="1365"/>
                    </a:lnTo>
                    <a:cubicBezTo>
                      <a:pt x="79893" y="-860"/>
                      <a:pt x="84045" y="-310"/>
                      <a:pt x="86295" y="2616"/>
                    </a:cubicBezTo>
                    <a:cubicBezTo>
                      <a:pt x="88521" y="5542"/>
                      <a:pt x="87971" y="9718"/>
                      <a:pt x="85045" y="11944"/>
                    </a:cubicBezTo>
                    <a:lnTo>
                      <a:pt x="10694" y="68789"/>
                    </a:lnTo>
                    <a:cubicBezTo>
                      <a:pt x="9468" y="69690"/>
                      <a:pt x="8068" y="70140"/>
                      <a:pt x="6642" y="70140"/>
                    </a:cubicBezTo>
                    <a:close/>
                  </a:path>
                </a:pathLst>
              </a:custGeom>
              <a:grpFill/>
              <a:ln w="249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 dirty="0">
                  <a:ln>
                    <a:noFill/>
                  </a:ln>
                  <a:solidFill>
                    <a:schemeClr val="tx1">
                      <a:lumMod val="50000"/>
                      <a:lumOff val="50000"/>
                    </a:schemeClr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80" name="Freihandform: Form 1138">
                <a:extLst>
                  <a:ext uri="{FF2B5EF4-FFF2-40B4-BE49-F238E27FC236}">
                    <a16:creationId xmlns:a16="http://schemas.microsoft.com/office/drawing/2014/main" id="{71A05D16-023E-6AC3-8F72-AB5EF7F87717}"/>
                  </a:ext>
                </a:extLst>
              </p:cNvPr>
              <p:cNvSpPr/>
              <p:nvPr/>
            </p:nvSpPr>
            <p:spPr>
              <a:xfrm>
                <a:off x="7974239" y="3574232"/>
                <a:ext cx="87660" cy="70139"/>
              </a:xfrm>
              <a:custGeom>
                <a:avLst/>
                <a:gdLst>
                  <a:gd name="connsiteX0" fmla="*/ 6642 w 87660"/>
                  <a:gd name="connsiteY0" fmla="*/ 70140 h 70139"/>
                  <a:gd name="connsiteX1" fmla="*/ 1365 w 87660"/>
                  <a:gd name="connsiteY1" fmla="*/ 67539 h 70139"/>
                  <a:gd name="connsiteX2" fmla="*/ 2616 w 87660"/>
                  <a:gd name="connsiteY2" fmla="*/ 58211 h 70139"/>
                  <a:gd name="connsiteX3" fmla="*/ 76967 w 87660"/>
                  <a:gd name="connsiteY3" fmla="*/ 1365 h 70139"/>
                  <a:gd name="connsiteX4" fmla="*/ 86295 w 87660"/>
                  <a:gd name="connsiteY4" fmla="*/ 2616 h 70139"/>
                  <a:gd name="connsiteX5" fmla="*/ 85045 w 87660"/>
                  <a:gd name="connsiteY5" fmla="*/ 11944 h 70139"/>
                  <a:gd name="connsiteX6" fmla="*/ 10694 w 87660"/>
                  <a:gd name="connsiteY6" fmla="*/ 68789 h 70139"/>
                  <a:gd name="connsiteX7" fmla="*/ 6642 w 87660"/>
                  <a:gd name="connsiteY7" fmla="*/ 70140 h 701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87660" h="70139">
                    <a:moveTo>
                      <a:pt x="6642" y="70140"/>
                    </a:moveTo>
                    <a:cubicBezTo>
                      <a:pt x="4642" y="70140"/>
                      <a:pt x="2666" y="69240"/>
                      <a:pt x="1365" y="67539"/>
                    </a:cubicBezTo>
                    <a:cubicBezTo>
                      <a:pt x="-860" y="64613"/>
                      <a:pt x="-310" y="60436"/>
                      <a:pt x="2616" y="58211"/>
                    </a:cubicBezTo>
                    <a:lnTo>
                      <a:pt x="76967" y="1365"/>
                    </a:lnTo>
                    <a:cubicBezTo>
                      <a:pt x="79893" y="-860"/>
                      <a:pt x="84070" y="-310"/>
                      <a:pt x="86295" y="2616"/>
                    </a:cubicBezTo>
                    <a:cubicBezTo>
                      <a:pt x="88521" y="5542"/>
                      <a:pt x="87971" y="9718"/>
                      <a:pt x="85045" y="11944"/>
                    </a:cubicBezTo>
                    <a:lnTo>
                      <a:pt x="10694" y="68789"/>
                    </a:lnTo>
                    <a:cubicBezTo>
                      <a:pt x="9468" y="69690"/>
                      <a:pt x="8043" y="70140"/>
                      <a:pt x="6642" y="70140"/>
                    </a:cubicBezTo>
                    <a:close/>
                  </a:path>
                </a:pathLst>
              </a:custGeom>
              <a:grpFill/>
              <a:ln w="249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 dirty="0">
                  <a:ln>
                    <a:noFill/>
                  </a:ln>
                  <a:solidFill>
                    <a:schemeClr val="tx1">
                      <a:lumMod val="50000"/>
                      <a:lumOff val="50000"/>
                    </a:schemeClr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81" name="Freihandform: Form 1139">
                <a:extLst>
                  <a:ext uri="{FF2B5EF4-FFF2-40B4-BE49-F238E27FC236}">
                    <a16:creationId xmlns:a16="http://schemas.microsoft.com/office/drawing/2014/main" id="{001076D5-EA9A-D846-BC02-A32D79A9F31E}"/>
                  </a:ext>
                </a:extLst>
              </p:cNvPr>
              <p:cNvSpPr/>
              <p:nvPr/>
            </p:nvSpPr>
            <p:spPr>
              <a:xfrm>
                <a:off x="7869566" y="3578281"/>
                <a:ext cx="55467" cy="57287"/>
              </a:xfrm>
              <a:custGeom>
                <a:avLst/>
                <a:gdLst>
                  <a:gd name="connsiteX0" fmla="*/ 28886 w 55467"/>
                  <a:gd name="connsiteY0" fmla="*/ 57287 h 57287"/>
                  <a:gd name="connsiteX1" fmla="*/ 27335 w 55467"/>
                  <a:gd name="connsiteY1" fmla="*/ 57187 h 57287"/>
                  <a:gd name="connsiteX2" fmla="*/ 19783 w 55467"/>
                  <a:gd name="connsiteY2" fmla="*/ 52786 h 57287"/>
                  <a:gd name="connsiteX3" fmla="*/ 2351 w 55467"/>
                  <a:gd name="connsiteY3" fmla="*/ 29978 h 57287"/>
                  <a:gd name="connsiteX4" fmla="*/ 101 w 55467"/>
                  <a:gd name="connsiteY4" fmla="*/ 21500 h 57287"/>
                  <a:gd name="connsiteX5" fmla="*/ 4502 w 55467"/>
                  <a:gd name="connsiteY5" fmla="*/ 13947 h 57287"/>
                  <a:gd name="connsiteX6" fmla="*/ 19683 w 55467"/>
                  <a:gd name="connsiteY6" fmla="*/ 2343 h 57287"/>
                  <a:gd name="connsiteX7" fmla="*/ 28136 w 55467"/>
                  <a:gd name="connsiteY7" fmla="*/ 92 h 57287"/>
                  <a:gd name="connsiteX8" fmla="*/ 35688 w 55467"/>
                  <a:gd name="connsiteY8" fmla="*/ 4494 h 57287"/>
                  <a:gd name="connsiteX9" fmla="*/ 53119 w 55467"/>
                  <a:gd name="connsiteY9" fmla="*/ 27302 h 57287"/>
                  <a:gd name="connsiteX10" fmla="*/ 50994 w 55467"/>
                  <a:gd name="connsiteY10" fmla="*/ 43332 h 57287"/>
                  <a:gd name="connsiteX11" fmla="*/ 35788 w 55467"/>
                  <a:gd name="connsiteY11" fmla="*/ 54962 h 57287"/>
                  <a:gd name="connsiteX12" fmla="*/ 28886 w 55467"/>
                  <a:gd name="connsiteY12" fmla="*/ 57287 h 57287"/>
                  <a:gd name="connsiteX13" fmla="*/ 30336 w 55467"/>
                  <a:gd name="connsiteY13" fmla="*/ 44708 h 57287"/>
                  <a:gd name="connsiteX14" fmla="*/ 30336 w 55467"/>
                  <a:gd name="connsiteY14" fmla="*/ 44708 h 57287"/>
                  <a:gd name="connsiteX15" fmla="*/ 30336 w 55467"/>
                  <a:gd name="connsiteY15" fmla="*/ 44708 h 57287"/>
                  <a:gd name="connsiteX16" fmla="*/ 30336 w 55467"/>
                  <a:gd name="connsiteY16" fmla="*/ 44708 h 57287"/>
                  <a:gd name="connsiteX17" fmla="*/ 14056 w 55467"/>
                  <a:gd name="connsiteY17" fmla="*/ 23400 h 57287"/>
                  <a:gd name="connsiteX18" fmla="*/ 29211 w 55467"/>
                  <a:gd name="connsiteY18" fmla="*/ 43232 h 57287"/>
                  <a:gd name="connsiteX19" fmla="*/ 41440 w 55467"/>
                  <a:gd name="connsiteY19" fmla="*/ 33879 h 57287"/>
                  <a:gd name="connsiteX20" fmla="*/ 26285 w 55467"/>
                  <a:gd name="connsiteY20" fmla="*/ 14047 h 57287"/>
                  <a:gd name="connsiteX21" fmla="*/ 14056 w 55467"/>
                  <a:gd name="connsiteY21" fmla="*/ 23400 h 57287"/>
                  <a:gd name="connsiteX22" fmla="*/ 12580 w 55467"/>
                  <a:gd name="connsiteY22" fmla="*/ 24526 h 57287"/>
                  <a:gd name="connsiteX23" fmla="*/ 12580 w 55467"/>
                  <a:gd name="connsiteY23" fmla="*/ 24526 h 57287"/>
                  <a:gd name="connsiteX24" fmla="*/ 12580 w 55467"/>
                  <a:gd name="connsiteY24" fmla="*/ 24526 h 57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55467" h="57287">
                    <a:moveTo>
                      <a:pt x="28886" y="57287"/>
                    </a:moveTo>
                    <a:cubicBezTo>
                      <a:pt x="28386" y="57287"/>
                      <a:pt x="27861" y="57237"/>
                      <a:pt x="27335" y="57187"/>
                    </a:cubicBezTo>
                    <a:cubicBezTo>
                      <a:pt x="24309" y="56787"/>
                      <a:pt x="21633" y="55212"/>
                      <a:pt x="19783" y="52786"/>
                    </a:cubicBezTo>
                    <a:lnTo>
                      <a:pt x="2351" y="29978"/>
                    </a:lnTo>
                    <a:cubicBezTo>
                      <a:pt x="501" y="27552"/>
                      <a:pt x="-299" y="24551"/>
                      <a:pt x="101" y="21500"/>
                    </a:cubicBezTo>
                    <a:cubicBezTo>
                      <a:pt x="501" y="18474"/>
                      <a:pt x="2076" y="15798"/>
                      <a:pt x="4502" y="13947"/>
                    </a:cubicBezTo>
                    <a:lnTo>
                      <a:pt x="19683" y="2343"/>
                    </a:lnTo>
                    <a:cubicBezTo>
                      <a:pt x="22108" y="492"/>
                      <a:pt x="25085" y="-283"/>
                      <a:pt x="28136" y="92"/>
                    </a:cubicBezTo>
                    <a:cubicBezTo>
                      <a:pt x="31162" y="492"/>
                      <a:pt x="33838" y="2068"/>
                      <a:pt x="35688" y="4494"/>
                    </a:cubicBezTo>
                    <a:lnTo>
                      <a:pt x="53119" y="27302"/>
                    </a:lnTo>
                    <a:cubicBezTo>
                      <a:pt x="56946" y="32304"/>
                      <a:pt x="55996" y="39506"/>
                      <a:pt x="50994" y="43332"/>
                    </a:cubicBezTo>
                    <a:lnTo>
                      <a:pt x="35788" y="54962"/>
                    </a:lnTo>
                    <a:cubicBezTo>
                      <a:pt x="33788" y="56462"/>
                      <a:pt x="31387" y="57287"/>
                      <a:pt x="28886" y="57287"/>
                    </a:cubicBezTo>
                    <a:close/>
                    <a:moveTo>
                      <a:pt x="30336" y="44708"/>
                    </a:moveTo>
                    <a:lnTo>
                      <a:pt x="30336" y="44708"/>
                    </a:lnTo>
                    <a:lnTo>
                      <a:pt x="30336" y="44708"/>
                    </a:lnTo>
                    <a:lnTo>
                      <a:pt x="30336" y="44708"/>
                    </a:lnTo>
                    <a:close/>
                    <a:moveTo>
                      <a:pt x="14056" y="23400"/>
                    </a:moveTo>
                    <a:lnTo>
                      <a:pt x="29211" y="43232"/>
                    </a:lnTo>
                    <a:lnTo>
                      <a:pt x="41440" y="33879"/>
                    </a:lnTo>
                    <a:lnTo>
                      <a:pt x="26285" y="14047"/>
                    </a:lnTo>
                    <a:lnTo>
                      <a:pt x="14056" y="23400"/>
                    </a:lnTo>
                    <a:close/>
                    <a:moveTo>
                      <a:pt x="12580" y="24526"/>
                    </a:moveTo>
                    <a:lnTo>
                      <a:pt x="12580" y="24526"/>
                    </a:lnTo>
                    <a:lnTo>
                      <a:pt x="12580" y="24526"/>
                    </a:lnTo>
                    <a:close/>
                  </a:path>
                </a:pathLst>
              </a:custGeom>
              <a:grpFill/>
              <a:ln w="249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 dirty="0">
                  <a:ln>
                    <a:noFill/>
                  </a:ln>
                  <a:solidFill>
                    <a:schemeClr val="tx1">
                      <a:lumMod val="50000"/>
                      <a:lumOff val="50000"/>
                    </a:schemeClr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82" name="Freihandform: Form 1140">
                <a:extLst>
                  <a:ext uri="{FF2B5EF4-FFF2-40B4-BE49-F238E27FC236}">
                    <a16:creationId xmlns:a16="http://schemas.microsoft.com/office/drawing/2014/main" id="{CDC28929-7AA0-7B5B-DE05-8F4358524AB8}"/>
                  </a:ext>
                </a:extLst>
              </p:cNvPr>
              <p:cNvSpPr/>
              <p:nvPr/>
            </p:nvSpPr>
            <p:spPr>
              <a:xfrm>
                <a:off x="7893354" y="3542584"/>
                <a:ext cx="73636" cy="73652"/>
              </a:xfrm>
              <a:custGeom>
                <a:avLst/>
                <a:gdLst>
                  <a:gd name="connsiteX0" fmla="*/ 24080 w 73636"/>
                  <a:gd name="connsiteY0" fmla="*/ 73653 h 73652"/>
                  <a:gd name="connsiteX1" fmla="*/ 18803 w 73636"/>
                  <a:gd name="connsiteY1" fmla="*/ 71052 h 73652"/>
                  <a:gd name="connsiteX2" fmla="*/ 1372 w 73636"/>
                  <a:gd name="connsiteY2" fmla="*/ 48244 h 73652"/>
                  <a:gd name="connsiteX3" fmla="*/ 1147 w 73636"/>
                  <a:gd name="connsiteY3" fmla="*/ 40466 h 73652"/>
                  <a:gd name="connsiteX4" fmla="*/ 26631 w 73636"/>
                  <a:gd name="connsiteY4" fmla="*/ 2928 h 73652"/>
                  <a:gd name="connsiteX5" fmla="*/ 31933 w 73636"/>
                  <a:gd name="connsiteY5" fmla="*/ 2 h 73652"/>
                  <a:gd name="connsiteX6" fmla="*/ 37410 w 73636"/>
                  <a:gd name="connsiteY6" fmla="*/ 2603 h 73652"/>
                  <a:gd name="connsiteX7" fmla="*/ 72272 w 73636"/>
                  <a:gd name="connsiteY7" fmla="*/ 48194 h 73652"/>
                  <a:gd name="connsiteX8" fmla="*/ 73347 w 73636"/>
                  <a:gd name="connsiteY8" fmla="*/ 54146 h 73652"/>
                  <a:gd name="connsiteX9" fmla="*/ 69146 w 73636"/>
                  <a:gd name="connsiteY9" fmla="*/ 58498 h 73652"/>
                  <a:gd name="connsiteX10" fmla="*/ 26231 w 73636"/>
                  <a:gd name="connsiteY10" fmla="*/ 73253 h 73652"/>
                  <a:gd name="connsiteX11" fmla="*/ 24080 w 73636"/>
                  <a:gd name="connsiteY11" fmla="*/ 73653 h 73652"/>
                  <a:gd name="connsiteX12" fmla="*/ 14826 w 73636"/>
                  <a:gd name="connsiteY12" fmla="*/ 43967 h 73652"/>
                  <a:gd name="connsiteX13" fmla="*/ 26431 w 73636"/>
                  <a:gd name="connsiteY13" fmla="*/ 59148 h 73652"/>
                  <a:gd name="connsiteX14" fmla="*/ 56091 w 73636"/>
                  <a:gd name="connsiteY14" fmla="*/ 48944 h 73652"/>
                  <a:gd name="connsiteX15" fmla="*/ 32433 w 73636"/>
                  <a:gd name="connsiteY15" fmla="*/ 18008 h 73652"/>
                  <a:gd name="connsiteX16" fmla="*/ 14826 w 73636"/>
                  <a:gd name="connsiteY16" fmla="*/ 43967 h 736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73636" h="73652">
                    <a:moveTo>
                      <a:pt x="24080" y="73653"/>
                    </a:moveTo>
                    <a:cubicBezTo>
                      <a:pt x="22054" y="73653"/>
                      <a:pt x="20079" y="72728"/>
                      <a:pt x="18803" y="71052"/>
                    </a:cubicBezTo>
                    <a:lnTo>
                      <a:pt x="1372" y="48244"/>
                    </a:lnTo>
                    <a:cubicBezTo>
                      <a:pt x="-379" y="45968"/>
                      <a:pt x="-454" y="42842"/>
                      <a:pt x="1147" y="40466"/>
                    </a:cubicBezTo>
                    <a:lnTo>
                      <a:pt x="26631" y="2928"/>
                    </a:lnTo>
                    <a:cubicBezTo>
                      <a:pt x="27831" y="1152"/>
                      <a:pt x="29807" y="77"/>
                      <a:pt x="31933" y="2"/>
                    </a:cubicBezTo>
                    <a:cubicBezTo>
                      <a:pt x="34008" y="-48"/>
                      <a:pt x="36109" y="902"/>
                      <a:pt x="37410" y="2603"/>
                    </a:cubicBezTo>
                    <a:lnTo>
                      <a:pt x="72272" y="48194"/>
                    </a:lnTo>
                    <a:cubicBezTo>
                      <a:pt x="73572" y="49895"/>
                      <a:pt x="73972" y="52120"/>
                      <a:pt x="73347" y="54146"/>
                    </a:cubicBezTo>
                    <a:cubicBezTo>
                      <a:pt x="72722" y="56197"/>
                      <a:pt x="71171" y="57822"/>
                      <a:pt x="69146" y="58498"/>
                    </a:cubicBezTo>
                    <a:lnTo>
                      <a:pt x="26231" y="73253"/>
                    </a:lnTo>
                    <a:cubicBezTo>
                      <a:pt x="25530" y="73528"/>
                      <a:pt x="24780" y="73653"/>
                      <a:pt x="24080" y="73653"/>
                    </a:cubicBezTo>
                    <a:close/>
                    <a:moveTo>
                      <a:pt x="14826" y="43967"/>
                    </a:moveTo>
                    <a:lnTo>
                      <a:pt x="26431" y="59148"/>
                    </a:lnTo>
                    <a:lnTo>
                      <a:pt x="56091" y="48944"/>
                    </a:lnTo>
                    <a:lnTo>
                      <a:pt x="32433" y="18008"/>
                    </a:lnTo>
                    <a:lnTo>
                      <a:pt x="14826" y="43967"/>
                    </a:lnTo>
                    <a:close/>
                  </a:path>
                </a:pathLst>
              </a:custGeom>
              <a:grpFill/>
              <a:ln w="249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 dirty="0">
                  <a:ln>
                    <a:noFill/>
                  </a:ln>
                  <a:solidFill>
                    <a:schemeClr val="tx1">
                      <a:lumMod val="50000"/>
                      <a:lumOff val="50000"/>
                    </a:schemeClr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83" name="Freihandform: Form 1141">
                <a:extLst>
                  <a:ext uri="{FF2B5EF4-FFF2-40B4-BE49-F238E27FC236}">
                    <a16:creationId xmlns:a16="http://schemas.microsoft.com/office/drawing/2014/main" id="{21850BF4-5F87-9F84-6198-FA11D05AD718}"/>
                  </a:ext>
                </a:extLst>
              </p:cNvPr>
              <p:cNvSpPr/>
              <p:nvPr/>
            </p:nvSpPr>
            <p:spPr>
              <a:xfrm>
                <a:off x="7785130" y="3597590"/>
                <a:ext cx="116138" cy="100050"/>
              </a:xfrm>
              <a:custGeom>
                <a:avLst/>
                <a:gdLst>
                  <a:gd name="connsiteX0" fmla="*/ 21015 w 116138"/>
                  <a:gd name="connsiteY0" fmla="*/ 100050 h 100050"/>
                  <a:gd name="connsiteX1" fmla="*/ 4309 w 116138"/>
                  <a:gd name="connsiteY1" fmla="*/ 91823 h 100050"/>
                  <a:gd name="connsiteX2" fmla="*/ 4309 w 116138"/>
                  <a:gd name="connsiteY2" fmla="*/ 91823 h 100050"/>
                  <a:gd name="connsiteX3" fmla="*/ 8235 w 116138"/>
                  <a:gd name="connsiteY3" fmla="*/ 62387 h 100050"/>
                  <a:gd name="connsiteX4" fmla="*/ 88013 w 116138"/>
                  <a:gd name="connsiteY4" fmla="*/ 1365 h 100050"/>
                  <a:gd name="connsiteX5" fmla="*/ 97342 w 116138"/>
                  <a:gd name="connsiteY5" fmla="*/ 2616 h 100050"/>
                  <a:gd name="connsiteX6" fmla="*/ 114773 w 116138"/>
                  <a:gd name="connsiteY6" fmla="*/ 25424 h 100050"/>
                  <a:gd name="connsiteX7" fmla="*/ 116073 w 116138"/>
                  <a:gd name="connsiteY7" fmla="*/ 30351 h 100050"/>
                  <a:gd name="connsiteX8" fmla="*/ 113522 w 116138"/>
                  <a:gd name="connsiteY8" fmla="*/ 34752 h 100050"/>
                  <a:gd name="connsiteX9" fmla="*/ 33744 w 116138"/>
                  <a:gd name="connsiteY9" fmla="*/ 95774 h 100050"/>
                  <a:gd name="connsiteX10" fmla="*/ 21015 w 116138"/>
                  <a:gd name="connsiteY10" fmla="*/ 100050 h 100050"/>
                  <a:gd name="connsiteX11" fmla="*/ 14887 w 116138"/>
                  <a:gd name="connsiteY11" fmla="*/ 83720 h 100050"/>
                  <a:gd name="connsiteX12" fmla="*/ 25666 w 116138"/>
                  <a:gd name="connsiteY12" fmla="*/ 85145 h 100050"/>
                  <a:gd name="connsiteX13" fmla="*/ 100168 w 116138"/>
                  <a:gd name="connsiteY13" fmla="*/ 28175 h 100050"/>
                  <a:gd name="connsiteX14" fmla="*/ 90814 w 116138"/>
                  <a:gd name="connsiteY14" fmla="*/ 15946 h 100050"/>
                  <a:gd name="connsiteX15" fmla="*/ 16313 w 116138"/>
                  <a:gd name="connsiteY15" fmla="*/ 72916 h 100050"/>
                  <a:gd name="connsiteX16" fmla="*/ 14887 w 116138"/>
                  <a:gd name="connsiteY16" fmla="*/ 83720 h 100050"/>
                  <a:gd name="connsiteX17" fmla="*/ 14887 w 116138"/>
                  <a:gd name="connsiteY17" fmla="*/ 83720 h 100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116138" h="100050">
                    <a:moveTo>
                      <a:pt x="21015" y="100050"/>
                    </a:moveTo>
                    <a:cubicBezTo>
                      <a:pt x="14687" y="100050"/>
                      <a:pt x="8435" y="97224"/>
                      <a:pt x="4309" y="91823"/>
                    </a:cubicBezTo>
                    <a:cubicBezTo>
                      <a:pt x="4309" y="91823"/>
                      <a:pt x="4309" y="91823"/>
                      <a:pt x="4309" y="91823"/>
                    </a:cubicBezTo>
                    <a:cubicBezTo>
                      <a:pt x="-2719" y="82619"/>
                      <a:pt x="-968" y="69415"/>
                      <a:pt x="8235" y="62387"/>
                    </a:cubicBezTo>
                    <a:lnTo>
                      <a:pt x="88013" y="1365"/>
                    </a:lnTo>
                    <a:cubicBezTo>
                      <a:pt x="90939" y="-860"/>
                      <a:pt x="95116" y="-310"/>
                      <a:pt x="97342" y="2616"/>
                    </a:cubicBezTo>
                    <a:lnTo>
                      <a:pt x="114773" y="25424"/>
                    </a:lnTo>
                    <a:cubicBezTo>
                      <a:pt x="115848" y="26825"/>
                      <a:pt x="116323" y="28600"/>
                      <a:pt x="116073" y="30351"/>
                    </a:cubicBezTo>
                    <a:cubicBezTo>
                      <a:pt x="115848" y="32101"/>
                      <a:pt x="114923" y="33677"/>
                      <a:pt x="113522" y="34752"/>
                    </a:cubicBezTo>
                    <a:lnTo>
                      <a:pt x="33744" y="95774"/>
                    </a:lnTo>
                    <a:cubicBezTo>
                      <a:pt x="29943" y="98625"/>
                      <a:pt x="25466" y="100050"/>
                      <a:pt x="21015" y="100050"/>
                    </a:cubicBezTo>
                    <a:close/>
                    <a:moveTo>
                      <a:pt x="14887" y="83720"/>
                    </a:moveTo>
                    <a:cubicBezTo>
                      <a:pt x="17463" y="87096"/>
                      <a:pt x="22315" y="87746"/>
                      <a:pt x="25666" y="85145"/>
                    </a:cubicBezTo>
                    <a:lnTo>
                      <a:pt x="100168" y="28175"/>
                    </a:lnTo>
                    <a:lnTo>
                      <a:pt x="90814" y="15946"/>
                    </a:lnTo>
                    <a:lnTo>
                      <a:pt x="16313" y="72916"/>
                    </a:lnTo>
                    <a:cubicBezTo>
                      <a:pt x="12937" y="75517"/>
                      <a:pt x="12312" y="80343"/>
                      <a:pt x="14887" y="83720"/>
                    </a:cubicBezTo>
                    <a:lnTo>
                      <a:pt x="14887" y="83720"/>
                    </a:lnTo>
                    <a:close/>
                  </a:path>
                </a:pathLst>
              </a:custGeom>
              <a:grpFill/>
              <a:ln w="249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 dirty="0">
                  <a:ln>
                    <a:noFill/>
                  </a:ln>
                  <a:solidFill>
                    <a:schemeClr val="tx1">
                      <a:lumMod val="50000"/>
                      <a:lumOff val="50000"/>
                    </a:schemeClr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71" name="Freihandform: Form 1143">
              <a:extLst>
                <a:ext uri="{FF2B5EF4-FFF2-40B4-BE49-F238E27FC236}">
                  <a16:creationId xmlns:a16="http://schemas.microsoft.com/office/drawing/2014/main" id="{5FC4A204-9679-ED68-9126-B08BAB9EC7EE}"/>
                </a:ext>
              </a:extLst>
            </p:cNvPr>
            <p:cNvSpPr/>
            <p:nvPr/>
          </p:nvSpPr>
          <p:spPr>
            <a:xfrm>
              <a:off x="978298" y="3634896"/>
              <a:ext cx="272686" cy="313275"/>
            </a:xfrm>
            <a:custGeom>
              <a:avLst/>
              <a:gdLst>
                <a:gd name="connsiteX0" fmla="*/ 305858 w 312510"/>
                <a:gd name="connsiteY0" fmla="*/ 359027 h 359027"/>
                <a:gd name="connsiteX1" fmla="*/ 299206 w 312510"/>
                <a:gd name="connsiteY1" fmla="*/ 352375 h 359027"/>
                <a:gd name="connsiteX2" fmla="*/ 299206 w 312510"/>
                <a:gd name="connsiteY2" fmla="*/ 66499 h 359027"/>
                <a:gd name="connsiteX3" fmla="*/ 246012 w 312510"/>
                <a:gd name="connsiteY3" fmla="*/ 13305 h 359027"/>
                <a:gd name="connsiteX4" fmla="*/ 6652 w 312510"/>
                <a:gd name="connsiteY4" fmla="*/ 13305 h 359027"/>
                <a:gd name="connsiteX5" fmla="*/ 0 w 312510"/>
                <a:gd name="connsiteY5" fmla="*/ 6652 h 359027"/>
                <a:gd name="connsiteX6" fmla="*/ 6652 w 312510"/>
                <a:gd name="connsiteY6" fmla="*/ 0 h 359027"/>
                <a:gd name="connsiteX7" fmla="*/ 246012 w 312510"/>
                <a:gd name="connsiteY7" fmla="*/ 0 h 359027"/>
                <a:gd name="connsiteX8" fmla="*/ 312511 w 312510"/>
                <a:gd name="connsiteY8" fmla="*/ 66499 h 359027"/>
                <a:gd name="connsiteX9" fmla="*/ 312511 w 312510"/>
                <a:gd name="connsiteY9" fmla="*/ 352400 h 359027"/>
                <a:gd name="connsiteX10" fmla="*/ 305858 w 312510"/>
                <a:gd name="connsiteY10" fmla="*/ 359027 h 3590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12510" h="359027">
                  <a:moveTo>
                    <a:pt x="305858" y="359027"/>
                  </a:moveTo>
                  <a:cubicBezTo>
                    <a:pt x="302182" y="359027"/>
                    <a:pt x="299206" y="356051"/>
                    <a:pt x="299206" y="352375"/>
                  </a:cubicBezTo>
                  <a:lnTo>
                    <a:pt x="299206" y="66499"/>
                  </a:lnTo>
                  <a:cubicBezTo>
                    <a:pt x="299206" y="37163"/>
                    <a:pt x="275347" y="13305"/>
                    <a:pt x="246012" y="13305"/>
                  </a:cubicBezTo>
                  <a:lnTo>
                    <a:pt x="6652" y="13305"/>
                  </a:lnTo>
                  <a:cubicBezTo>
                    <a:pt x="2976" y="13305"/>
                    <a:pt x="0" y="10329"/>
                    <a:pt x="0" y="6652"/>
                  </a:cubicBezTo>
                  <a:cubicBezTo>
                    <a:pt x="0" y="2976"/>
                    <a:pt x="2976" y="0"/>
                    <a:pt x="6652" y="0"/>
                  </a:cubicBezTo>
                  <a:lnTo>
                    <a:pt x="246012" y="0"/>
                  </a:lnTo>
                  <a:cubicBezTo>
                    <a:pt x="282675" y="0"/>
                    <a:pt x="312511" y="29836"/>
                    <a:pt x="312511" y="66499"/>
                  </a:cubicBezTo>
                  <a:lnTo>
                    <a:pt x="312511" y="352400"/>
                  </a:lnTo>
                  <a:cubicBezTo>
                    <a:pt x="312486" y="356051"/>
                    <a:pt x="309535" y="359027"/>
                    <a:pt x="305858" y="359027"/>
                  </a:cubicBezTo>
                  <a:close/>
                </a:path>
              </a:pathLst>
            </a:custGeom>
            <a:solidFill>
              <a:schemeClr val="tx2"/>
            </a:solidFill>
            <a:ln w="249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72" name="Freihandform: Form 1144">
              <a:extLst>
                <a:ext uri="{FF2B5EF4-FFF2-40B4-BE49-F238E27FC236}">
                  <a16:creationId xmlns:a16="http://schemas.microsoft.com/office/drawing/2014/main" id="{C602312F-0865-D3A9-74D1-40A51B8ECA8B}"/>
                </a:ext>
              </a:extLst>
            </p:cNvPr>
            <p:cNvSpPr/>
            <p:nvPr/>
          </p:nvSpPr>
          <p:spPr>
            <a:xfrm>
              <a:off x="1030496" y="3920785"/>
              <a:ext cx="324905" cy="96998"/>
            </a:xfrm>
            <a:custGeom>
              <a:avLst/>
              <a:gdLst>
                <a:gd name="connsiteX0" fmla="*/ 305858 w 372356"/>
                <a:gd name="connsiteY0" fmla="*/ 111164 h 111164"/>
                <a:gd name="connsiteX1" fmla="*/ 66499 w 372356"/>
                <a:gd name="connsiteY1" fmla="*/ 111164 h 111164"/>
                <a:gd name="connsiteX2" fmla="*/ 0 w 372356"/>
                <a:gd name="connsiteY2" fmla="*/ 44666 h 111164"/>
                <a:gd name="connsiteX3" fmla="*/ 0 w 372356"/>
                <a:gd name="connsiteY3" fmla="*/ 6652 h 111164"/>
                <a:gd name="connsiteX4" fmla="*/ 6652 w 372356"/>
                <a:gd name="connsiteY4" fmla="*/ 0 h 111164"/>
                <a:gd name="connsiteX5" fmla="*/ 13305 w 372356"/>
                <a:gd name="connsiteY5" fmla="*/ 6652 h 111164"/>
                <a:gd name="connsiteX6" fmla="*/ 13305 w 372356"/>
                <a:gd name="connsiteY6" fmla="*/ 44666 h 111164"/>
                <a:gd name="connsiteX7" fmla="*/ 66499 w 372356"/>
                <a:gd name="connsiteY7" fmla="*/ 97860 h 111164"/>
                <a:gd name="connsiteX8" fmla="*/ 119693 w 372356"/>
                <a:gd name="connsiteY8" fmla="*/ 44666 h 111164"/>
                <a:gd name="connsiteX9" fmla="*/ 126345 w 372356"/>
                <a:gd name="connsiteY9" fmla="*/ 38013 h 111164"/>
                <a:gd name="connsiteX10" fmla="*/ 365705 w 372356"/>
                <a:gd name="connsiteY10" fmla="*/ 38013 h 111164"/>
                <a:gd name="connsiteX11" fmla="*/ 372357 w 372356"/>
                <a:gd name="connsiteY11" fmla="*/ 44666 h 111164"/>
                <a:gd name="connsiteX12" fmla="*/ 305858 w 372356"/>
                <a:gd name="connsiteY12" fmla="*/ 111164 h 111164"/>
                <a:gd name="connsiteX13" fmla="*/ 106363 w 372356"/>
                <a:gd name="connsiteY13" fmla="*/ 97885 h 111164"/>
                <a:gd name="connsiteX14" fmla="*/ 305858 w 372356"/>
                <a:gd name="connsiteY14" fmla="*/ 97885 h 111164"/>
                <a:gd name="connsiteX15" fmla="*/ 358627 w 372356"/>
                <a:gd name="connsiteY15" fmla="*/ 51343 h 111164"/>
                <a:gd name="connsiteX16" fmla="*/ 132647 w 372356"/>
                <a:gd name="connsiteY16" fmla="*/ 51343 h 111164"/>
                <a:gd name="connsiteX17" fmla="*/ 106363 w 372356"/>
                <a:gd name="connsiteY17" fmla="*/ 97885 h 1111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372356" h="111164">
                  <a:moveTo>
                    <a:pt x="305858" y="111164"/>
                  </a:moveTo>
                  <a:lnTo>
                    <a:pt x="66499" y="111164"/>
                  </a:lnTo>
                  <a:cubicBezTo>
                    <a:pt x="29836" y="111164"/>
                    <a:pt x="0" y="81329"/>
                    <a:pt x="0" y="44666"/>
                  </a:cubicBezTo>
                  <a:lnTo>
                    <a:pt x="0" y="6652"/>
                  </a:lnTo>
                  <a:cubicBezTo>
                    <a:pt x="0" y="2976"/>
                    <a:pt x="2976" y="0"/>
                    <a:pt x="6652" y="0"/>
                  </a:cubicBezTo>
                  <a:cubicBezTo>
                    <a:pt x="10329" y="0"/>
                    <a:pt x="13305" y="2976"/>
                    <a:pt x="13305" y="6652"/>
                  </a:cubicBezTo>
                  <a:lnTo>
                    <a:pt x="13305" y="44666"/>
                  </a:lnTo>
                  <a:cubicBezTo>
                    <a:pt x="13305" y="74001"/>
                    <a:pt x="37163" y="97860"/>
                    <a:pt x="66499" y="97860"/>
                  </a:cubicBezTo>
                  <a:cubicBezTo>
                    <a:pt x="95834" y="97860"/>
                    <a:pt x="119693" y="74001"/>
                    <a:pt x="119693" y="44666"/>
                  </a:cubicBezTo>
                  <a:cubicBezTo>
                    <a:pt x="119693" y="40990"/>
                    <a:pt x="122669" y="38013"/>
                    <a:pt x="126345" y="38013"/>
                  </a:cubicBezTo>
                  <a:lnTo>
                    <a:pt x="365705" y="38013"/>
                  </a:lnTo>
                  <a:cubicBezTo>
                    <a:pt x="369381" y="38013"/>
                    <a:pt x="372357" y="40990"/>
                    <a:pt x="372357" y="44666"/>
                  </a:cubicBezTo>
                  <a:cubicBezTo>
                    <a:pt x="372357" y="81354"/>
                    <a:pt x="342522" y="111164"/>
                    <a:pt x="305858" y="111164"/>
                  </a:cubicBezTo>
                  <a:close/>
                  <a:moveTo>
                    <a:pt x="106363" y="97885"/>
                  </a:moveTo>
                  <a:lnTo>
                    <a:pt x="305858" y="97885"/>
                  </a:lnTo>
                  <a:cubicBezTo>
                    <a:pt x="332943" y="97885"/>
                    <a:pt x="355351" y="77552"/>
                    <a:pt x="358627" y="51343"/>
                  </a:cubicBezTo>
                  <a:lnTo>
                    <a:pt x="132647" y="51343"/>
                  </a:lnTo>
                  <a:cubicBezTo>
                    <a:pt x="130771" y="70325"/>
                    <a:pt x="120868" y="86981"/>
                    <a:pt x="106363" y="97885"/>
                  </a:cubicBezTo>
                  <a:close/>
                </a:path>
              </a:pathLst>
            </a:custGeom>
            <a:solidFill>
              <a:schemeClr val="tx2"/>
            </a:solidFill>
            <a:ln w="249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73" name="Freihandform: Form 1145">
              <a:extLst>
                <a:ext uri="{FF2B5EF4-FFF2-40B4-BE49-F238E27FC236}">
                  <a16:creationId xmlns:a16="http://schemas.microsoft.com/office/drawing/2014/main" id="{B1DB2ED0-0EA8-9A2A-66EF-25F9ECCB605A}"/>
                </a:ext>
              </a:extLst>
            </p:cNvPr>
            <p:cNvSpPr/>
            <p:nvPr/>
          </p:nvSpPr>
          <p:spPr>
            <a:xfrm>
              <a:off x="926100" y="3634874"/>
              <a:ext cx="116027" cy="100271"/>
            </a:xfrm>
            <a:custGeom>
              <a:avLst/>
              <a:gdLst>
                <a:gd name="connsiteX0" fmla="*/ 126320 w 132972"/>
                <a:gd name="connsiteY0" fmla="*/ 114916 h 114915"/>
                <a:gd name="connsiteX1" fmla="*/ 119667 w 132972"/>
                <a:gd name="connsiteY1" fmla="*/ 108263 h 114915"/>
                <a:gd name="connsiteX2" fmla="*/ 119667 w 132972"/>
                <a:gd name="connsiteY2" fmla="*/ 73151 h 114915"/>
                <a:gd name="connsiteX3" fmla="*/ 6652 w 132972"/>
                <a:gd name="connsiteY3" fmla="*/ 73151 h 114915"/>
                <a:gd name="connsiteX4" fmla="*/ 0 w 132972"/>
                <a:gd name="connsiteY4" fmla="*/ 66499 h 114915"/>
                <a:gd name="connsiteX5" fmla="*/ 66474 w 132972"/>
                <a:gd name="connsiteY5" fmla="*/ 0 h 114915"/>
                <a:gd name="connsiteX6" fmla="*/ 132972 w 132972"/>
                <a:gd name="connsiteY6" fmla="*/ 66499 h 114915"/>
                <a:gd name="connsiteX7" fmla="*/ 132972 w 132972"/>
                <a:gd name="connsiteY7" fmla="*/ 108263 h 114915"/>
                <a:gd name="connsiteX8" fmla="*/ 126320 w 132972"/>
                <a:gd name="connsiteY8" fmla="*/ 114916 h 114915"/>
                <a:gd name="connsiteX9" fmla="*/ 13705 w 132972"/>
                <a:gd name="connsiteY9" fmla="*/ 59871 h 114915"/>
                <a:gd name="connsiteX10" fmla="*/ 119242 w 132972"/>
                <a:gd name="connsiteY10" fmla="*/ 59871 h 114915"/>
                <a:gd name="connsiteX11" fmla="*/ 66474 w 132972"/>
                <a:gd name="connsiteY11" fmla="*/ 13330 h 114915"/>
                <a:gd name="connsiteX12" fmla="*/ 13705 w 132972"/>
                <a:gd name="connsiteY12" fmla="*/ 59871 h 1149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32972" h="114915">
                  <a:moveTo>
                    <a:pt x="126320" y="114916"/>
                  </a:moveTo>
                  <a:cubicBezTo>
                    <a:pt x="122644" y="114916"/>
                    <a:pt x="119667" y="111940"/>
                    <a:pt x="119667" y="108263"/>
                  </a:cubicBezTo>
                  <a:lnTo>
                    <a:pt x="119667" y="73151"/>
                  </a:lnTo>
                  <a:lnTo>
                    <a:pt x="6652" y="73151"/>
                  </a:lnTo>
                  <a:cubicBezTo>
                    <a:pt x="2976" y="73151"/>
                    <a:pt x="0" y="70175"/>
                    <a:pt x="0" y="66499"/>
                  </a:cubicBezTo>
                  <a:cubicBezTo>
                    <a:pt x="0" y="29836"/>
                    <a:pt x="29836" y="0"/>
                    <a:pt x="66474" y="0"/>
                  </a:cubicBezTo>
                  <a:cubicBezTo>
                    <a:pt x="103137" y="0"/>
                    <a:pt x="132972" y="29836"/>
                    <a:pt x="132972" y="66499"/>
                  </a:cubicBezTo>
                  <a:lnTo>
                    <a:pt x="132972" y="108263"/>
                  </a:lnTo>
                  <a:cubicBezTo>
                    <a:pt x="132972" y="111965"/>
                    <a:pt x="129996" y="114916"/>
                    <a:pt x="126320" y="114916"/>
                  </a:cubicBezTo>
                  <a:close/>
                  <a:moveTo>
                    <a:pt x="13705" y="59871"/>
                  </a:moveTo>
                  <a:lnTo>
                    <a:pt x="119242" y="59871"/>
                  </a:lnTo>
                  <a:cubicBezTo>
                    <a:pt x="115966" y="33662"/>
                    <a:pt x="93533" y="13330"/>
                    <a:pt x="66474" y="13330"/>
                  </a:cubicBezTo>
                  <a:cubicBezTo>
                    <a:pt x="39414" y="13330"/>
                    <a:pt x="16981" y="33662"/>
                    <a:pt x="13705" y="59871"/>
                  </a:cubicBezTo>
                  <a:close/>
                </a:path>
              </a:pathLst>
            </a:custGeom>
            <a:solidFill>
              <a:schemeClr val="tx2"/>
            </a:solidFill>
            <a:ln w="249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74" name="Freihandform: Form 1146">
              <a:extLst>
                <a:ext uri="{FF2B5EF4-FFF2-40B4-BE49-F238E27FC236}">
                  <a16:creationId xmlns:a16="http://schemas.microsoft.com/office/drawing/2014/main" id="{0FA02034-3799-8A1B-4BAE-9C92A1C442D3}"/>
                </a:ext>
              </a:extLst>
            </p:cNvPr>
            <p:cNvSpPr/>
            <p:nvPr/>
          </p:nvSpPr>
          <p:spPr>
            <a:xfrm>
              <a:off x="1094325" y="3727727"/>
              <a:ext cx="92830" cy="11609"/>
            </a:xfrm>
            <a:custGeom>
              <a:avLst/>
              <a:gdLst>
                <a:gd name="connsiteX0" fmla="*/ 99735 w 106387"/>
                <a:gd name="connsiteY0" fmla="*/ 13305 h 13304"/>
                <a:gd name="connsiteX1" fmla="*/ 6652 w 106387"/>
                <a:gd name="connsiteY1" fmla="*/ 13305 h 13304"/>
                <a:gd name="connsiteX2" fmla="*/ 0 w 106387"/>
                <a:gd name="connsiteY2" fmla="*/ 6652 h 13304"/>
                <a:gd name="connsiteX3" fmla="*/ 6652 w 106387"/>
                <a:gd name="connsiteY3" fmla="*/ 0 h 13304"/>
                <a:gd name="connsiteX4" fmla="*/ 99735 w 106387"/>
                <a:gd name="connsiteY4" fmla="*/ 0 h 13304"/>
                <a:gd name="connsiteX5" fmla="*/ 106388 w 106387"/>
                <a:gd name="connsiteY5" fmla="*/ 6652 h 13304"/>
                <a:gd name="connsiteX6" fmla="*/ 99735 w 106387"/>
                <a:gd name="connsiteY6" fmla="*/ 13305 h 133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6387" h="13304">
                  <a:moveTo>
                    <a:pt x="99735" y="13305"/>
                  </a:moveTo>
                  <a:lnTo>
                    <a:pt x="6652" y="13305"/>
                  </a:lnTo>
                  <a:cubicBezTo>
                    <a:pt x="2976" y="13305"/>
                    <a:pt x="0" y="10329"/>
                    <a:pt x="0" y="6652"/>
                  </a:cubicBezTo>
                  <a:cubicBezTo>
                    <a:pt x="0" y="2976"/>
                    <a:pt x="2976" y="0"/>
                    <a:pt x="6652" y="0"/>
                  </a:cubicBezTo>
                  <a:lnTo>
                    <a:pt x="99735" y="0"/>
                  </a:lnTo>
                  <a:cubicBezTo>
                    <a:pt x="103412" y="0"/>
                    <a:pt x="106388" y="2976"/>
                    <a:pt x="106388" y="6652"/>
                  </a:cubicBezTo>
                  <a:cubicBezTo>
                    <a:pt x="106388" y="10329"/>
                    <a:pt x="103412" y="13305"/>
                    <a:pt x="99735" y="13305"/>
                  </a:cubicBezTo>
                  <a:close/>
                </a:path>
              </a:pathLst>
            </a:custGeom>
            <a:solidFill>
              <a:schemeClr val="tx2"/>
            </a:solidFill>
            <a:ln w="249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75" name="Freihandform: Form 1147">
              <a:extLst>
                <a:ext uri="{FF2B5EF4-FFF2-40B4-BE49-F238E27FC236}">
                  <a16:creationId xmlns:a16="http://schemas.microsoft.com/office/drawing/2014/main" id="{CFF953BB-41B7-AAFB-0517-651E1AC1EA93}"/>
                </a:ext>
              </a:extLst>
            </p:cNvPr>
            <p:cNvSpPr/>
            <p:nvPr/>
          </p:nvSpPr>
          <p:spPr>
            <a:xfrm>
              <a:off x="1076933" y="3913365"/>
              <a:ext cx="133441" cy="11609"/>
            </a:xfrm>
            <a:custGeom>
              <a:avLst/>
              <a:gdLst>
                <a:gd name="connsiteX0" fmla="*/ 146277 w 152929"/>
                <a:gd name="connsiteY0" fmla="*/ 13305 h 13304"/>
                <a:gd name="connsiteX1" fmla="*/ 6652 w 152929"/>
                <a:gd name="connsiteY1" fmla="*/ 13305 h 13304"/>
                <a:gd name="connsiteX2" fmla="*/ 0 w 152929"/>
                <a:gd name="connsiteY2" fmla="*/ 6652 h 13304"/>
                <a:gd name="connsiteX3" fmla="*/ 6652 w 152929"/>
                <a:gd name="connsiteY3" fmla="*/ 0 h 13304"/>
                <a:gd name="connsiteX4" fmla="*/ 146277 w 152929"/>
                <a:gd name="connsiteY4" fmla="*/ 0 h 13304"/>
                <a:gd name="connsiteX5" fmla="*/ 152929 w 152929"/>
                <a:gd name="connsiteY5" fmla="*/ 6652 h 13304"/>
                <a:gd name="connsiteX6" fmla="*/ 146277 w 152929"/>
                <a:gd name="connsiteY6" fmla="*/ 13305 h 133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52929" h="13304">
                  <a:moveTo>
                    <a:pt x="146277" y="13305"/>
                  </a:moveTo>
                  <a:lnTo>
                    <a:pt x="6652" y="13305"/>
                  </a:lnTo>
                  <a:cubicBezTo>
                    <a:pt x="2976" y="13305"/>
                    <a:pt x="0" y="10329"/>
                    <a:pt x="0" y="6652"/>
                  </a:cubicBezTo>
                  <a:cubicBezTo>
                    <a:pt x="0" y="2976"/>
                    <a:pt x="2976" y="0"/>
                    <a:pt x="6652" y="0"/>
                  </a:cubicBezTo>
                  <a:lnTo>
                    <a:pt x="146277" y="0"/>
                  </a:lnTo>
                  <a:cubicBezTo>
                    <a:pt x="149953" y="0"/>
                    <a:pt x="152929" y="2976"/>
                    <a:pt x="152929" y="6652"/>
                  </a:cubicBezTo>
                  <a:cubicBezTo>
                    <a:pt x="152904" y="10329"/>
                    <a:pt x="149953" y="13305"/>
                    <a:pt x="146277" y="13305"/>
                  </a:cubicBezTo>
                  <a:close/>
                </a:path>
              </a:pathLst>
            </a:custGeom>
            <a:solidFill>
              <a:schemeClr val="tx2"/>
            </a:solidFill>
            <a:ln w="249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76" name="Freihandform: Form 1148">
              <a:extLst>
                <a:ext uri="{FF2B5EF4-FFF2-40B4-BE49-F238E27FC236}">
                  <a16:creationId xmlns:a16="http://schemas.microsoft.com/office/drawing/2014/main" id="{90B45724-EDCD-6485-25F1-A74E37AF2437}"/>
                </a:ext>
              </a:extLst>
            </p:cNvPr>
            <p:cNvSpPr/>
            <p:nvPr/>
          </p:nvSpPr>
          <p:spPr>
            <a:xfrm>
              <a:off x="1129152" y="3866950"/>
              <a:ext cx="81220" cy="11609"/>
            </a:xfrm>
            <a:custGeom>
              <a:avLst/>
              <a:gdLst>
                <a:gd name="connsiteX0" fmla="*/ 86430 w 93082"/>
                <a:gd name="connsiteY0" fmla="*/ 13305 h 13304"/>
                <a:gd name="connsiteX1" fmla="*/ 6652 w 93082"/>
                <a:gd name="connsiteY1" fmla="*/ 13305 h 13304"/>
                <a:gd name="connsiteX2" fmla="*/ 0 w 93082"/>
                <a:gd name="connsiteY2" fmla="*/ 6652 h 13304"/>
                <a:gd name="connsiteX3" fmla="*/ 6652 w 93082"/>
                <a:gd name="connsiteY3" fmla="*/ 0 h 13304"/>
                <a:gd name="connsiteX4" fmla="*/ 86430 w 93082"/>
                <a:gd name="connsiteY4" fmla="*/ 0 h 13304"/>
                <a:gd name="connsiteX5" fmla="*/ 93083 w 93082"/>
                <a:gd name="connsiteY5" fmla="*/ 6652 h 13304"/>
                <a:gd name="connsiteX6" fmla="*/ 86430 w 93082"/>
                <a:gd name="connsiteY6" fmla="*/ 13305 h 133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93082" h="13304">
                  <a:moveTo>
                    <a:pt x="86430" y="13305"/>
                  </a:moveTo>
                  <a:lnTo>
                    <a:pt x="6652" y="13305"/>
                  </a:lnTo>
                  <a:cubicBezTo>
                    <a:pt x="2976" y="13305"/>
                    <a:pt x="0" y="10329"/>
                    <a:pt x="0" y="6652"/>
                  </a:cubicBezTo>
                  <a:cubicBezTo>
                    <a:pt x="0" y="2976"/>
                    <a:pt x="2976" y="0"/>
                    <a:pt x="6652" y="0"/>
                  </a:cubicBezTo>
                  <a:lnTo>
                    <a:pt x="86430" y="0"/>
                  </a:lnTo>
                  <a:cubicBezTo>
                    <a:pt x="90107" y="0"/>
                    <a:pt x="93083" y="2976"/>
                    <a:pt x="93083" y="6652"/>
                  </a:cubicBezTo>
                  <a:cubicBezTo>
                    <a:pt x="93058" y="10329"/>
                    <a:pt x="90107" y="13305"/>
                    <a:pt x="86430" y="13305"/>
                  </a:cubicBezTo>
                  <a:close/>
                </a:path>
              </a:pathLst>
            </a:custGeom>
            <a:solidFill>
              <a:schemeClr val="tx2"/>
            </a:solidFill>
            <a:ln w="249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77" name="Freihandform: Form 1149">
              <a:extLst>
                <a:ext uri="{FF2B5EF4-FFF2-40B4-BE49-F238E27FC236}">
                  <a16:creationId xmlns:a16="http://schemas.microsoft.com/office/drawing/2014/main" id="{D99643A4-3E53-1E5C-3B9E-8695B9F115FD}"/>
                </a:ext>
              </a:extLst>
            </p:cNvPr>
            <p:cNvSpPr/>
            <p:nvPr/>
          </p:nvSpPr>
          <p:spPr>
            <a:xfrm>
              <a:off x="1111739" y="3820535"/>
              <a:ext cx="98634" cy="11609"/>
            </a:xfrm>
            <a:custGeom>
              <a:avLst/>
              <a:gdLst>
                <a:gd name="connsiteX0" fmla="*/ 106387 w 113039"/>
                <a:gd name="connsiteY0" fmla="*/ 13305 h 13304"/>
                <a:gd name="connsiteX1" fmla="*/ 6652 w 113039"/>
                <a:gd name="connsiteY1" fmla="*/ 13305 h 13304"/>
                <a:gd name="connsiteX2" fmla="*/ 0 w 113039"/>
                <a:gd name="connsiteY2" fmla="*/ 6652 h 13304"/>
                <a:gd name="connsiteX3" fmla="*/ 6652 w 113039"/>
                <a:gd name="connsiteY3" fmla="*/ 0 h 13304"/>
                <a:gd name="connsiteX4" fmla="*/ 106387 w 113039"/>
                <a:gd name="connsiteY4" fmla="*/ 0 h 13304"/>
                <a:gd name="connsiteX5" fmla="*/ 113040 w 113039"/>
                <a:gd name="connsiteY5" fmla="*/ 6652 h 13304"/>
                <a:gd name="connsiteX6" fmla="*/ 106387 w 113039"/>
                <a:gd name="connsiteY6" fmla="*/ 13305 h 133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13039" h="13304">
                  <a:moveTo>
                    <a:pt x="106387" y="13305"/>
                  </a:moveTo>
                  <a:lnTo>
                    <a:pt x="6652" y="13305"/>
                  </a:lnTo>
                  <a:cubicBezTo>
                    <a:pt x="2976" y="13305"/>
                    <a:pt x="0" y="10329"/>
                    <a:pt x="0" y="6652"/>
                  </a:cubicBezTo>
                  <a:cubicBezTo>
                    <a:pt x="0" y="2976"/>
                    <a:pt x="2976" y="0"/>
                    <a:pt x="6652" y="0"/>
                  </a:cubicBezTo>
                  <a:lnTo>
                    <a:pt x="106387" y="0"/>
                  </a:lnTo>
                  <a:cubicBezTo>
                    <a:pt x="110064" y="0"/>
                    <a:pt x="113040" y="2976"/>
                    <a:pt x="113040" y="6652"/>
                  </a:cubicBezTo>
                  <a:cubicBezTo>
                    <a:pt x="113015" y="10329"/>
                    <a:pt x="110064" y="13305"/>
                    <a:pt x="106387" y="13305"/>
                  </a:cubicBezTo>
                  <a:close/>
                </a:path>
              </a:pathLst>
            </a:custGeom>
            <a:solidFill>
              <a:schemeClr val="tx2"/>
            </a:solidFill>
            <a:ln w="249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84" name="Freeform: Shape 83">
            <a:extLst>
              <a:ext uri="{FF2B5EF4-FFF2-40B4-BE49-F238E27FC236}">
                <a16:creationId xmlns:a16="http://schemas.microsoft.com/office/drawing/2014/main" id="{01CDDDC5-B6C6-6276-0211-3870F1E42526}"/>
              </a:ext>
            </a:extLst>
          </p:cNvPr>
          <p:cNvSpPr/>
          <p:nvPr/>
        </p:nvSpPr>
        <p:spPr>
          <a:xfrm>
            <a:off x="1356816" y="2151487"/>
            <a:ext cx="544033" cy="558898"/>
          </a:xfrm>
          <a:custGeom>
            <a:avLst/>
            <a:gdLst>
              <a:gd name="connsiteX0" fmla="*/ 228396 w 383476"/>
              <a:gd name="connsiteY0" fmla="*/ 258468 h 393954"/>
              <a:gd name="connsiteX1" fmla="*/ 250113 w 383476"/>
              <a:gd name="connsiteY1" fmla="*/ 236370 h 393954"/>
              <a:gd name="connsiteX2" fmla="*/ 382891 w 383476"/>
              <a:gd name="connsiteY2" fmla="*/ -327 h 393954"/>
              <a:gd name="connsiteX3" fmla="*/ 153148 w 383476"/>
              <a:gd name="connsiteY3" fmla="*/ 135500 h 393954"/>
              <a:gd name="connsiteX4" fmla="*/ 132765 w 383476"/>
              <a:gd name="connsiteY4" fmla="*/ 156264 h 393954"/>
              <a:gd name="connsiteX5" fmla="*/ -586 w 383476"/>
              <a:gd name="connsiteY5" fmla="*/ 393627 h 393954"/>
              <a:gd name="connsiteX6" fmla="*/ 228396 w 383476"/>
              <a:gd name="connsiteY6" fmla="*/ 258468 h 3939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83476" h="393954">
                <a:moveTo>
                  <a:pt x="228396" y="258468"/>
                </a:moveTo>
                <a:cubicBezTo>
                  <a:pt x="235349" y="250848"/>
                  <a:pt x="242588" y="243513"/>
                  <a:pt x="250113" y="236370"/>
                </a:cubicBezTo>
                <a:cubicBezTo>
                  <a:pt x="312597" y="169180"/>
                  <a:pt x="358126" y="88027"/>
                  <a:pt x="382891" y="-327"/>
                </a:cubicBezTo>
                <a:cubicBezTo>
                  <a:pt x="296633" y="26115"/>
                  <a:pt x="217890" y="72663"/>
                  <a:pt x="153148" y="135500"/>
                </a:cubicBezTo>
                <a:cubicBezTo>
                  <a:pt x="146576" y="142644"/>
                  <a:pt x="139718" y="149597"/>
                  <a:pt x="132765" y="156264"/>
                </a:cubicBezTo>
                <a:cubicBezTo>
                  <a:pt x="69928" y="223549"/>
                  <a:pt x="24189" y="304959"/>
                  <a:pt x="-586" y="393627"/>
                </a:cubicBezTo>
                <a:cubicBezTo>
                  <a:pt x="85330" y="367253"/>
                  <a:pt x="163788" y="320942"/>
                  <a:pt x="228396" y="258468"/>
                </a:cubicBezTo>
                <a:close/>
              </a:path>
            </a:pathLst>
          </a:custGeom>
          <a:solidFill>
            <a:schemeClr val="accent4">
              <a:lumMod val="75000"/>
            </a:scheme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85" name="Freeform: Shape 84">
            <a:extLst>
              <a:ext uri="{FF2B5EF4-FFF2-40B4-BE49-F238E27FC236}">
                <a16:creationId xmlns:a16="http://schemas.microsoft.com/office/drawing/2014/main" id="{4015CB19-CCCD-5FD8-0CE5-F939DA2F3B7D}"/>
              </a:ext>
            </a:extLst>
          </p:cNvPr>
          <p:cNvSpPr/>
          <p:nvPr/>
        </p:nvSpPr>
        <p:spPr>
          <a:xfrm>
            <a:off x="1355095" y="3157544"/>
            <a:ext cx="542682" cy="557005"/>
          </a:xfrm>
          <a:custGeom>
            <a:avLst/>
            <a:gdLst>
              <a:gd name="connsiteX0" fmla="*/ -586 w 382524"/>
              <a:gd name="connsiteY0" fmla="*/ -250 h 392620"/>
              <a:gd name="connsiteX1" fmla="*/ 381939 w 382524"/>
              <a:gd name="connsiteY1" fmla="*/ 392371 h 392620"/>
              <a:gd name="connsiteX2" fmla="*/ -586 w 382524"/>
              <a:gd name="connsiteY2" fmla="*/ -250 h 3926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82524" h="392620">
                <a:moveTo>
                  <a:pt x="-586" y="-250"/>
                </a:moveTo>
                <a:cubicBezTo>
                  <a:pt x="52173" y="186983"/>
                  <a:pt x="196144" y="334754"/>
                  <a:pt x="381939" y="392371"/>
                </a:cubicBezTo>
                <a:cubicBezTo>
                  <a:pt x="329180" y="205138"/>
                  <a:pt x="185210" y="57367"/>
                  <a:pt x="-586" y="-250"/>
                </a:cubicBezTo>
                <a:close/>
              </a:path>
            </a:pathLst>
          </a:custGeom>
          <a:solidFill>
            <a:schemeClr val="accent4">
              <a:lumMod val="75000"/>
            </a:scheme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32536933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1A6A978A-E65B-DC67-6740-5ABB58A2C05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622511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5" imgH="426" progId="TCLayout.ActiveDocument.1">
                  <p:embed/>
                </p:oleObj>
              </mc:Choice>
              <mc:Fallback>
                <p:oleObj name="think-cell Folie" r:id="rId4" imgW="425" imgH="42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1A6A978A-E65B-DC67-6740-5ABB58A2C05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Rechteck 49">
            <a:extLst>
              <a:ext uri="{FF2B5EF4-FFF2-40B4-BE49-F238E27FC236}">
                <a16:creationId xmlns:a16="http://schemas.microsoft.com/office/drawing/2014/main" id="{AE9F5AB1-8850-C1CF-D4D5-AEF71B4B55DB}"/>
              </a:ext>
            </a:extLst>
          </p:cNvPr>
          <p:cNvSpPr/>
          <p:nvPr/>
        </p:nvSpPr>
        <p:spPr>
          <a:xfrm>
            <a:off x="1963758" y="4325305"/>
            <a:ext cx="6330412" cy="280395"/>
          </a:xfrm>
          <a:prstGeom prst="rect">
            <a:avLst/>
          </a:prstGeom>
          <a:noFill/>
          <a:ln w="9525" cap="flat" cmpd="sng" algn="ctr">
            <a:noFill/>
            <a:prstDash val="solid"/>
            <a:miter lim="800000"/>
          </a:ln>
          <a:effectLst/>
        </p:spPr>
        <p:txBody>
          <a:bodyPr rtlCol="0" anchor="t" anchorCtr="0"/>
          <a:lstStyle/>
          <a:p>
            <a:pPr marL="171446" marR="0" lvl="0" indent="-171446" defTabSz="685783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GB" sz="10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t>Global partnerships for collaborations and innovation towards climate-friendly solutions </a:t>
            </a:r>
          </a:p>
          <a:p>
            <a:pPr marL="171446" marR="0" lvl="0" indent="-171446" defTabSz="685783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GB" sz="10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t>Providing our expertise as a public voice to advocate for climate action and resilience </a:t>
            </a:r>
          </a:p>
        </p:txBody>
      </p:sp>
      <p:sp>
        <p:nvSpPr>
          <p:cNvPr id="18" name="Rechteck 49">
            <a:extLst>
              <a:ext uri="{FF2B5EF4-FFF2-40B4-BE49-F238E27FC236}">
                <a16:creationId xmlns:a16="http://schemas.microsoft.com/office/drawing/2014/main" id="{C48C381A-DF89-CAE1-1F31-5CF777EF3973}"/>
              </a:ext>
            </a:extLst>
          </p:cNvPr>
          <p:cNvSpPr/>
          <p:nvPr/>
        </p:nvSpPr>
        <p:spPr>
          <a:xfrm>
            <a:off x="0" y="4144645"/>
            <a:ext cx="9144000" cy="998841"/>
          </a:xfrm>
          <a:prstGeom prst="rect">
            <a:avLst/>
          </a:prstGeom>
          <a:solidFill>
            <a:schemeClr val="bg2">
              <a:alpha val="90000"/>
            </a:schemeClr>
          </a:solidFill>
          <a:ln w="9525" cap="flat" cmpd="sng" algn="ctr">
            <a:noFill/>
            <a:prstDash val="solid"/>
            <a:miter lim="800000"/>
          </a:ln>
          <a:effectLst/>
        </p:spPr>
        <p:txBody>
          <a:bodyPr wrap="square" lIns="306000" tIns="72000" rIns="72000" bIns="72000" rtlCol="0" anchor="t" anchorCtr="0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t>Initiatives and partnerships</a:t>
            </a:r>
          </a:p>
          <a:p>
            <a:pPr marL="144000" marR="0" lvl="0" indent="-144000" defTabSz="685783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prstClr val="white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GB" sz="10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t>Global partnerships for collaborations and innovation towards climate-friendly solutions </a:t>
            </a:r>
          </a:p>
          <a:p>
            <a:pPr marL="144000" marR="0" lvl="0" indent="-144000" defTabSz="685783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prstClr val="white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GB" sz="10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t>Providing expertise as a public voice to advocate for climate action and resilience</a:t>
            </a:r>
          </a:p>
        </p:txBody>
      </p:sp>
      <p:sp>
        <p:nvSpPr>
          <p:cNvPr id="11" name="Rechteck 5">
            <a:extLst>
              <a:ext uri="{FF2B5EF4-FFF2-40B4-BE49-F238E27FC236}">
                <a16:creationId xmlns:a16="http://schemas.microsoft.com/office/drawing/2014/main" id="{B464076B-2099-1396-0285-C2523971C6D0}"/>
              </a:ext>
            </a:extLst>
          </p:cNvPr>
          <p:cNvSpPr/>
          <p:nvPr/>
        </p:nvSpPr>
        <p:spPr>
          <a:xfrm>
            <a:off x="6489212" y="1440768"/>
            <a:ext cx="2653200" cy="796107"/>
          </a:xfrm>
          <a:prstGeom prst="rect">
            <a:avLst/>
          </a:prstGeom>
          <a:solidFill>
            <a:schemeClr val="tx2">
              <a:alpha val="5000"/>
            </a:schemeClr>
          </a:solidFill>
          <a:ln w="9525" cap="flat" cmpd="sng" algn="ctr">
            <a:noFill/>
            <a:prstDash val="solid"/>
            <a:miter lim="800000"/>
          </a:ln>
          <a:effectLst/>
        </p:spPr>
        <p:txBody>
          <a:bodyPr lIns="72000" tIns="72000" rIns="306000" bIns="72000" rtlCol="0" anchor="t" anchorCtr="0"/>
          <a:lstStyle/>
          <a:p>
            <a:pPr marL="0" marR="0" lvl="0" indent="0" defTabSz="685783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>
                <a:srgbClr val="007F92"/>
              </a:buClr>
              <a:buSzTx/>
              <a:buFontTx/>
              <a:buNone/>
              <a:tabLst/>
              <a:defRPr/>
            </a:pPr>
            <a:r>
              <a:rPr kumimoji="0" lang="en-GB" sz="900" b="0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t>Improving operational emissions</a:t>
            </a:r>
            <a:br>
              <a:rPr kumimoji="0" lang="en-GB" sz="900" b="0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</a:br>
            <a:r>
              <a:rPr kumimoji="0" lang="en-GB" sz="900" b="0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t>and efficiency.</a:t>
            </a:r>
          </a:p>
        </p:txBody>
      </p:sp>
      <p:sp>
        <p:nvSpPr>
          <p:cNvPr id="12" name="Rechteck 5">
            <a:extLst>
              <a:ext uri="{FF2B5EF4-FFF2-40B4-BE49-F238E27FC236}">
                <a16:creationId xmlns:a16="http://schemas.microsoft.com/office/drawing/2014/main" id="{BFAF359A-E9A3-5609-91F8-80C65BB6D85F}"/>
              </a:ext>
            </a:extLst>
          </p:cNvPr>
          <p:cNvSpPr/>
          <p:nvPr/>
        </p:nvSpPr>
        <p:spPr>
          <a:xfrm>
            <a:off x="6489212" y="2340648"/>
            <a:ext cx="2653200" cy="796107"/>
          </a:xfrm>
          <a:prstGeom prst="rect">
            <a:avLst/>
          </a:prstGeom>
          <a:solidFill>
            <a:schemeClr val="tx2">
              <a:alpha val="5000"/>
            </a:schemeClr>
          </a:solidFill>
          <a:ln w="9525" cap="flat" cmpd="sng" algn="ctr">
            <a:noFill/>
            <a:prstDash val="solid"/>
            <a:miter lim="800000"/>
          </a:ln>
          <a:effectLst/>
        </p:spPr>
        <p:txBody>
          <a:bodyPr lIns="72000" tIns="72000" rIns="306000" bIns="72000" rtlCol="0" anchor="t" anchorCtr="0"/>
          <a:lstStyle/>
          <a:p>
            <a:pPr marL="108000" marR="0" lvl="0" indent="-108000" defTabSz="685783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>
                <a:schemeClr val="tx2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GB" sz="900" b="0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t>Carbon-neutral since 2015</a:t>
            </a:r>
          </a:p>
          <a:p>
            <a:pPr marL="108000" marR="0" lvl="0" indent="-108000" defTabSz="685783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>
                <a:schemeClr val="tx2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GB" sz="900" b="0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t>Net-zero emissions by 2030</a:t>
            </a:r>
          </a:p>
        </p:txBody>
      </p:sp>
      <p:sp>
        <p:nvSpPr>
          <p:cNvPr id="13" name="Rechteck 5">
            <a:extLst>
              <a:ext uri="{FF2B5EF4-FFF2-40B4-BE49-F238E27FC236}">
                <a16:creationId xmlns:a16="http://schemas.microsoft.com/office/drawing/2014/main" id="{3F9FE515-CBEE-838E-6E7E-CD267FF2DF62}"/>
              </a:ext>
            </a:extLst>
          </p:cNvPr>
          <p:cNvSpPr/>
          <p:nvPr/>
        </p:nvSpPr>
        <p:spPr>
          <a:xfrm>
            <a:off x="6489212" y="3250277"/>
            <a:ext cx="2653200" cy="796107"/>
          </a:xfrm>
          <a:prstGeom prst="rect">
            <a:avLst/>
          </a:prstGeom>
          <a:solidFill>
            <a:schemeClr val="tx2">
              <a:alpha val="5000"/>
            </a:schemeClr>
          </a:solidFill>
          <a:ln w="9525" cap="flat" cmpd="sng" algn="ctr">
            <a:noFill/>
            <a:prstDash val="solid"/>
            <a:miter lim="800000"/>
          </a:ln>
          <a:effectLst/>
        </p:spPr>
        <p:txBody>
          <a:bodyPr lIns="72000" tIns="72000" rIns="306000" bIns="72000" rtlCol="0" anchor="t" anchorCtr="0"/>
          <a:lstStyle/>
          <a:p>
            <a:pPr marL="0" marR="0" lvl="0" indent="0" defTabSz="685783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>
                <a:srgbClr val="007F92"/>
              </a:buClr>
              <a:buSzTx/>
              <a:buFontTx/>
              <a:buNone/>
              <a:tabLst/>
              <a:defRPr/>
            </a:pPr>
            <a:r>
              <a:rPr kumimoji="0" lang="en-GB" sz="900" b="0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t>Social engagement projects</a:t>
            </a:r>
            <a:br>
              <a:rPr kumimoji="0" lang="en-GB" sz="900" b="0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</a:br>
            <a:r>
              <a:rPr kumimoji="0" lang="en-GB" sz="900" b="0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t>focusing on climate change.</a:t>
            </a:r>
          </a:p>
        </p:txBody>
      </p:sp>
      <p:sp>
        <p:nvSpPr>
          <p:cNvPr id="14" name="Rechteck 37">
            <a:extLst>
              <a:ext uri="{FF2B5EF4-FFF2-40B4-BE49-F238E27FC236}">
                <a16:creationId xmlns:a16="http://schemas.microsoft.com/office/drawing/2014/main" id="{42D1A922-CCE2-699A-0189-D7E924A7D467}"/>
              </a:ext>
            </a:extLst>
          </p:cNvPr>
          <p:cNvSpPr/>
          <p:nvPr/>
        </p:nvSpPr>
        <p:spPr>
          <a:xfrm>
            <a:off x="0" y="2345522"/>
            <a:ext cx="6390953" cy="796107"/>
          </a:xfrm>
          <a:prstGeom prst="rect">
            <a:avLst/>
          </a:prstGeom>
          <a:solidFill>
            <a:schemeClr val="bg2">
              <a:alpha val="10000"/>
            </a:schemeClr>
          </a:solidFill>
          <a:ln w="9525" cap="flat" cmpd="sng" algn="ctr">
            <a:noFill/>
            <a:prstDash val="solid"/>
            <a:miter lim="800000"/>
          </a:ln>
          <a:effectLst/>
        </p:spPr>
        <p:txBody>
          <a:bodyPr lIns="306000" tIns="72000" rIns="72000" bIns="72000" rtlCol="0" anchor="ctr" anchorCtr="0"/>
          <a:lstStyle/>
          <a:p>
            <a:pPr marL="0" marR="0" lvl="0" indent="0" defTabSz="685783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t>Ambitious </a:t>
            </a:r>
            <a:br>
              <a:rPr kumimoji="0" lang="en-GB" sz="1100" b="0" i="0" u="none" strike="noStrike" kern="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</a:br>
            <a:r>
              <a:rPr kumimoji="0" lang="en-GB" sz="1100" b="0" i="0" u="none" strike="noStrike" kern="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t>decarbonisation </a:t>
            </a:r>
            <a:br>
              <a:rPr kumimoji="0" lang="en-GB" sz="1100" b="0" i="0" u="none" strike="noStrike" kern="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</a:br>
            <a:r>
              <a:rPr kumimoji="0" lang="en-GB" sz="1100" b="0" i="0" u="none" strike="noStrike" kern="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t>targets</a:t>
            </a:r>
            <a:endParaRPr kumimoji="0" lang="en-GB" sz="1400" b="0" i="0" u="none" strike="noStrike" kern="0" cap="none" spc="0" normalizeH="0" baseline="0" noProof="0" dirty="0">
              <a:ln>
                <a:noFill/>
              </a:ln>
              <a:solidFill>
                <a:schemeClr val="bg2"/>
              </a:solidFill>
              <a:effectLst/>
              <a:uLnTx/>
              <a:uFillTx/>
              <a:latin typeface="Arial"/>
              <a:ea typeface="Arial Unicode MS"/>
              <a:cs typeface="Arial"/>
            </a:endParaRPr>
          </a:p>
        </p:txBody>
      </p:sp>
      <p:sp>
        <p:nvSpPr>
          <p:cNvPr id="15" name="Rechteck 38">
            <a:extLst>
              <a:ext uri="{FF2B5EF4-FFF2-40B4-BE49-F238E27FC236}">
                <a16:creationId xmlns:a16="http://schemas.microsoft.com/office/drawing/2014/main" id="{3BA54E27-8E4D-0C4F-0F5F-3027B94A9B7B}"/>
              </a:ext>
            </a:extLst>
          </p:cNvPr>
          <p:cNvSpPr/>
          <p:nvPr/>
        </p:nvSpPr>
        <p:spPr>
          <a:xfrm>
            <a:off x="1" y="1440768"/>
            <a:ext cx="6390952" cy="796107"/>
          </a:xfrm>
          <a:prstGeom prst="rect">
            <a:avLst/>
          </a:prstGeom>
          <a:solidFill>
            <a:schemeClr val="bg2">
              <a:alpha val="10000"/>
            </a:schemeClr>
          </a:solidFill>
          <a:ln w="9525" cap="flat" cmpd="sng" algn="ctr">
            <a:noFill/>
            <a:prstDash val="solid"/>
            <a:miter lim="800000"/>
          </a:ln>
          <a:effectLst/>
        </p:spPr>
        <p:txBody>
          <a:bodyPr lIns="306000" tIns="72000" rIns="72000" bIns="72000" rtlCol="0" anchor="ctr" anchorCtr="0"/>
          <a:lstStyle/>
          <a:p>
            <a:pPr marL="0" marR="0" lvl="0" indent="0" defTabSz="685783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t>Comprehensive </a:t>
            </a:r>
            <a:br>
              <a:rPr kumimoji="0" lang="en-GB" sz="1100" b="0" i="0" u="none" strike="noStrike" kern="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</a:br>
            <a:r>
              <a:rPr kumimoji="0" lang="en-GB" sz="1100" b="0" i="0" u="none" strike="noStrike" kern="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t>climate risk</a:t>
            </a:r>
            <a:br>
              <a:rPr kumimoji="0" lang="en-GB" sz="1100" b="0" i="0" u="none" strike="noStrike" kern="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</a:br>
            <a:r>
              <a:rPr kumimoji="0" lang="en-GB" sz="1100" b="0" i="0" u="none" strike="noStrike" kern="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t>management</a:t>
            </a:r>
            <a:endParaRPr kumimoji="0" lang="en-GB" sz="1050" b="0" i="0" u="none" strike="noStrike" kern="0" cap="none" spc="0" normalizeH="0" baseline="0" noProof="0" dirty="0">
              <a:ln>
                <a:noFill/>
              </a:ln>
              <a:solidFill>
                <a:schemeClr val="bg2"/>
              </a:solidFill>
              <a:effectLst/>
              <a:uLnTx/>
              <a:uFillTx/>
              <a:latin typeface="Arial"/>
              <a:ea typeface="Arial Unicode MS"/>
              <a:cs typeface="Arial"/>
            </a:endParaRPr>
          </a:p>
        </p:txBody>
      </p:sp>
      <p:sp>
        <p:nvSpPr>
          <p:cNvPr id="16" name="Rechteck 39">
            <a:extLst>
              <a:ext uri="{FF2B5EF4-FFF2-40B4-BE49-F238E27FC236}">
                <a16:creationId xmlns:a16="http://schemas.microsoft.com/office/drawing/2014/main" id="{1BA33CB2-9B0E-2A05-7DDE-BB64F4EB480D}"/>
              </a:ext>
            </a:extLst>
          </p:cNvPr>
          <p:cNvSpPr/>
          <p:nvPr/>
        </p:nvSpPr>
        <p:spPr>
          <a:xfrm>
            <a:off x="0" y="3250277"/>
            <a:ext cx="6390953" cy="796107"/>
          </a:xfrm>
          <a:prstGeom prst="rect">
            <a:avLst/>
          </a:prstGeom>
          <a:solidFill>
            <a:schemeClr val="bg2">
              <a:alpha val="10000"/>
            </a:schemeClr>
          </a:solidFill>
          <a:ln w="9525" cap="flat" cmpd="sng" algn="ctr">
            <a:noFill/>
            <a:prstDash val="solid"/>
            <a:miter lim="800000"/>
          </a:ln>
          <a:effectLst/>
        </p:spPr>
        <p:txBody>
          <a:bodyPr lIns="306000" tIns="72000" rIns="72000" bIns="72000" rtlCol="0" anchor="ctr" anchorCtr="0"/>
          <a:lstStyle/>
          <a:p>
            <a:pPr marL="0" marR="0" lvl="0" indent="0" defTabSz="685783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t>Innovative </a:t>
            </a:r>
            <a:br>
              <a:rPr kumimoji="0" lang="en-GB" sz="1100" b="0" i="0" u="none" strike="noStrike" kern="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</a:br>
            <a:r>
              <a:rPr kumimoji="0" lang="en-GB" sz="1100" b="0" i="0" u="none" strike="noStrike" kern="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t>climate solutions </a:t>
            </a:r>
          </a:p>
        </p:txBody>
      </p:sp>
      <p:sp>
        <p:nvSpPr>
          <p:cNvPr id="19" name="Rechteck 31">
            <a:extLst>
              <a:ext uri="{FF2B5EF4-FFF2-40B4-BE49-F238E27FC236}">
                <a16:creationId xmlns:a16="http://schemas.microsoft.com/office/drawing/2014/main" id="{3D864336-7ED6-F8B4-CCE4-4C4E2F02EC99}"/>
              </a:ext>
            </a:extLst>
          </p:cNvPr>
          <p:cNvSpPr/>
          <p:nvPr/>
        </p:nvSpPr>
        <p:spPr>
          <a:xfrm>
            <a:off x="1595119" y="1147047"/>
            <a:ext cx="2163728" cy="293721"/>
          </a:xfrm>
          <a:prstGeom prst="rect">
            <a:avLst/>
          </a:prstGeom>
          <a:noFill/>
          <a:ln w="19050" cap="flat" cmpd="sng" algn="ctr">
            <a:noFill/>
            <a:prstDash val="solid"/>
            <a:miter lim="800000"/>
          </a:ln>
          <a:effectLst/>
        </p:spPr>
        <p:txBody>
          <a:bodyPr lIns="0" tIns="0" rIns="0" bIns="108000" rtlCol="0" anchor="b" anchorCtr="0">
            <a:spAutoFit/>
          </a:bodyPr>
          <a:lstStyle/>
          <a:p>
            <a:pPr marL="0" marR="0" lvl="0" indent="0" defTabSz="685783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t>Assets</a:t>
            </a:r>
          </a:p>
        </p:txBody>
      </p:sp>
      <p:sp>
        <p:nvSpPr>
          <p:cNvPr id="20" name="Rechteck 32">
            <a:extLst>
              <a:ext uri="{FF2B5EF4-FFF2-40B4-BE49-F238E27FC236}">
                <a16:creationId xmlns:a16="http://schemas.microsoft.com/office/drawing/2014/main" id="{242EDBA7-1D8C-4A45-36BF-36668A44BD85}"/>
              </a:ext>
            </a:extLst>
          </p:cNvPr>
          <p:cNvSpPr/>
          <p:nvPr/>
        </p:nvSpPr>
        <p:spPr>
          <a:xfrm>
            <a:off x="4042166" y="1147047"/>
            <a:ext cx="2163728" cy="293721"/>
          </a:xfrm>
          <a:prstGeom prst="rect">
            <a:avLst/>
          </a:prstGeom>
          <a:noFill/>
          <a:ln w="19050" cap="flat" cmpd="sng" algn="ctr">
            <a:noFill/>
            <a:prstDash val="solid"/>
            <a:miter lim="800000"/>
          </a:ln>
          <a:effectLst/>
        </p:spPr>
        <p:txBody>
          <a:bodyPr lIns="0" tIns="0" rIns="0" bIns="108000" rtlCol="0" anchor="b" anchorCtr="0">
            <a:spAutoFit/>
          </a:bodyPr>
          <a:lstStyle/>
          <a:p>
            <a:pPr marL="0" marR="0" lvl="0" indent="0" defTabSz="685783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t>Liabilities</a:t>
            </a:r>
          </a:p>
        </p:txBody>
      </p:sp>
      <p:sp>
        <p:nvSpPr>
          <p:cNvPr id="21" name="Rechteck 33">
            <a:extLst>
              <a:ext uri="{FF2B5EF4-FFF2-40B4-BE49-F238E27FC236}">
                <a16:creationId xmlns:a16="http://schemas.microsoft.com/office/drawing/2014/main" id="{8A0F2FBF-9B4A-0E80-ED06-8FEE1184035A}"/>
              </a:ext>
            </a:extLst>
          </p:cNvPr>
          <p:cNvSpPr/>
          <p:nvPr/>
        </p:nvSpPr>
        <p:spPr>
          <a:xfrm>
            <a:off x="6489211" y="1147047"/>
            <a:ext cx="2347197" cy="293721"/>
          </a:xfrm>
          <a:prstGeom prst="rect">
            <a:avLst/>
          </a:prstGeom>
          <a:noFill/>
          <a:ln w="19050" cap="flat" cmpd="sng" algn="ctr">
            <a:noFill/>
            <a:prstDash val="solid"/>
            <a:miter lim="800000"/>
          </a:ln>
          <a:effectLst/>
        </p:spPr>
        <p:txBody>
          <a:bodyPr wrap="square" lIns="0" tIns="0" rIns="0" bIns="108000" rtlCol="0" anchor="b" anchorCtr="0">
            <a:spAutoFit/>
          </a:bodyPr>
          <a:lstStyle/>
          <a:p>
            <a:pPr marL="0" marR="0" lvl="0" indent="0" defTabSz="685783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t>Own operations</a:t>
            </a:r>
          </a:p>
        </p:txBody>
      </p:sp>
      <p:sp>
        <p:nvSpPr>
          <p:cNvPr id="22" name="Rechteck 35">
            <a:extLst>
              <a:ext uri="{FF2B5EF4-FFF2-40B4-BE49-F238E27FC236}">
                <a16:creationId xmlns:a16="http://schemas.microsoft.com/office/drawing/2014/main" id="{DCD59AE7-7F32-474A-7574-DD069EA8DD7A}"/>
              </a:ext>
            </a:extLst>
          </p:cNvPr>
          <p:cNvSpPr/>
          <p:nvPr/>
        </p:nvSpPr>
        <p:spPr>
          <a:xfrm>
            <a:off x="1595118" y="2345522"/>
            <a:ext cx="2347200" cy="411702"/>
          </a:xfrm>
          <a:prstGeom prst="rect">
            <a:avLst/>
          </a:prstGeom>
          <a:noFill/>
          <a:ln w="9525" cap="flat" cmpd="sng" algn="ctr">
            <a:noFill/>
            <a:prstDash val="solid"/>
            <a:miter lim="800000"/>
          </a:ln>
          <a:effectLst/>
        </p:spPr>
        <p:txBody>
          <a:bodyPr wrap="square" lIns="72000" tIns="72000" rIns="72000" bIns="36000" rtlCol="0" anchor="t" anchorCtr="0">
            <a:spAutoFit/>
          </a:bodyPr>
          <a:lstStyle/>
          <a:p>
            <a:pPr marL="108000" marR="0" lvl="0" indent="-108000" defTabSz="685783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>
                <a:schemeClr val="bg2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GB" sz="900" b="0" i="0" u="none" strike="noStrike" kern="0" cap="none" spc="0" normalizeH="0" baseline="0" noProof="0" dirty="0">
                <a:ln>
                  <a:noFill/>
                </a:ln>
                <a:solidFill>
                  <a:schemeClr val="bg2">
                    <a:lumMod val="50000"/>
                  </a:schemeClr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t>Total: net-zero (2050)</a:t>
            </a:r>
          </a:p>
          <a:p>
            <a:pPr marL="108000" marR="0" lvl="0" indent="-108000" defTabSz="685783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>
                <a:schemeClr val="bg2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GB" sz="900" b="0" i="0" u="none" strike="noStrike" kern="0" cap="none" spc="0" normalizeH="0" baseline="0" noProof="0" dirty="0">
                <a:ln>
                  <a:noFill/>
                </a:ln>
                <a:solidFill>
                  <a:schemeClr val="bg2">
                    <a:lumMod val="50000"/>
                  </a:schemeClr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t>Thermal coal: full exit (2040)</a:t>
            </a:r>
          </a:p>
        </p:txBody>
      </p:sp>
      <p:sp>
        <p:nvSpPr>
          <p:cNvPr id="23" name="Rechteck 40">
            <a:extLst>
              <a:ext uri="{FF2B5EF4-FFF2-40B4-BE49-F238E27FC236}">
                <a16:creationId xmlns:a16="http://schemas.microsoft.com/office/drawing/2014/main" id="{7C70F2BA-2656-4779-8CE8-AABAA659C5D4}"/>
              </a:ext>
            </a:extLst>
          </p:cNvPr>
          <p:cNvSpPr/>
          <p:nvPr/>
        </p:nvSpPr>
        <p:spPr>
          <a:xfrm>
            <a:off x="4043753" y="2346897"/>
            <a:ext cx="2347200" cy="714349"/>
          </a:xfrm>
          <a:prstGeom prst="rect">
            <a:avLst/>
          </a:prstGeom>
          <a:noFill/>
          <a:ln w="9525" cap="flat" cmpd="sng" algn="ctr">
            <a:noFill/>
            <a:prstDash val="solid"/>
            <a:miter lim="800000"/>
          </a:ln>
          <a:effectLst/>
        </p:spPr>
        <p:txBody>
          <a:bodyPr wrap="square" lIns="0" tIns="72000" rIns="72000" bIns="36000" rtlCol="0" anchor="t" anchorCtr="0">
            <a:spAutoFit/>
          </a:bodyPr>
          <a:lstStyle/>
          <a:p>
            <a:pPr marL="108000" marR="0" lvl="0" indent="-108000" defTabSz="685783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>
                <a:schemeClr val="bg2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GB" sz="900" b="0" i="0" u="none" strike="noStrike" kern="0" cap="none" spc="0" normalizeH="0" baseline="0" noProof="0" dirty="0">
                <a:ln>
                  <a:noFill/>
                </a:ln>
                <a:solidFill>
                  <a:schemeClr val="bg2">
                    <a:lumMod val="50000"/>
                  </a:schemeClr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t>Oil and gas: net-zero (2050)</a:t>
            </a:r>
          </a:p>
          <a:p>
            <a:pPr marL="108000" marR="0" lvl="0" indent="-108000" defTabSz="685783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>
                <a:schemeClr val="bg2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GB" sz="900" b="0" i="0" u="none" strike="noStrike" kern="0" cap="none" spc="0" normalizeH="0" baseline="0" noProof="0" dirty="0">
                <a:ln>
                  <a:noFill/>
                </a:ln>
                <a:solidFill>
                  <a:schemeClr val="bg2">
                    <a:lumMod val="50000"/>
                  </a:schemeClr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t>Thermal coal: full exit (2040)</a:t>
            </a:r>
          </a:p>
          <a:p>
            <a:pPr marL="108000" marR="0" lvl="0" indent="-108000" defTabSz="685783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>
                <a:schemeClr val="bg2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GB" sz="900" b="0" i="0" u="none" strike="noStrike" kern="0" cap="none" spc="0" normalizeH="0" baseline="0" noProof="0" dirty="0">
                <a:ln>
                  <a:noFill/>
                </a:ln>
                <a:solidFill>
                  <a:schemeClr val="bg2">
                    <a:lumMod val="50000"/>
                  </a:schemeClr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t>Decarbonisation strategy for</a:t>
            </a:r>
            <a:br>
              <a:rPr kumimoji="0" lang="en-GB" sz="900" b="0" i="0" u="none" strike="noStrike" kern="0" cap="none" spc="0" normalizeH="0" baseline="0" noProof="0" dirty="0">
                <a:ln>
                  <a:noFill/>
                </a:ln>
                <a:solidFill>
                  <a:schemeClr val="bg2">
                    <a:lumMod val="50000"/>
                  </a:schemeClr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</a:br>
            <a:r>
              <a:rPr kumimoji="0" lang="en-GB" sz="900" b="0" i="0" u="none" strike="noStrike" kern="0" cap="none" spc="0" normalizeH="0" baseline="0" noProof="0" dirty="0">
                <a:ln>
                  <a:noFill/>
                </a:ln>
                <a:solidFill>
                  <a:schemeClr val="bg2">
                    <a:lumMod val="50000"/>
                  </a:schemeClr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t>treaty business</a:t>
            </a:r>
          </a:p>
        </p:txBody>
      </p:sp>
      <p:sp>
        <p:nvSpPr>
          <p:cNvPr id="24" name="Rechteck 41">
            <a:extLst>
              <a:ext uri="{FF2B5EF4-FFF2-40B4-BE49-F238E27FC236}">
                <a16:creationId xmlns:a16="http://schemas.microsoft.com/office/drawing/2014/main" id="{B9C93A08-DF48-20C8-274A-D487612B8B04}"/>
              </a:ext>
            </a:extLst>
          </p:cNvPr>
          <p:cNvSpPr/>
          <p:nvPr/>
        </p:nvSpPr>
        <p:spPr>
          <a:xfrm>
            <a:off x="1595119" y="1440768"/>
            <a:ext cx="3168000" cy="604062"/>
          </a:xfrm>
          <a:prstGeom prst="rect">
            <a:avLst/>
          </a:prstGeom>
          <a:noFill/>
          <a:ln w="9525" cap="flat" cmpd="sng" algn="ctr">
            <a:noFill/>
            <a:prstDash val="solid"/>
            <a:miter lim="800000"/>
          </a:ln>
          <a:effectLst/>
        </p:spPr>
        <p:txBody>
          <a:bodyPr wrap="square" lIns="72000" tIns="72000" rIns="0" bIns="36000" rtlCol="0" anchor="t" anchorCtr="0">
            <a:spAutoFit/>
          </a:bodyPr>
          <a:lstStyle/>
          <a:p>
            <a:pPr marL="0" marR="0" lvl="0" indent="0" defTabSz="685783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975D"/>
              </a:buClr>
              <a:buSzTx/>
              <a:buFontTx/>
              <a:buNone/>
              <a:tabLst/>
              <a:defRPr/>
            </a:pPr>
            <a:r>
              <a:rPr kumimoji="0" lang="en-GB" sz="1000" b="0" i="0" u="none" strike="noStrike" kern="0" cap="none" spc="0" normalizeH="0" baseline="0" noProof="0" dirty="0">
                <a:ln>
                  <a:noFill/>
                </a:ln>
                <a:solidFill>
                  <a:schemeClr val="bg2">
                    <a:lumMod val="50000"/>
                  </a:schemeClr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t>Climate risk management on both, assets and liabilities</a:t>
            </a:r>
          </a:p>
          <a:p>
            <a:pPr marL="108000" marR="0" lvl="1" indent="-108000" defTabSz="685783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>
                <a:schemeClr val="bg2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GB" sz="900" b="0" i="0" u="none" strike="noStrike" kern="0" cap="none" spc="0" normalizeH="0" baseline="0" noProof="0" dirty="0">
                <a:ln>
                  <a:noFill/>
                </a:ln>
                <a:solidFill>
                  <a:schemeClr val="bg2">
                    <a:lumMod val="50000"/>
                  </a:schemeClr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t>Physical risks</a:t>
            </a:r>
          </a:p>
          <a:p>
            <a:pPr marL="108000" marR="0" lvl="1" indent="-108000" defTabSz="685783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bg2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GB" sz="900" b="0" i="0" u="none" strike="noStrike" kern="0" cap="none" spc="0" normalizeH="0" baseline="0" noProof="0" dirty="0">
                <a:ln>
                  <a:noFill/>
                </a:ln>
                <a:solidFill>
                  <a:schemeClr val="bg2">
                    <a:lumMod val="50000"/>
                  </a:schemeClr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t>Transition risks</a:t>
            </a:r>
            <a:endParaRPr kumimoji="0" lang="en-GB" sz="1000" b="0" i="0" u="none" strike="noStrike" kern="0" cap="none" spc="0" normalizeH="0" baseline="0" noProof="0" dirty="0">
              <a:ln>
                <a:noFill/>
              </a:ln>
              <a:solidFill>
                <a:schemeClr val="bg2">
                  <a:lumMod val="50000"/>
                </a:schemeClr>
              </a:solidFill>
              <a:effectLst/>
              <a:uLnTx/>
              <a:uFillTx/>
              <a:latin typeface="Arial"/>
              <a:ea typeface="Arial Unicode MS"/>
              <a:cs typeface="Arial"/>
            </a:endParaRPr>
          </a:p>
        </p:txBody>
      </p:sp>
      <p:sp>
        <p:nvSpPr>
          <p:cNvPr id="25" name="Rechteck 42">
            <a:extLst>
              <a:ext uri="{FF2B5EF4-FFF2-40B4-BE49-F238E27FC236}">
                <a16:creationId xmlns:a16="http://schemas.microsoft.com/office/drawing/2014/main" id="{33F812CC-274A-7EF7-E739-33AA79129DED}"/>
              </a:ext>
            </a:extLst>
          </p:cNvPr>
          <p:cNvSpPr/>
          <p:nvPr/>
        </p:nvSpPr>
        <p:spPr>
          <a:xfrm>
            <a:off x="4043753" y="3250277"/>
            <a:ext cx="2347200" cy="550201"/>
          </a:xfrm>
          <a:prstGeom prst="rect">
            <a:avLst/>
          </a:prstGeom>
          <a:noFill/>
          <a:ln w="9525" cap="flat" cmpd="sng" algn="ctr">
            <a:noFill/>
            <a:prstDash val="solid"/>
            <a:miter lim="800000"/>
          </a:ln>
          <a:effectLst/>
        </p:spPr>
        <p:txBody>
          <a:bodyPr wrap="square" lIns="0" tIns="72000" rIns="72000" bIns="36000" rtlCol="0" anchor="t" anchorCtr="0">
            <a:spAutoFit/>
          </a:bodyPr>
          <a:lstStyle/>
          <a:p>
            <a:pPr marL="108000" marR="0" lvl="0" indent="-108000" defTabSz="685783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>
                <a:schemeClr val="bg2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GB" sz="900" b="0" i="0" u="none" strike="noStrike" kern="0" cap="none" spc="0" normalizeH="0" baseline="0" noProof="0" dirty="0">
                <a:ln>
                  <a:noFill/>
                </a:ln>
                <a:solidFill>
                  <a:schemeClr val="bg2">
                    <a:lumMod val="50000"/>
                  </a:schemeClr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t>Climate risk analysis services</a:t>
            </a:r>
          </a:p>
          <a:p>
            <a:pPr marL="108000" marR="0" lvl="0" indent="-108000" defTabSz="685783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>
                <a:schemeClr val="bg2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GB" sz="900" b="0" i="0" u="none" strike="noStrike" kern="0" cap="none" spc="0" normalizeH="0" baseline="0" noProof="0" dirty="0">
                <a:ln>
                  <a:noFill/>
                </a:ln>
                <a:solidFill>
                  <a:schemeClr val="bg2">
                    <a:lumMod val="50000"/>
                  </a:schemeClr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t>Risk transfer solutions for climate mitigation and adaptation</a:t>
            </a:r>
          </a:p>
        </p:txBody>
      </p:sp>
      <p:sp>
        <p:nvSpPr>
          <p:cNvPr id="27" name="Rechteck 47">
            <a:extLst>
              <a:ext uri="{FF2B5EF4-FFF2-40B4-BE49-F238E27FC236}">
                <a16:creationId xmlns:a16="http://schemas.microsoft.com/office/drawing/2014/main" id="{66970556-6DB6-EACB-FDBD-4B8795085629}"/>
              </a:ext>
            </a:extLst>
          </p:cNvPr>
          <p:cNvSpPr/>
          <p:nvPr/>
        </p:nvSpPr>
        <p:spPr>
          <a:xfrm>
            <a:off x="1595118" y="3250277"/>
            <a:ext cx="2347200" cy="550201"/>
          </a:xfrm>
          <a:prstGeom prst="rect">
            <a:avLst/>
          </a:prstGeom>
          <a:noFill/>
          <a:ln w="9525" cap="flat" cmpd="sng" algn="ctr">
            <a:noFill/>
            <a:prstDash val="solid"/>
            <a:miter lim="800000"/>
          </a:ln>
          <a:effectLst/>
        </p:spPr>
        <p:txBody>
          <a:bodyPr wrap="square" lIns="72000" tIns="72000" rIns="72000" bIns="36000" rtlCol="0" anchor="t" anchorCtr="0">
            <a:spAutoFit/>
          </a:bodyPr>
          <a:lstStyle/>
          <a:p>
            <a:pPr marL="108000" marR="0" lvl="0" indent="-108000" defTabSz="685783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>
                <a:schemeClr val="bg2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GB" sz="900" b="0" i="0" u="none" strike="noStrike" kern="0" cap="none" spc="0" normalizeH="0" baseline="0" noProof="0" dirty="0">
                <a:ln>
                  <a:noFill/>
                </a:ln>
                <a:solidFill>
                  <a:schemeClr val="bg2">
                    <a:lumMod val="50000"/>
                  </a:schemeClr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t>Investing in low-carbon technologies</a:t>
            </a:r>
            <a:br>
              <a:rPr kumimoji="0" lang="en-GB" sz="900" b="0" i="0" u="none" strike="noStrike" kern="0" cap="none" spc="0" normalizeH="0" baseline="0" noProof="0" dirty="0">
                <a:ln>
                  <a:noFill/>
                </a:ln>
                <a:solidFill>
                  <a:schemeClr val="bg2">
                    <a:lumMod val="50000"/>
                  </a:schemeClr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</a:br>
            <a:r>
              <a:rPr kumimoji="0" lang="en-GB" sz="900" b="0" i="0" u="none" strike="noStrike" kern="0" cap="none" spc="0" normalizeH="0" baseline="0" noProof="0" dirty="0">
                <a:ln>
                  <a:noFill/>
                </a:ln>
                <a:solidFill>
                  <a:schemeClr val="bg2">
                    <a:lumMod val="50000"/>
                  </a:schemeClr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t>and green innovations</a:t>
            </a:r>
          </a:p>
          <a:p>
            <a:pPr marL="108000" marR="0" lvl="0" indent="-108000" defTabSz="685783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>
                <a:schemeClr val="bg2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GB" sz="900" b="0" i="0" u="none" strike="noStrike" kern="0" cap="none" spc="0" normalizeH="0" baseline="0" noProof="0" dirty="0">
                <a:ln>
                  <a:noFill/>
                </a:ln>
                <a:solidFill>
                  <a:schemeClr val="bg2">
                    <a:lumMod val="50000"/>
                  </a:schemeClr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t>Green bond issuance</a:t>
            </a:r>
          </a:p>
        </p:txBody>
      </p:sp>
      <p:sp>
        <p:nvSpPr>
          <p:cNvPr id="28" name="Rechteck 8">
            <a:extLst>
              <a:ext uri="{FF2B5EF4-FFF2-40B4-BE49-F238E27FC236}">
                <a16:creationId xmlns:a16="http://schemas.microsoft.com/office/drawing/2014/main" id="{3F833F22-A3A8-ABDC-0D73-7B4C8D3F0E69}"/>
              </a:ext>
            </a:extLst>
          </p:cNvPr>
          <p:cNvSpPr/>
          <p:nvPr/>
        </p:nvSpPr>
        <p:spPr>
          <a:xfrm rot="10800000">
            <a:off x="1595120" y="1440763"/>
            <a:ext cx="4795833" cy="2593038"/>
          </a:xfrm>
          <a:custGeom>
            <a:avLst/>
            <a:gdLst>
              <a:gd name="connsiteX0" fmla="*/ 0 w 477667"/>
              <a:gd name="connsiteY0" fmla="*/ 0 h 477667"/>
              <a:gd name="connsiteX1" fmla="*/ 477667 w 477667"/>
              <a:gd name="connsiteY1" fmla="*/ 0 h 477667"/>
              <a:gd name="connsiteX2" fmla="*/ 477667 w 477667"/>
              <a:gd name="connsiteY2" fmla="*/ 477667 h 477667"/>
              <a:gd name="connsiteX3" fmla="*/ 0 w 477667"/>
              <a:gd name="connsiteY3" fmla="*/ 477667 h 477667"/>
              <a:gd name="connsiteX4" fmla="*/ 0 w 477667"/>
              <a:gd name="connsiteY4" fmla="*/ 0 h 477667"/>
              <a:gd name="connsiteX0" fmla="*/ 2381 w 480048"/>
              <a:gd name="connsiteY0" fmla="*/ 0 h 477667"/>
              <a:gd name="connsiteX1" fmla="*/ 480048 w 480048"/>
              <a:gd name="connsiteY1" fmla="*/ 0 h 477667"/>
              <a:gd name="connsiteX2" fmla="*/ 480048 w 480048"/>
              <a:gd name="connsiteY2" fmla="*/ 477667 h 477667"/>
              <a:gd name="connsiteX3" fmla="*/ 2381 w 480048"/>
              <a:gd name="connsiteY3" fmla="*/ 477667 h 477667"/>
              <a:gd name="connsiteX4" fmla="*/ 0 w 480048"/>
              <a:gd name="connsiteY4" fmla="*/ 223546 h 477667"/>
              <a:gd name="connsiteX5" fmla="*/ 2381 w 480048"/>
              <a:gd name="connsiteY5" fmla="*/ 0 h 477667"/>
              <a:gd name="connsiteX0" fmla="*/ 0 w 480048"/>
              <a:gd name="connsiteY0" fmla="*/ 223546 h 477667"/>
              <a:gd name="connsiteX1" fmla="*/ 2381 w 480048"/>
              <a:gd name="connsiteY1" fmla="*/ 0 h 477667"/>
              <a:gd name="connsiteX2" fmla="*/ 480048 w 480048"/>
              <a:gd name="connsiteY2" fmla="*/ 0 h 477667"/>
              <a:gd name="connsiteX3" fmla="*/ 480048 w 480048"/>
              <a:gd name="connsiteY3" fmla="*/ 477667 h 477667"/>
              <a:gd name="connsiteX4" fmla="*/ 2381 w 480048"/>
              <a:gd name="connsiteY4" fmla="*/ 477667 h 477667"/>
              <a:gd name="connsiteX5" fmla="*/ 91440 w 480048"/>
              <a:gd name="connsiteY5" fmla="*/ 314986 h 477667"/>
              <a:gd name="connsiteX0" fmla="*/ 0 w 480048"/>
              <a:gd name="connsiteY0" fmla="*/ 223546 h 477667"/>
              <a:gd name="connsiteX1" fmla="*/ 2381 w 480048"/>
              <a:gd name="connsiteY1" fmla="*/ 0 h 477667"/>
              <a:gd name="connsiteX2" fmla="*/ 480048 w 480048"/>
              <a:gd name="connsiteY2" fmla="*/ 0 h 477667"/>
              <a:gd name="connsiteX3" fmla="*/ 480048 w 480048"/>
              <a:gd name="connsiteY3" fmla="*/ 477667 h 477667"/>
              <a:gd name="connsiteX4" fmla="*/ 2381 w 480048"/>
              <a:gd name="connsiteY4" fmla="*/ 477667 h 477667"/>
              <a:gd name="connsiteX0" fmla="*/ 0 w 477667"/>
              <a:gd name="connsiteY0" fmla="*/ 0 h 477667"/>
              <a:gd name="connsiteX1" fmla="*/ 477667 w 477667"/>
              <a:gd name="connsiteY1" fmla="*/ 0 h 477667"/>
              <a:gd name="connsiteX2" fmla="*/ 477667 w 477667"/>
              <a:gd name="connsiteY2" fmla="*/ 477667 h 477667"/>
              <a:gd name="connsiteX3" fmla="*/ 0 w 477667"/>
              <a:gd name="connsiteY3" fmla="*/ 477667 h 477667"/>
              <a:gd name="connsiteX0" fmla="*/ 477667 w 477667"/>
              <a:gd name="connsiteY0" fmla="*/ 0 h 477667"/>
              <a:gd name="connsiteX1" fmla="*/ 477667 w 477667"/>
              <a:gd name="connsiteY1" fmla="*/ 477667 h 477667"/>
              <a:gd name="connsiteX2" fmla="*/ 0 w 477667"/>
              <a:gd name="connsiteY2" fmla="*/ 477667 h 4776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477667" h="477667">
                <a:moveTo>
                  <a:pt x="477667" y="0"/>
                </a:moveTo>
                <a:lnTo>
                  <a:pt x="477667" y="477667"/>
                </a:lnTo>
                <a:lnTo>
                  <a:pt x="0" y="477667"/>
                </a:lnTo>
              </a:path>
            </a:pathLst>
          </a:custGeom>
          <a:noFill/>
          <a:ln w="12700" cap="rnd" cmpd="sng" algn="ctr">
            <a:solidFill>
              <a:schemeClr val="bg2"/>
            </a:solidFill>
            <a:prstDash val="solid"/>
            <a:miter lim="800000"/>
          </a:ln>
          <a:effectLst/>
        </p:spPr>
        <p:txBody>
          <a:bodyPr rtlCol="0" anchor="ctr" anchorCtr="0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Arial Unicode MS"/>
              <a:cs typeface="Arial"/>
            </a:endParaRP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24D46B54-E960-C086-C158-C0D4755FB913}"/>
              </a:ext>
            </a:extLst>
          </p:cNvPr>
          <p:cNvCxnSpPr>
            <a:cxnSpLocks/>
          </p:cNvCxnSpPr>
          <p:nvPr/>
        </p:nvCxnSpPr>
        <p:spPr>
          <a:xfrm>
            <a:off x="6489212" y="1440768"/>
            <a:ext cx="2654788" cy="0"/>
          </a:xfrm>
          <a:prstGeom prst="line">
            <a:avLst/>
          </a:prstGeom>
          <a:noFill/>
          <a:ln w="12700" cap="rnd" cmpd="sng" algn="ctr">
            <a:solidFill>
              <a:schemeClr val="tx2"/>
            </a:solidFill>
            <a:prstDash val="solid"/>
            <a:miter lim="800000"/>
          </a:ln>
          <a:effectLst/>
        </p:spPr>
      </p:cxnSp>
      <p:sp>
        <p:nvSpPr>
          <p:cNvPr id="30" name="Rechteck 41">
            <a:extLst>
              <a:ext uri="{FF2B5EF4-FFF2-40B4-BE49-F238E27FC236}">
                <a16:creationId xmlns:a16="http://schemas.microsoft.com/office/drawing/2014/main" id="{EB931A9F-8F42-0E27-59EE-25B4B8913D02}"/>
              </a:ext>
            </a:extLst>
          </p:cNvPr>
          <p:cNvSpPr/>
          <p:nvPr/>
        </p:nvSpPr>
        <p:spPr>
          <a:xfrm>
            <a:off x="4043753" y="1440768"/>
            <a:ext cx="2347200" cy="604062"/>
          </a:xfrm>
          <a:prstGeom prst="rect">
            <a:avLst/>
          </a:prstGeom>
          <a:noFill/>
          <a:ln w="9525" cap="flat" cmpd="sng" algn="ctr">
            <a:noFill/>
            <a:prstDash val="solid"/>
            <a:miter lim="800000"/>
          </a:ln>
          <a:effectLst/>
        </p:spPr>
        <p:txBody>
          <a:bodyPr wrap="square" lIns="72000" tIns="72000" rIns="0" bIns="36000" rtlCol="0" anchor="t" anchorCtr="0">
            <a:spAutoFit/>
          </a:bodyPr>
          <a:lstStyle/>
          <a:p>
            <a:pPr marL="0" marR="0" lvl="0" indent="0" defTabSz="685783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975D"/>
              </a:buClr>
              <a:buSzTx/>
              <a:buFontTx/>
              <a:buNone/>
              <a:tabLst/>
              <a:defRPr/>
            </a:pPr>
            <a:endParaRPr kumimoji="0" lang="en-GB" sz="1000" b="0" i="0" u="none" strike="noStrike" kern="0" cap="none" spc="0" normalizeH="0" baseline="0" noProof="0" dirty="0">
              <a:ln>
                <a:noFill/>
              </a:ln>
              <a:solidFill>
                <a:schemeClr val="bg2">
                  <a:lumMod val="50000"/>
                </a:schemeClr>
              </a:solidFill>
              <a:effectLst/>
              <a:uLnTx/>
              <a:uFillTx/>
              <a:latin typeface="Arial"/>
              <a:ea typeface="Arial Unicode MS"/>
              <a:cs typeface="Arial"/>
            </a:endParaRPr>
          </a:p>
          <a:p>
            <a:pPr marL="108000" marR="0" lvl="1" indent="-108000" defTabSz="685783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>
                <a:schemeClr val="bg2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GB" sz="900" b="0" i="0" u="none" strike="noStrike" kern="0" cap="none" spc="0" normalizeH="0" baseline="0" noProof="0" dirty="0">
                <a:ln>
                  <a:noFill/>
                </a:ln>
                <a:solidFill>
                  <a:schemeClr val="bg2">
                    <a:lumMod val="50000"/>
                  </a:schemeClr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t>Reputational and ESG risks </a:t>
            </a:r>
          </a:p>
          <a:p>
            <a:pPr marL="108000" marR="0" lvl="1" indent="-108000" defTabSz="685783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bg2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GB" sz="900" b="0" i="0" u="none" strike="noStrike" kern="0" cap="none" spc="0" normalizeH="0" baseline="0" noProof="0" dirty="0">
                <a:ln>
                  <a:noFill/>
                </a:ln>
                <a:solidFill>
                  <a:schemeClr val="bg2">
                    <a:lumMod val="50000"/>
                  </a:schemeClr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t>Litigation risks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FDFE70A-A851-830B-B70B-96D334E362F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CBDD37-79BE-44D1-95D8-6BFB64430B95}" type="datetime4">
              <a:rPr lang="en-GB" noProof="0" smtClean="0">
                <a:solidFill>
                  <a:schemeClr val="bg1"/>
                </a:solidFill>
              </a:rPr>
              <a:pPr/>
              <a:t>14 March 2024</a:t>
            </a:fld>
            <a:endParaRPr lang="en-GB" noProof="0" dirty="0">
              <a:solidFill>
                <a:schemeClr val="bg1"/>
              </a:solidFill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22DF4CD-80EB-9199-B899-9FA2E996762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94909C6-CC71-4962-A18E-AF0515723D95}" type="slidenum">
              <a:rPr lang="en-GB" noProof="0" smtClean="0">
                <a:solidFill>
                  <a:schemeClr val="bg1"/>
                </a:solidFill>
              </a:rPr>
              <a:pPr/>
              <a:t>8</a:t>
            </a:fld>
            <a:endParaRPr lang="en-GB" noProof="0" dirty="0">
              <a:solidFill>
                <a:schemeClr val="bg1"/>
              </a:solidFill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6BBEB53-973A-69D6-041B-57D44C4055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GB" noProof="0" dirty="0">
                <a:solidFill>
                  <a:schemeClr val="bg1"/>
                </a:solidFill>
              </a:rPr>
              <a:t>Munich Re Group – Company Presentation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108A6CCA-BB9F-76AC-65A3-74B18AD4E3B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>
                <a:solidFill>
                  <a:schemeClr val="bg2"/>
                </a:solidFill>
              </a:rPr>
              <a:t>Munich Re Group</a:t>
            </a:r>
            <a:br>
              <a:rPr lang="en-GB" dirty="0"/>
            </a:br>
            <a:r>
              <a:rPr lang="en-GB" sz="1400" dirty="0">
                <a:solidFill>
                  <a:schemeClr val="tx2"/>
                </a:solidFill>
              </a:rPr>
              <a:t>Spotlight on Climate – Munich Re’s role as investor, underwriter and public voice</a:t>
            </a:r>
            <a:endParaRPr lang="en-GB" sz="1600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240131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1A6A978A-E65B-DC67-6740-5ABB58A2C05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107400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5" imgH="426" progId="TCLayout.ActiveDocument.1">
                  <p:embed/>
                </p:oleObj>
              </mc:Choice>
              <mc:Fallback>
                <p:oleObj name="think-cell Folie" r:id="rId4" imgW="425" imgH="42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1A6A978A-E65B-DC67-6740-5ABB58A2C05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0" name="Freeform: Shape 99">
            <a:extLst>
              <a:ext uri="{FF2B5EF4-FFF2-40B4-BE49-F238E27FC236}">
                <a16:creationId xmlns:a16="http://schemas.microsoft.com/office/drawing/2014/main" id="{006DBFBF-B9E8-5D3C-34D9-7EA3EE470491}"/>
              </a:ext>
            </a:extLst>
          </p:cNvPr>
          <p:cNvSpPr/>
          <p:nvPr/>
        </p:nvSpPr>
        <p:spPr>
          <a:xfrm>
            <a:off x="0" y="1480189"/>
            <a:ext cx="6427155" cy="2938355"/>
          </a:xfrm>
          <a:custGeom>
            <a:avLst/>
            <a:gdLst>
              <a:gd name="connsiteX0" fmla="*/ 0 w 6427155"/>
              <a:gd name="connsiteY0" fmla="*/ 0 h 2938355"/>
              <a:gd name="connsiteX1" fmla="*/ 183273 w 6427155"/>
              <a:gd name="connsiteY1" fmla="*/ 0 h 2938355"/>
              <a:gd name="connsiteX2" fmla="*/ 293224 w 6427155"/>
              <a:gd name="connsiteY2" fmla="*/ 0 h 2938355"/>
              <a:gd name="connsiteX3" fmla="*/ 423365 w 6427155"/>
              <a:gd name="connsiteY3" fmla="*/ 0 h 2938355"/>
              <a:gd name="connsiteX4" fmla="*/ 476497 w 6427155"/>
              <a:gd name="connsiteY4" fmla="*/ 0 h 2938355"/>
              <a:gd name="connsiteX5" fmla="*/ 606638 w 6427155"/>
              <a:gd name="connsiteY5" fmla="*/ 0 h 2938355"/>
              <a:gd name="connsiteX6" fmla="*/ 716589 w 6427155"/>
              <a:gd name="connsiteY6" fmla="*/ 0 h 2938355"/>
              <a:gd name="connsiteX7" fmla="*/ 899862 w 6427155"/>
              <a:gd name="connsiteY7" fmla="*/ 0 h 2938355"/>
              <a:gd name="connsiteX8" fmla="*/ 5527293 w 6427155"/>
              <a:gd name="connsiteY8" fmla="*/ 0 h 2938355"/>
              <a:gd name="connsiteX9" fmla="*/ 5710566 w 6427155"/>
              <a:gd name="connsiteY9" fmla="*/ 0 h 2938355"/>
              <a:gd name="connsiteX10" fmla="*/ 5820517 w 6427155"/>
              <a:gd name="connsiteY10" fmla="*/ 0 h 2938355"/>
              <a:gd name="connsiteX11" fmla="*/ 5950658 w 6427155"/>
              <a:gd name="connsiteY11" fmla="*/ 0 h 2938355"/>
              <a:gd name="connsiteX12" fmla="*/ 6003790 w 6427155"/>
              <a:gd name="connsiteY12" fmla="*/ 0 h 2938355"/>
              <a:gd name="connsiteX13" fmla="*/ 6133931 w 6427155"/>
              <a:gd name="connsiteY13" fmla="*/ 0 h 2938355"/>
              <a:gd name="connsiteX14" fmla="*/ 6243882 w 6427155"/>
              <a:gd name="connsiteY14" fmla="*/ 0 h 2938355"/>
              <a:gd name="connsiteX15" fmla="*/ 6427155 w 6427155"/>
              <a:gd name="connsiteY15" fmla="*/ 0 h 2938355"/>
              <a:gd name="connsiteX16" fmla="*/ 4954992 w 6427155"/>
              <a:gd name="connsiteY16" fmla="*/ 1472164 h 2938355"/>
              <a:gd name="connsiteX17" fmla="*/ 6421182 w 6427155"/>
              <a:gd name="connsiteY17" fmla="*/ 2938355 h 2938355"/>
              <a:gd name="connsiteX18" fmla="*/ 6237910 w 6427155"/>
              <a:gd name="connsiteY18" fmla="*/ 2938355 h 2938355"/>
              <a:gd name="connsiteX19" fmla="*/ 6127958 w 6427155"/>
              <a:gd name="connsiteY19" fmla="*/ 2938355 h 2938355"/>
              <a:gd name="connsiteX20" fmla="*/ 5997817 w 6427155"/>
              <a:gd name="connsiteY20" fmla="*/ 2938355 h 2938355"/>
              <a:gd name="connsiteX21" fmla="*/ 5944686 w 6427155"/>
              <a:gd name="connsiteY21" fmla="*/ 2938355 h 2938355"/>
              <a:gd name="connsiteX22" fmla="*/ 5814545 w 6427155"/>
              <a:gd name="connsiteY22" fmla="*/ 2938355 h 2938355"/>
              <a:gd name="connsiteX23" fmla="*/ 5704593 w 6427155"/>
              <a:gd name="connsiteY23" fmla="*/ 2938355 h 2938355"/>
              <a:gd name="connsiteX24" fmla="*/ 5521321 w 6427155"/>
              <a:gd name="connsiteY24" fmla="*/ 2938355 h 2938355"/>
              <a:gd name="connsiteX25" fmla="*/ 899862 w 6427155"/>
              <a:gd name="connsiteY25" fmla="*/ 2938355 h 2938355"/>
              <a:gd name="connsiteX26" fmla="*/ 716589 w 6427155"/>
              <a:gd name="connsiteY26" fmla="*/ 2938355 h 2938355"/>
              <a:gd name="connsiteX27" fmla="*/ 606638 w 6427155"/>
              <a:gd name="connsiteY27" fmla="*/ 2938355 h 2938355"/>
              <a:gd name="connsiteX28" fmla="*/ 476497 w 6427155"/>
              <a:gd name="connsiteY28" fmla="*/ 2938355 h 2938355"/>
              <a:gd name="connsiteX29" fmla="*/ 423365 w 6427155"/>
              <a:gd name="connsiteY29" fmla="*/ 2938355 h 2938355"/>
              <a:gd name="connsiteX30" fmla="*/ 293224 w 6427155"/>
              <a:gd name="connsiteY30" fmla="*/ 2938355 h 2938355"/>
              <a:gd name="connsiteX31" fmla="*/ 183273 w 6427155"/>
              <a:gd name="connsiteY31" fmla="*/ 2938355 h 2938355"/>
              <a:gd name="connsiteX32" fmla="*/ 0 w 6427155"/>
              <a:gd name="connsiteY32" fmla="*/ 2938355 h 29383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</a:cxnLst>
            <a:rect l="l" t="t" r="r" b="b"/>
            <a:pathLst>
              <a:path w="6427155" h="2938355">
                <a:moveTo>
                  <a:pt x="0" y="0"/>
                </a:moveTo>
                <a:lnTo>
                  <a:pt x="183273" y="0"/>
                </a:lnTo>
                <a:lnTo>
                  <a:pt x="293224" y="0"/>
                </a:lnTo>
                <a:lnTo>
                  <a:pt x="423365" y="0"/>
                </a:lnTo>
                <a:lnTo>
                  <a:pt x="476497" y="0"/>
                </a:lnTo>
                <a:lnTo>
                  <a:pt x="606638" y="0"/>
                </a:lnTo>
                <a:lnTo>
                  <a:pt x="716589" y="0"/>
                </a:lnTo>
                <a:lnTo>
                  <a:pt x="899862" y="0"/>
                </a:lnTo>
                <a:lnTo>
                  <a:pt x="5527293" y="0"/>
                </a:lnTo>
                <a:lnTo>
                  <a:pt x="5710566" y="0"/>
                </a:lnTo>
                <a:lnTo>
                  <a:pt x="5820517" y="0"/>
                </a:lnTo>
                <a:lnTo>
                  <a:pt x="5950658" y="0"/>
                </a:lnTo>
                <a:lnTo>
                  <a:pt x="6003790" y="0"/>
                </a:lnTo>
                <a:lnTo>
                  <a:pt x="6133931" y="0"/>
                </a:lnTo>
                <a:lnTo>
                  <a:pt x="6243882" y="0"/>
                </a:lnTo>
                <a:lnTo>
                  <a:pt x="6427155" y="0"/>
                </a:lnTo>
                <a:lnTo>
                  <a:pt x="4954992" y="1472164"/>
                </a:lnTo>
                <a:lnTo>
                  <a:pt x="6421182" y="2938355"/>
                </a:lnTo>
                <a:lnTo>
                  <a:pt x="6237910" y="2938355"/>
                </a:lnTo>
                <a:lnTo>
                  <a:pt x="6127958" y="2938355"/>
                </a:lnTo>
                <a:lnTo>
                  <a:pt x="5997817" y="2938355"/>
                </a:lnTo>
                <a:lnTo>
                  <a:pt x="5944686" y="2938355"/>
                </a:lnTo>
                <a:lnTo>
                  <a:pt x="5814545" y="2938355"/>
                </a:lnTo>
                <a:lnTo>
                  <a:pt x="5704593" y="2938355"/>
                </a:lnTo>
                <a:lnTo>
                  <a:pt x="5521321" y="2938355"/>
                </a:lnTo>
                <a:lnTo>
                  <a:pt x="899862" y="2938355"/>
                </a:lnTo>
                <a:lnTo>
                  <a:pt x="716589" y="2938355"/>
                </a:lnTo>
                <a:lnTo>
                  <a:pt x="606638" y="2938355"/>
                </a:lnTo>
                <a:lnTo>
                  <a:pt x="476497" y="2938355"/>
                </a:lnTo>
                <a:lnTo>
                  <a:pt x="423365" y="2938355"/>
                </a:lnTo>
                <a:lnTo>
                  <a:pt x="293224" y="2938355"/>
                </a:lnTo>
                <a:lnTo>
                  <a:pt x="183273" y="2938355"/>
                </a:lnTo>
                <a:lnTo>
                  <a:pt x="0" y="2938355"/>
                </a:lnTo>
                <a:close/>
              </a:path>
            </a:pathLst>
          </a:custGeom>
          <a:solidFill>
            <a:schemeClr val="bg2">
              <a:alpha val="10000"/>
            </a:schemeClr>
          </a:solidFill>
          <a:ln w="9525" cap="flat" cmpd="sng" algn="ctr">
            <a:noFill/>
            <a:prstDash val="solid"/>
            <a:miter lim="800000"/>
          </a:ln>
          <a:effectLst/>
        </p:spPr>
        <p:txBody>
          <a:bodyPr wrap="square" rtlCol="0" anchor="ctr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Arial Unicode MS"/>
              <a:cs typeface="Arial"/>
            </a:endParaRP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FDFE70A-A851-830B-B70B-96D334E362F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F81323-D0B4-453A-B50D-D5CB00C4FEA3}" type="datetime4">
              <a:rPr lang="en-GB" noProof="0" smtClean="0"/>
              <a:pPr/>
              <a:t>14 March 2024</a:t>
            </a:fld>
            <a:endParaRPr lang="en-GB" noProof="0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22DF4CD-80EB-9199-B899-9FA2E996762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94909C6-CC71-4962-A18E-AF0515723D95}" type="slidenum">
              <a:rPr lang="en-GB" noProof="0" smtClean="0"/>
              <a:pPr/>
              <a:t>9</a:t>
            </a:fld>
            <a:endParaRPr lang="en-GB" noProof="0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6BBEB53-973A-69D6-041B-57D44C4055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GB" noProof="0" dirty="0"/>
              <a:t>Munich Re Group – Company Presentation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108A6CCA-BB9F-76AC-65A3-74B18AD4E3B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>
                <a:solidFill>
                  <a:schemeClr val="bg2"/>
                </a:solidFill>
              </a:rPr>
              <a:t>Munich Re Group Ambition 2025</a:t>
            </a:r>
            <a:br>
              <a:rPr lang="en-GB" dirty="0"/>
            </a:br>
            <a:r>
              <a:rPr lang="en-GB" sz="1400" dirty="0">
                <a:solidFill>
                  <a:schemeClr val="tx2"/>
                </a:solidFill>
              </a:rPr>
              <a:t>Scale. Shape. Succeed.</a:t>
            </a:r>
            <a:endParaRPr lang="en-GB" sz="1600" dirty="0">
              <a:solidFill>
                <a:schemeClr val="tx2"/>
              </a:solidFill>
            </a:endParaRPr>
          </a:p>
        </p:txBody>
      </p:sp>
      <p:sp>
        <p:nvSpPr>
          <p:cNvPr id="18" name="Raute 199">
            <a:extLst>
              <a:ext uri="{FF2B5EF4-FFF2-40B4-BE49-F238E27FC236}">
                <a16:creationId xmlns:a16="http://schemas.microsoft.com/office/drawing/2014/main" id="{2BB59EFD-4B91-2BC1-603A-CF69C9540CA7}"/>
              </a:ext>
            </a:extLst>
          </p:cNvPr>
          <p:cNvSpPr/>
          <p:nvPr/>
        </p:nvSpPr>
        <p:spPr>
          <a:xfrm>
            <a:off x="5063381" y="1115999"/>
            <a:ext cx="3672708" cy="3672708"/>
          </a:xfrm>
          <a:prstGeom prst="diamond">
            <a:avLst/>
          </a:prstGeom>
          <a:solidFill>
            <a:schemeClr val="bg2">
              <a:alpha val="10000"/>
            </a:schemeClr>
          </a:solidFill>
          <a:ln w="9525" cap="flat" cmpd="sng" algn="ctr">
            <a:noFill/>
            <a:prstDash val="solid"/>
            <a:miter lim="800000"/>
          </a:ln>
          <a:effectLst/>
        </p:spPr>
        <p:txBody>
          <a:bodyPr rtlCol="0" anchor="ctr" anchorCtr="0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Arial Unicode MS"/>
              <a:cs typeface="Arial"/>
            </a:endParaRPr>
          </a:p>
        </p:txBody>
      </p:sp>
      <p:sp>
        <p:nvSpPr>
          <p:cNvPr id="19" name="Raute 12">
            <a:extLst>
              <a:ext uri="{FF2B5EF4-FFF2-40B4-BE49-F238E27FC236}">
                <a16:creationId xmlns:a16="http://schemas.microsoft.com/office/drawing/2014/main" id="{90142CD6-5410-C597-0FA4-67E7D03DE3ED}"/>
              </a:ext>
            </a:extLst>
          </p:cNvPr>
          <p:cNvSpPr/>
          <p:nvPr/>
        </p:nvSpPr>
        <p:spPr>
          <a:xfrm>
            <a:off x="7419830" y="1480190"/>
            <a:ext cx="1472169" cy="2944327"/>
          </a:xfrm>
          <a:custGeom>
            <a:avLst/>
            <a:gdLst>
              <a:gd name="connsiteX0" fmla="*/ 0 w 3456001"/>
              <a:gd name="connsiteY0" fmla="*/ 1727995 h 3455989"/>
              <a:gd name="connsiteX1" fmla="*/ 1728001 w 3456001"/>
              <a:gd name="connsiteY1" fmla="*/ 0 h 3455989"/>
              <a:gd name="connsiteX2" fmla="*/ 3456001 w 3456001"/>
              <a:gd name="connsiteY2" fmla="*/ 1727995 h 3455989"/>
              <a:gd name="connsiteX3" fmla="*/ 1728001 w 3456001"/>
              <a:gd name="connsiteY3" fmla="*/ 3455989 h 3455989"/>
              <a:gd name="connsiteX4" fmla="*/ 0 w 3456001"/>
              <a:gd name="connsiteY4" fmla="*/ 1727995 h 3455989"/>
              <a:gd name="connsiteX0" fmla="*/ 0 w 3456001"/>
              <a:gd name="connsiteY0" fmla="*/ 1727995 h 3455989"/>
              <a:gd name="connsiteX1" fmla="*/ 1728001 w 3456001"/>
              <a:gd name="connsiteY1" fmla="*/ 0 h 3455989"/>
              <a:gd name="connsiteX2" fmla="*/ 3456001 w 3456001"/>
              <a:gd name="connsiteY2" fmla="*/ 1727995 h 3455989"/>
              <a:gd name="connsiteX3" fmla="*/ 1728001 w 3456001"/>
              <a:gd name="connsiteY3" fmla="*/ 3455989 h 3455989"/>
              <a:gd name="connsiteX4" fmla="*/ 91440 w 3456001"/>
              <a:gd name="connsiteY4" fmla="*/ 1819435 h 3455989"/>
              <a:gd name="connsiteX0" fmla="*/ 0 w 3456001"/>
              <a:gd name="connsiteY0" fmla="*/ 1727995 h 3455989"/>
              <a:gd name="connsiteX1" fmla="*/ 1728001 w 3456001"/>
              <a:gd name="connsiteY1" fmla="*/ 0 h 3455989"/>
              <a:gd name="connsiteX2" fmla="*/ 3456001 w 3456001"/>
              <a:gd name="connsiteY2" fmla="*/ 1727995 h 3455989"/>
              <a:gd name="connsiteX3" fmla="*/ 1728001 w 3456001"/>
              <a:gd name="connsiteY3" fmla="*/ 3455989 h 3455989"/>
              <a:gd name="connsiteX0" fmla="*/ 0 w 1728000"/>
              <a:gd name="connsiteY0" fmla="*/ 0 h 3455989"/>
              <a:gd name="connsiteX1" fmla="*/ 1728000 w 1728000"/>
              <a:gd name="connsiteY1" fmla="*/ 1727995 h 3455989"/>
              <a:gd name="connsiteX2" fmla="*/ 0 w 1728000"/>
              <a:gd name="connsiteY2" fmla="*/ 3455989 h 34559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728000" h="3455989">
                <a:moveTo>
                  <a:pt x="0" y="0"/>
                </a:moveTo>
                <a:lnTo>
                  <a:pt x="1728000" y="1727995"/>
                </a:lnTo>
                <a:lnTo>
                  <a:pt x="0" y="3455989"/>
                </a:lnTo>
              </a:path>
            </a:pathLst>
          </a:custGeom>
          <a:noFill/>
          <a:ln w="19050" cap="rnd" cmpd="sng" algn="ctr">
            <a:solidFill>
              <a:schemeClr val="bg2"/>
            </a:solidFill>
            <a:prstDash val="solid"/>
            <a:miter lim="800000"/>
          </a:ln>
          <a:effectLst/>
        </p:spPr>
        <p:txBody>
          <a:bodyPr wrap="square" rtlCol="0" anchor="ctr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Arial Unicode MS"/>
              <a:cs typeface="Arial"/>
            </a:endParaRPr>
          </a:p>
        </p:txBody>
      </p:sp>
      <p:sp>
        <p:nvSpPr>
          <p:cNvPr id="12" name="Freihandform: Form 106">
            <a:extLst>
              <a:ext uri="{FF2B5EF4-FFF2-40B4-BE49-F238E27FC236}">
                <a16:creationId xmlns:a16="http://schemas.microsoft.com/office/drawing/2014/main" id="{52FF7B08-D2A0-DAA1-7F03-A0B503EC875E}"/>
              </a:ext>
            </a:extLst>
          </p:cNvPr>
          <p:cNvSpPr/>
          <p:nvPr/>
        </p:nvSpPr>
        <p:spPr>
          <a:xfrm flipH="1">
            <a:off x="2226274" y="1480190"/>
            <a:ext cx="1721004" cy="2938352"/>
          </a:xfrm>
          <a:custGeom>
            <a:avLst/>
            <a:gdLst>
              <a:gd name="connsiteX0" fmla="*/ 1536305 w 1647131"/>
              <a:gd name="connsiteY0" fmla="*/ 0 h 3066376"/>
              <a:gd name="connsiteX1" fmla="*/ 1647131 w 1647131"/>
              <a:gd name="connsiteY1" fmla="*/ 0 h 3066376"/>
              <a:gd name="connsiteX2" fmla="*/ 1647131 w 1647131"/>
              <a:gd name="connsiteY2" fmla="*/ 2286 h 3066376"/>
              <a:gd name="connsiteX3" fmla="*/ 113112 w 1647131"/>
              <a:gd name="connsiteY3" fmla="*/ 1536305 h 3066376"/>
              <a:gd name="connsiteX4" fmla="*/ 1643183 w 1647131"/>
              <a:gd name="connsiteY4" fmla="*/ 3066376 h 3066376"/>
              <a:gd name="connsiteX5" fmla="*/ 1530071 w 1647131"/>
              <a:gd name="connsiteY5" fmla="*/ 3066376 h 3066376"/>
              <a:gd name="connsiteX6" fmla="*/ 0 w 1647131"/>
              <a:gd name="connsiteY6" fmla="*/ 1536305 h 30663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647131" h="3066376">
                <a:moveTo>
                  <a:pt x="1536305" y="0"/>
                </a:moveTo>
                <a:lnTo>
                  <a:pt x="1647131" y="0"/>
                </a:lnTo>
                <a:lnTo>
                  <a:pt x="1647131" y="2286"/>
                </a:lnTo>
                <a:lnTo>
                  <a:pt x="113112" y="1536305"/>
                </a:lnTo>
                <a:lnTo>
                  <a:pt x="1643183" y="3066376"/>
                </a:lnTo>
                <a:lnTo>
                  <a:pt x="1530071" y="3066376"/>
                </a:lnTo>
                <a:lnTo>
                  <a:pt x="0" y="1536305"/>
                </a:lnTo>
                <a:close/>
              </a:path>
            </a:pathLst>
          </a:custGeom>
          <a:gradFill>
            <a:gsLst>
              <a:gs pos="50000">
                <a:sysClr val="window" lastClr="FFFFFF">
                  <a:alpha val="80000"/>
                </a:sysClr>
              </a:gs>
              <a:gs pos="10000">
                <a:sysClr val="window" lastClr="FFFFFF">
                  <a:alpha val="0"/>
                </a:sysClr>
              </a:gs>
              <a:gs pos="90000">
                <a:sysClr val="window" lastClr="FFFFFF">
                  <a:alpha val="0"/>
                </a:sysClr>
              </a:gs>
            </a:gsLst>
            <a:lin ang="5400000" scaled="1"/>
          </a:gradFill>
          <a:ln w="9525" cap="flat" cmpd="sng" algn="ctr">
            <a:noFill/>
            <a:prstDash val="solid"/>
            <a:miter lim="800000"/>
          </a:ln>
          <a:effectLst/>
        </p:spPr>
        <p:txBody>
          <a:bodyPr wrap="square" rtlCol="0" anchor="ctr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400" b="0" i="0" u="none" strike="noStrike" kern="0" cap="none" spc="0" normalizeH="0" baseline="0" noProof="0" dirty="0">
              <a:ln>
                <a:noFill/>
              </a:ln>
              <a:solidFill>
                <a:schemeClr val="bg2">
                  <a:lumMod val="50000"/>
                </a:schemeClr>
              </a:solidFill>
              <a:effectLst/>
              <a:uLnTx/>
              <a:uFillTx/>
              <a:latin typeface="Arial"/>
              <a:ea typeface="Arial Unicode MS"/>
              <a:cs typeface="Arial"/>
            </a:endParaRPr>
          </a:p>
        </p:txBody>
      </p:sp>
      <p:sp>
        <p:nvSpPr>
          <p:cNvPr id="13" name="Freihandform: Form 107">
            <a:extLst>
              <a:ext uri="{FF2B5EF4-FFF2-40B4-BE49-F238E27FC236}">
                <a16:creationId xmlns:a16="http://schemas.microsoft.com/office/drawing/2014/main" id="{E5EB7778-68A4-21D3-819E-5FE9F6EA1B7D}"/>
              </a:ext>
            </a:extLst>
          </p:cNvPr>
          <p:cNvSpPr/>
          <p:nvPr/>
        </p:nvSpPr>
        <p:spPr>
          <a:xfrm flipH="1">
            <a:off x="1600711" y="1480190"/>
            <a:ext cx="1721004" cy="2938352"/>
          </a:xfrm>
          <a:custGeom>
            <a:avLst/>
            <a:gdLst>
              <a:gd name="connsiteX0" fmla="*/ 1536305 w 1647131"/>
              <a:gd name="connsiteY0" fmla="*/ 0 h 3066376"/>
              <a:gd name="connsiteX1" fmla="*/ 1647131 w 1647131"/>
              <a:gd name="connsiteY1" fmla="*/ 0 h 3066376"/>
              <a:gd name="connsiteX2" fmla="*/ 1647131 w 1647131"/>
              <a:gd name="connsiteY2" fmla="*/ 2286 h 3066376"/>
              <a:gd name="connsiteX3" fmla="*/ 113112 w 1647131"/>
              <a:gd name="connsiteY3" fmla="*/ 1536305 h 3066376"/>
              <a:gd name="connsiteX4" fmla="*/ 1643183 w 1647131"/>
              <a:gd name="connsiteY4" fmla="*/ 3066376 h 3066376"/>
              <a:gd name="connsiteX5" fmla="*/ 1530071 w 1647131"/>
              <a:gd name="connsiteY5" fmla="*/ 3066376 h 3066376"/>
              <a:gd name="connsiteX6" fmla="*/ 0 w 1647131"/>
              <a:gd name="connsiteY6" fmla="*/ 1536305 h 30663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647131" h="3066376">
                <a:moveTo>
                  <a:pt x="1536305" y="0"/>
                </a:moveTo>
                <a:lnTo>
                  <a:pt x="1647131" y="0"/>
                </a:lnTo>
                <a:lnTo>
                  <a:pt x="1647131" y="2286"/>
                </a:lnTo>
                <a:lnTo>
                  <a:pt x="113112" y="1536305"/>
                </a:lnTo>
                <a:lnTo>
                  <a:pt x="1643183" y="3066376"/>
                </a:lnTo>
                <a:lnTo>
                  <a:pt x="1530071" y="3066376"/>
                </a:lnTo>
                <a:lnTo>
                  <a:pt x="0" y="1536305"/>
                </a:lnTo>
                <a:close/>
              </a:path>
            </a:pathLst>
          </a:custGeom>
          <a:gradFill>
            <a:gsLst>
              <a:gs pos="50000">
                <a:sysClr val="window" lastClr="FFFFFF">
                  <a:alpha val="55000"/>
                </a:sysClr>
              </a:gs>
              <a:gs pos="10000">
                <a:sysClr val="window" lastClr="FFFFFF">
                  <a:alpha val="0"/>
                </a:sysClr>
              </a:gs>
              <a:gs pos="90000">
                <a:sysClr val="window" lastClr="FFFFFF">
                  <a:alpha val="0"/>
                </a:sysClr>
              </a:gs>
            </a:gsLst>
            <a:lin ang="5400000" scaled="1"/>
          </a:gradFill>
          <a:ln w="9525" cap="flat" cmpd="sng" algn="ctr">
            <a:noFill/>
            <a:prstDash val="solid"/>
            <a:miter lim="800000"/>
          </a:ln>
          <a:effectLst/>
        </p:spPr>
        <p:txBody>
          <a:bodyPr wrap="square" rtlCol="0" anchor="ctr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400" b="0" i="0" u="none" strike="noStrike" kern="0" cap="none" spc="0" normalizeH="0" baseline="0" noProof="0" dirty="0">
              <a:ln>
                <a:noFill/>
              </a:ln>
              <a:solidFill>
                <a:schemeClr val="bg2">
                  <a:lumMod val="50000"/>
                </a:schemeClr>
              </a:solidFill>
              <a:effectLst/>
              <a:uLnTx/>
              <a:uFillTx/>
              <a:latin typeface="Arial"/>
              <a:ea typeface="Arial Unicode MS"/>
              <a:cs typeface="Arial"/>
            </a:endParaRPr>
          </a:p>
        </p:txBody>
      </p:sp>
      <p:sp>
        <p:nvSpPr>
          <p:cNvPr id="14" name="Freihandform: Form 108">
            <a:extLst>
              <a:ext uri="{FF2B5EF4-FFF2-40B4-BE49-F238E27FC236}">
                <a16:creationId xmlns:a16="http://schemas.microsoft.com/office/drawing/2014/main" id="{7B5024E8-5323-B95B-2B5B-3C9B4C4E6902}"/>
              </a:ext>
            </a:extLst>
          </p:cNvPr>
          <p:cNvSpPr/>
          <p:nvPr/>
        </p:nvSpPr>
        <p:spPr>
          <a:xfrm flipH="1">
            <a:off x="975148" y="1480190"/>
            <a:ext cx="1721004" cy="2938352"/>
          </a:xfrm>
          <a:custGeom>
            <a:avLst/>
            <a:gdLst>
              <a:gd name="connsiteX0" fmla="*/ 1536305 w 1647131"/>
              <a:gd name="connsiteY0" fmla="*/ 0 h 3066376"/>
              <a:gd name="connsiteX1" fmla="*/ 1647131 w 1647131"/>
              <a:gd name="connsiteY1" fmla="*/ 0 h 3066376"/>
              <a:gd name="connsiteX2" fmla="*/ 1647131 w 1647131"/>
              <a:gd name="connsiteY2" fmla="*/ 2286 h 3066376"/>
              <a:gd name="connsiteX3" fmla="*/ 113112 w 1647131"/>
              <a:gd name="connsiteY3" fmla="*/ 1536305 h 3066376"/>
              <a:gd name="connsiteX4" fmla="*/ 1643183 w 1647131"/>
              <a:gd name="connsiteY4" fmla="*/ 3066376 h 3066376"/>
              <a:gd name="connsiteX5" fmla="*/ 1530071 w 1647131"/>
              <a:gd name="connsiteY5" fmla="*/ 3066376 h 3066376"/>
              <a:gd name="connsiteX6" fmla="*/ 0 w 1647131"/>
              <a:gd name="connsiteY6" fmla="*/ 1536305 h 30663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647131" h="3066376">
                <a:moveTo>
                  <a:pt x="1536305" y="0"/>
                </a:moveTo>
                <a:lnTo>
                  <a:pt x="1647131" y="0"/>
                </a:lnTo>
                <a:lnTo>
                  <a:pt x="1647131" y="2286"/>
                </a:lnTo>
                <a:lnTo>
                  <a:pt x="113112" y="1536305"/>
                </a:lnTo>
                <a:lnTo>
                  <a:pt x="1643183" y="3066376"/>
                </a:lnTo>
                <a:lnTo>
                  <a:pt x="1530071" y="3066376"/>
                </a:lnTo>
                <a:lnTo>
                  <a:pt x="0" y="1536305"/>
                </a:lnTo>
                <a:close/>
              </a:path>
            </a:pathLst>
          </a:custGeom>
          <a:gradFill>
            <a:gsLst>
              <a:gs pos="50000">
                <a:sysClr val="window" lastClr="FFFFFF">
                  <a:alpha val="41000"/>
                </a:sysClr>
              </a:gs>
              <a:gs pos="10000">
                <a:sysClr val="window" lastClr="FFFFFF">
                  <a:alpha val="0"/>
                </a:sysClr>
              </a:gs>
              <a:gs pos="90000">
                <a:srgbClr val="EFF0F2">
                  <a:alpha val="0"/>
                </a:srgbClr>
              </a:gs>
            </a:gsLst>
            <a:lin ang="5400000" scaled="1"/>
          </a:gradFill>
          <a:ln w="9525" cap="flat" cmpd="sng" algn="ctr">
            <a:noFill/>
            <a:prstDash val="solid"/>
            <a:miter lim="800000"/>
          </a:ln>
          <a:effectLst/>
        </p:spPr>
        <p:txBody>
          <a:bodyPr wrap="square" rtlCol="0" anchor="ctr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400" b="0" i="0" u="none" strike="noStrike" kern="0" cap="none" spc="0" normalizeH="0" baseline="0" noProof="0" dirty="0">
              <a:ln>
                <a:noFill/>
              </a:ln>
              <a:solidFill>
                <a:schemeClr val="bg2">
                  <a:lumMod val="50000"/>
                </a:schemeClr>
              </a:solidFill>
              <a:effectLst/>
              <a:uLnTx/>
              <a:uFillTx/>
              <a:latin typeface="Arial"/>
              <a:ea typeface="Arial Unicode MS"/>
              <a:cs typeface="Arial"/>
            </a:endParaRPr>
          </a:p>
        </p:txBody>
      </p:sp>
      <p:pic>
        <p:nvPicPr>
          <p:cNvPr id="15" name="Grafik 109">
            <a:extLst>
              <a:ext uri="{FF2B5EF4-FFF2-40B4-BE49-F238E27FC236}">
                <a16:creationId xmlns:a16="http://schemas.microsoft.com/office/drawing/2014/main" id="{FF6BF823-DC11-878C-3610-DA71F2236F2A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086311" y="2648918"/>
            <a:ext cx="661720" cy="606873"/>
          </a:xfrm>
          <a:prstGeom prst="rect">
            <a:avLst/>
          </a:prstGeom>
        </p:spPr>
      </p:pic>
      <p:sp>
        <p:nvSpPr>
          <p:cNvPr id="16" name="Textfeld 12">
            <a:extLst>
              <a:ext uri="{FF2B5EF4-FFF2-40B4-BE49-F238E27FC236}">
                <a16:creationId xmlns:a16="http://schemas.microsoft.com/office/drawing/2014/main" id="{8E0DE942-4F8E-0AEA-F7E1-D73D524F13F4}"/>
              </a:ext>
            </a:extLst>
          </p:cNvPr>
          <p:cNvSpPr txBox="1"/>
          <p:nvPr/>
        </p:nvSpPr>
        <p:spPr>
          <a:xfrm>
            <a:off x="1119560" y="2952344"/>
            <a:ext cx="4666324" cy="1466202"/>
          </a:xfrm>
          <a:prstGeom prst="rect">
            <a:avLst/>
          </a:prstGeom>
          <a:noFill/>
          <a:effectLst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0" cap="none" spc="0" normalizeH="0" baseline="0" noProof="0" dirty="0">
                <a:ln>
                  <a:noFill/>
                </a:ln>
                <a:solidFill>
                  <a:schemeClr val="bg2">
                    <a:lumMod val="50000"/>
                  </a:schemeClr>
                </a:solidFill>
                <a:effectLst/>
                <a:uLnTx/>
                <a:uFillTx/>
              </a:rPr>
              <a:t>Create additional business 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0" cap="none" spc="0" normalizeH="0" baseline="0" noProof="0" dirty="0">
                <a:ln>
                  <a:noFill/>
                </a:ln>
                <a:solidFill>
                  <a:schemeClr val="bg2">
                    <a:lumMod val="50000"/>
                  </a:schemeClr>
                </a:solidFill>
                <a:effectLst/>
                <a:uLnTx/>
                <a:uFillTx/>
              </a:rPr>
              <a:t>Monetize digital business investments 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0" cap="none" spc="0" normalizeH="0" baseline="0" noProof="0" dirty="0">
                <a:ln>
                  <a:noFill/>
                </a:ln>
                <a:solidFill>
                  <a:schemeClr val="bg2">
                    <a:lumMod val="50000"/>
                  </a:schemeClr>
                </a:solidFill>
                <a:effectLst/>
                <a:uLnTx/>
                <a:uFillTx/>
              </a:rPr>
              <a:t>Create new strategic options</a:t>
            </a:r>
          </a:p>
        </p:txBody>
      </p:sp>
      <p:sp>
        <p:nvSpPr>
          <p:cNvPr id="17" name="Textfeld 12">
            <a:extLst>
              <a:ext uri="{FF2B5EF4-FFF2-40B4-BE49-F238E27FC236}">
                <a16:creationId xmlns:a16="http://schemas.microsoft.com/office/drawing/2014/main" id="{7AE19CD3-7414-CD03-5F1D-19428700BCD5}"/>
              </a:ext>
            </a:extLst>
          </p:cNvPr>
          <p:cNvSpPr txBox="1"/>
          <p:nvPr/>
        </p:nvSpPr>
        <p:spPr>
          <a:xfrm>
            <a:off x="1119560" y="1486161"/>
            <a:ext cx="4666324" cy="1466182"/>
          </a:xfrm>
          <a:prstGeom prst="rect">
            <a:avLst/>
          </a:prstGeom>
          <a:noFill/>
          <a:effectLst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0" cap="none" spc="0" normalizeH="0" baseline="0" noProof="0" dirty="0">
                <a:ln>
                  <a:noFill/>
                </a:ln>
                <a:solidFill>
                  <a:schemeClr val="bg2">
                    <a:lumMod val="50000"/>
                  </a:schemeClr>
                </a:solidFill>
                <a:effectLst/>
                <a:uLnTx/>
                <a:uFillTx/>
              </a:rPr>
              <a:t>Expansion of core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0" cap="none" spc="0" normalizeH="0" baseline="0" noProof="0" dirty="0">
                <a:ln>
                  <a:noFill/>
                </a:ln>
                <a:solidFill>
                  <a:schemeClr val="bg2">
                    <a:lumMod val="50000"/>
                  </a:schemeClr>
                </a:solidFill>
                <a:effectLst/>
                <a:uLnTx/>
                <a:uFillTx/>
              </a:rPr>
              <a:t>Preference for organic growth 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0" cap="none" spc="0" normalizeH="0" baseline="0" noProof="0" dirty="0">
                <a:ln>
                  <a:noFill/>
                </a:ln>
                <a:solidFill>
                  <a:schemeClr val="bg2">
                    <a:lumMod val="50000"/>
                  </a:schemeClr>
                </a:solidFill>
                <a:effectLst/>
                <a:uLnTx/>
                <a:uFillTx/>
              </a:rPr>
              <a:t>Leverage superior underwriting 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0" cap="none" spc="0" normalizeH="0" baseline="0" noProof="0" dirty="0">
                <a:ln>
                  <a:noFill/>
                </a:ln>
                <a:solidFill>
                  <a:schemeClr val="bg2">
                    <a:lumMod val="50000"/>
                  </a:schemeClr>
                </a:solidFill>
                <a:effectLst/>
                <a:uLnTx/>
                <a:uFillTx/>
              </a:rPr>
              <a:t>Uplift asset performance</a:t>
            </a:r>
          </a:p>
        </p:txBody>
      </p:sp>
      <p:cxnSp>
        <p:nvCxnSpPr>
          <p:cNvPr id="20" name="Gerader Verbinder 77">
            <a:extLst>
              <a:ext uri="{FF2B5EF4-FFF2-40B4-BE49-F238E27FC236}">
                <a16:creationId xmlns:a16="http://schemas.microsoft.com/office/drawing/2014/main" id="{6BCD5F4F-383E-0D89-2D73-9B29AD171A87}"/>
              </a:ext>
            </a:extLst>
          </p:cNvPr>
          <p:cNvCxnSpPr>
            <a:cxnSpLocks/>
          </p:cNvCxnSpPr>
          <p:nvPr/>
        </p:nvCxnSpPr>
        <p:spPr>
          <a:xfrm>
            <a:off x="1115688" y="2512865"/>
            <a:ext cx="3833146" cy="0"/>
          </a:xfrm>
          <a:prstGeom prst="line">
            <a:avLst/>
          </a:prstGeom>
          <a:noFill/>
          <a:ln w="6350" cap="flat" cmpd="sng" algn="ctr">
            <a:solidFill>
              <a:schemeClr val="bg2">
                <a:alpha val="30000"/>
              </a:schemeClr>
            </a:solidFill>
            <a:prstDash val="solid"/>
            <a:miter lim="800000"/>
          </a:ln>
          <a:effectLst/>
        </p:spPr>
      </p:cxnSp>
      <p:cxnSp>
        <p:nvCxnSpPr>
          <p:cNvPr id="21" name="Gerader Verbinder 78">
            <a:extLst>
              <a:ext uri="{FF2B5EF4-FFF2-40B4-BE49-F238E27FC236}">
                <a16:creationId xmlns:a16="http://schemas.microsoft.com/office/drawing/2014/main" id="{CB4AF588-62FD-E1D0-0EB1-D272252D61EB}"/>
              </a:ext>
            </a:extLst>
          </p:cNvPr>
          <p:cNvCxnSpPr>
            <a:cxnSpLocks/>
          </p:cNvCxnSpPr>
          <p:nvPr/>
        </p:nvCxnSpPr>
        <p:spPr>
          <a:xfrm>
            <a:off x="1115688" y="3537408"/>
            <a:ext cx="3995395" cy="0"/>
          </a:xfrm>
          <a:prstGeom prst="line">
            <a:avLst/>
          </a:prstGeom>
          <a:noFill/>
          <a:ln w="6350" cap="flat" cmpd="sng" algn="ctr">
            <a:solidFill>
              <a:schemeClr val="bg2">
                <a:alpha val="30000"/>
              </a:schemeClr>
            </a:solidFill>
            <a:prstDash val="solid"/>
            <a:miter lim="800000"/>
          </a:ln>
          <a:effectLst/>
        </p:spPr>
      </p:cxnSp>
      <p:cxnSp>
        <p:nvCxnSpPr>
          <p:cNvPr id="22" name="Gerader Verbinder 3">
            <a:extLst>
              <a:ext uri="{FF2B5EF4-FFF2-40B4-BE49-F238E27FC236}">
                <a16:creationId xmlns:a16="http://schemas.microsoft.com/office/drawing/2014/main" id="{B1D43CED-9EDD-2283-4061-32B64B86E876}"/>
              </a:ext>
            </a:extLst>
          </p:cNvPr>
          <p:cNvCxnSpPr>
            <a:cxnSpLocks/>
          </p:cNvCxnSpPr>
          <p:nvPr/>
        </p:nvCxnSpPr>
        <p:spPr>
          <a:xfrm>
            <a:off x="1115688" y="1924153"/>
            <a:ext cx="4503076" cy="0"/>
          </a:xfrm>
          <a:prstGeom prst="line">
            <a:avLst/>
          </a:prstGeom>
          <a:noFill/>
          <a:ln w="6350" cap="flat" cmpd="sng" algn="ctr">
            <a:solidFill>
              <a:schemeClr val="bg2">
                <a:alpha val="30000"/>
              </a:schemeClr>
            </a:solidFill>
            <a:prstDash val="solid"/>
            <a:miter lim="800000"/>
          </a:ln>
          <a:effectLst/>
        </p:spPr>
      </p:cxnSp>
      <p:cxnSp>
        <p:nvCxnSpPr>
          <p:cNvPr id="23" name="Gerader Verbinder 76">
            <a:extLst>
              <a:ext uri="{FF2B5EF4-FFF2-40B4-BE49-F238E27FC236}">
                <a16:creationId xmlns:a16="http://schemas.microsoft.com/office/drawing/2014/main" id="{9066A243-04AC-1361-35C1-FA66BE8FD792}"/>
              </a:ext>
            </a:extLst>
          </p:cNvPr>
          <p:cNvCxnSpPr>
            <a:cxnSpLocks/>
          </p:cNvCxnSpPr>
          <p:nvPr/>
        </p:nvCxnSpPr>
        <p:spPr>
          <a:xfrm>
            <a:off x="1115688" y="2218510"/>
            <a:ext cx="4147176" cy="0"/>
          </a:xfrm>
          <a:prstGeom prst="line">
            <a:avLst/>
          </a:prstGeom>
          <a:noFill/>
          <a:ln w="6350" cap="flat" cmpd="sng" algn="ctr">
            <a:solidFill>
              <a:schemeClr val="bg2">
                <a:alpha val="30000"/>
              </a:schemeClr>
            </a:solidFill>
            <a:prstDash val="solid"/>
            <a:miter lim="800000"/>
          </a:ln>
          <a:effectLst/>
        </p:spPr>
      </p:cxnSp>
      <p:cxnSp>
        <p:nvCxnSpPr>
          <p:cNvPr id="24" name="Gerader Verbinder 79">
            <a:extLst>
              <a:ext uri="{FF2B5EF4-FFF2-40B4-BE49-F238E27FC236}">
                <a16:creationId xmlns:a16="http://schemas.microsoft.com/office/drawing/2014/main" id="{14733754-38B1-0FD1-953D-E8F5E2C754AB}"/>
              </a:ext>
            </a:extLst>
          </p:cNvPr>
          <p:cNvCxnSpPr>
            <a:cxnSpLocks/>
          </p:cNvCxnSpPr>
          <p:nvPr/>
        </p:nvCxnSpPr>
        <p:spPr>
          <a:xfrm>
            <a:off x="1115688" y="3831764"/>
            <a:ext cx="4351294" cy="0"/>
          </a:xfrm>
          <a:prstGeom prst="line">
            <a:avLst/>
          </a:prstGeom>
          <a:noFill/>
          <a:ln w="6350" cap="flat" cmpd="sng" algn="ctr">
            <a:solidFill>
              <a:schemeClr val="bg2">
                <a:alpha val="30000"/>
              </a:schemeClr>
            </a:solidFill>
            <a:prstDash val="solid"/>
            <a:miter lim="800000"/>
          </a:ln>
          <a:effectLst/>
        </p:spPr>
      </p:cxnSp>
      <p:cxnSp>
        <p:nvCxnSpPr>
          <p:cNvPr id="26" name="Gerader Verbinder 2">
            <a:extLst>
              <a:ext uri="{FF2B5EF4-FFF2-40B4-BE49-F238E27FC236}">
                <a16:creationId xmlns:a16="http://schemas.microsoft.com/office/drawing/2014/main" id="{F413C0ED-7335-4CFF-7F69-819C7E357FD3}"/>
              </a:ext>
            </a:extLst>
          </p:cNvPr>
          <p:cNvCxnSpPr>
            <a:cxnSpLocks/>
          </p:cNvCxnSpPr>
          <p:nvPr/>
        </p:nvCxnSpPr>
        <p:spPr>
          <a:xfrm>
            <a:off x="0" y="1486161"/>
            <a:ext cx="6414151" cy="0"/>
          </a:xfrm>
          <a:prstGeom prst="line">
            <a:avLst/>
          </a:prstGeom>
          <a:noFill/>
          <a:ln w="19050" cap="rnd" cmpd="sng" algn="ctr">
            <a:solidFill>
              <a:schemeClr val="bg2"/>
            </a:solidFill>
            <a:prstDash val="solid"/>
            <a:miter lim="800000"/>
          </a:ln>
          <a:effectLst/>
        </p:spPr>
      </p:cxnSp>
      <p:cxnSp>
        <p:nvCxnSpPr>
          <p:cNvPr id="27" name="Gerader Verbinder 15">
            <a:extLst>
              <a:ext uri="{FF2B5EF4-FFF2-40B4-BE49-F238E27FC236}">
                <a16:creationId xmlns:a16="http://schemas.microsoft.com/office/drawing/2014/main" id="{67EF376C-B23A-9478-2377-1490251166C6}"/>
              </a:ext>
            </a:extLst>
          </p:cNvPr>
          <p:cNvCxnSpPr>
            <a:cxnSpLocks/>
          </p:cNvCxnSpPr>
          <p:nvPr/>
        </p:nvCxnSpPr>
        <p:spPr>
          <a:xfrm>
            <a:off x="0" y="4418546"/>
            <a:ext cx="6414151" cy="0"/>
          </a:xfrm>
          <a:prstGeom prst="line">
            <a:avLst/>
          </a:prstGeom>
          <a:noFill/>
          <a:ln w="19050" cap="rnd" cmpd="sng" algn="ctr">
            <a:solidFill>
              <a:schemeClr val="bg2"/>
            </a:solidFill>
            <a:prstDash val="solid"/>
            <a:miter lim="800000"/>
          </a:ln>
          <a:effectLst/>
        </p:spPr>
      </p:cxnSp>
      <p:sp>
        <p:nvSpPr>
          <p:cNvPr id="28" name="Textfeld 12">
            <a:extLst>
              <a:ext uri="{FF2B5EF4-FFF2-40B4-BE49-F238E27FC236}">
                <a16:creationId xmlns:a16="http://schemas.microsoft.com/office/drawing/2014/main" id="{A2ADBEDE-FDE0-74F8-1EBD-3E0649575AE8}"/>
              </a:ext>
            </a:extLst>
          </p:cNvPr>
          <p:cNvSpPr txBox="1"/>
          <p:nvPr/>
        </p:nvSpPr>
        <p:spPr>
          <a:xfrm>
            <a:off x="5925115" y="2305769"/>
            <a:ext cx="1949252" cy="1862048"/>
          </a:xfrm>
          <a:prstGeom prst="rect">
            <a:avLst/>
          </a:prstGeom>
          <a:noFill/>
          <a:effectLst/>
        </p:spPr>
        <p:txBody>
          <a:bodyPr wrap="none" lIns="0" tIns="0" rIns="0" bIns="0" rtlCol="0" anchor="ctr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1" i="0" u="none" strike="noStrike" kern="0" cap="none" spc="0" normalizeH="0" baseline="0" noProof="0" dirty="0">
                <a:ln>
                  <a:noFill/>
                </a:ln>
                <a:solidFill>
                  <a:schemeClr val="bg2">
                    <a:lumMod val="50000"/>
                  </a:schemeClr>
                </a:solidFill>
                <a:effectLst/>
                <a:uLnTx/>
                <a:uFillTx/>
              </a:rPr>
              <a:t>Shareholders 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chemeClr val="bg2">
                    <a:lumMod val="50000"/>
                  </a:schemeClr>
                </a:solidFill>
                <a:effectLst/>
                <a:uLnTx/>
                <a:uFillTx/>
              </a:rPr>
              <a:t>Growing earnings and RoE.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1" i="0" u="none" strike="noStrike" kern="0" cap="none" spc="0" normalizeH="0" baseline="0" noProof="0" dirty="0">
                <a:ln>
                  <a:noFill/>
                </a:ln>
                <a:solidFill>
                  <a:schemeClr val="bg2">
                    <a:lumMod val="50000"/>
                  </a:schemeClr>
                </a:solidFill>
                <a:effectLst/>
                <a:uLnTx/>
                <a:uFillTx/>
              </a:rPr>
              <a:t>Clients</a:t>
            </a:r>
            <a:br>
              <a:rPr kumimoji="0" lang="en-GB" sz="1200" b="0" i="0" u="none" strike="noStrike" kern="0" cap="none" spc="0" normalizeH="0" baseline="0" noProof="0" dirty="0">
                <a:ln>
                  <a:noFill/>
                </a:ln>
                <a:solidFill>
                  <a:schemeClr val="bg2">
                    <a:lumMod val="50000"/>
                  </a:schemeClr>
                </a:solidFill>
                <a:effectLst/>
                <a:uLnTx/>
                <a:uFillTx/>
              </a:rPr>
            </a:b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chemeClr val="bg2">
                    <a:lumMod val="50000"/>
                  </a:schemeClr>
                </a:solidFill>
                <a:effectLst/>
                <a:uLnTx/>
                <a:uFillTx/>
              </a:rPr>
              <a:t>Long-term partner – superior </a:t>
            </a:r>
            <a:b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chemeClr val="bg2">
                    <a:lumMod val="50000"/>
                  </a:schemeClr>
                </a:solidFill>
                <a:effectLst/>
                <a:uLnTx/>
                <a:uFillTx/>
              </a:rPr>
            </a:b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chemeClr val="bg2">
                    <a:lumMod val="50000"/>
                  </a:schemeClr>
                </a:solidFill>
                <a:effectLst/>
                <a:uLnTx/>
                <a:uFillTx/>
              </a:rPr>
              <a:t>products, experience and capacity. 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1" i="0" u="none" strike="noStrike" kern="0" cap="none" spc="0" normalizeH="0" baseline="0" noProof="0" dirty="0">
                <a:ln>
                  <a:noFill/>
                </a:ln>
                <a:solidFill>
                  <a:schemeClr val="bg2">
                    <a:lumMod val="50000"/>
                  </a:schemeClr>
                </a:solidFill>
                <a:effectLst/>
                <a:uLnTx/>
                <a:uFillTx/>
              </a:rPr>
              <a:t>Employees</a:t>
            </a:r>
            <a:r>
              <a:rPr kumimoji="0" lang="en-GB" sz="1200" b="0" i="0" u="none" strike="noStrike" kern="0" cap="none" spc="0" normalizeH="0" baseline="0" noProof="0" dirty="0">
                <a:ln>
                  <a:noFill/>
                </a:ln>
                <a:solidFill>
                  <a:schemeClr val="bg2">
                    <a:lumMod val="50000"/>
                  </a:schemeClr>
                </a:solidFill>
                <a:effectLst/>
                <a:uLnTx/>
                <a:uFillTx/>
              </a:rPr>
              <a:t> </a:t>
            </a:r>
            <a:br>
              <a:rPr kumimoji="0" lang="en-GB" sz="1200" b="0" i="0" u="none" strike="noStrike" kern="0" cap="none" spc="0" normalizeH="0" baseline="0" noProof="0" dirty="0">
                <a:ln>
                  <a:noFill/>
                </a:ln>
                <a:solidFill>
                  <a:schemeClr val="bg2">
                    <a:lumMod val="50000"/>
                  </a:schemeClr>
                </a:solidFill>
                <a:effectLst/>
                <a:uLnTx/>
                <a:uFillTx/>
              </a:rPr>
            </a:b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chemeClr val="bg2">
                    <a:lumMod val="50000"/>
                  </a:schemeClr>
                </a:solidFill>
                <a:effectLst/>
                <a:uLnTx/>
                <a:uFillTx/>
              </a:rPr>
              <a:t>Employer of choice: skill-driven, </a:t>
            </a:r>
            <a:b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chemeClr val="bg2">
                    <a:lumMod val="50000"/>
                  </a:schemeClr>
                </a:solidFill>
                <a:effectLst/>
                <a:uLnTx/>
                <a:uFillTx/>
              </a:rPr>
            </a:b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chemeClr val="bg2">
                    <a:lumMod val="50000"/>
                  </a:schemeClr>
                </a:solidFill>
                <a:effectLst/>
                <a:uLnTx/>
                <a:uFillTx/>
              </a:rPr>
              <a:t>fostering digital culture, risk entrepreneurs.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1" i="0" u="none" strike="noStrike" kern="0" cap="none" spc="0" normalizeH="0" baseline="0" noProof="0" dirty="0">
                <a:ln>
                  <a:noFill/>
                </a:ln>
                <a:solidFill>
                  <a:schemeClr val="bg2">
                    <a:lumMod val="50000"/>
                  </a:schemeClr>
                </a:solidFill>
                <a:effectLst/>
                <a:uLnTx/>
                <a:uFillTx/>
              </a:rPr>
              <a:t>Communities</a:t>
            </a:r>
            <a:br>
              <a:rPr kumimoji="0" lang="en-GB" sz="1200" b="0" i="0" u="none" strike="noStrike" kern="0" cap="none" spc="0" normalizeH="0" baseline="0" noProof="0" dirty="0">
                <a:ln>
                  <a:noFill/>
                </a:ln>
                <a:solidFill>
                  <a:schemeClr val="bg2">
                    <a:lumMod val="50000"/>
                  </a:schemeClr>
                </a:solidFill>
                <a:effectLst/>
                <a:uLnTx/>
                <a:uFillTx/>
              </a:rPr>
            </a:b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chemeClr val="bg2">
                    <a:lumMod val="50000"/>
                  </a:schemeClr>
                </a:solidFill>
                <a:effectLst/>
                <a:uLnTx/>
                <a:uFillTx/>
              </a:rPr>
              <a:t>Comprehensive climate </a:t>
            </a:r>
            <a:b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chemeClr val="bg2">
                    <a:lumMod val="50000"/>
                  </a:schemeClr>
                </a:solidFill>
                <a:effectLst/>
                <a:uLnTx/>
                <a:uFillTx/>
              </a:rPr>
            </a:b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chemeClr val="bg2">
                    <a:lumMod val="50000"/>
                  </a:schemeClr>
                </a:solidFill>
                <a:effectLst/>
                <a:uLnTx/>
                <a:uFillTx/>
              </a:rPr>
              <a:t>strategy matching </a:t>
            </a:r>
            <a:b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chemeClr val="bg2">
                    <a:lumMod val="50000"/>
                  </a:schemeClr>
                </a:solidFill>
                <a:effectLst/>
                <a:uLnTx/>
                <a:uFillTx/>
              </a:rPr>
            </a:b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chemeClr val="bg2">
                    <a:lumMod val="50000"/>
                  </a:schemeClr>
                </a:solidFill>
                <a:effectLst/>
                <a:uLnTx/>
                <a:uFillTx/>
              </a:rPr>
              <a:t>Paris Agreement.</a:t>
            </a:r>
          </a:p>
        </p:txBody>
      </p:sp>
      <p:sp>
        <p:nvSpPr>
          <p:cNvPr id="30" name="Textfeld 111">
            <a:extLst>
              <a:ext uri="{FF2B5EF4-FFF2-40B4-BE49-F238E27FC236}">
                <a16:creationId xmlns:a16="http://schemas.microsoft.com/office/drawing/2014/main" id="{DF20E953-7CC1-A935-07A7-BD9CB5822E5C}"/>
              </a:ext>
            </a:extLst>
          </p:cNvPr>
          <p:cNvSpPr txBox="1"/>
          <p:nvPr/>
        </p:nvSpPr>
        <p:spPr>
          <a:xfrm>
            <a:off x="6501388" y="1999735"/>
            <a:ext cx="796693" cy="246221"/>
          </a:xfrm>
          <a:prstGeom prst="rect">
            <a:avLst/>
          </a:prstGeom>
          <a:noFill/>
          <a:effectLst/>
        </p:spPr>
        <p:txBody>
          <a:bodyPr wrap="none" lIns="0" tIns="0" rIns="0" bIns="0" rtlCol="0" anchor="ctr">
            <a:spAutoFit/>
          </a:bodyPr>
          <a:lstStyle>
            <a:defPPr>
              <a:defRPr lang="x-none"/>
            </a:defPPr>
            <a:lvl1pPr algn="ctr">
              <a:lnSpc>
                <a:spcPct val="110000"/>
              </a:lnSpc>
              <a:defRPr sz="2000">
                <a:solidFill>
                  <a:schemeClr val="tx2"/>
                </a:solidFill>
                <a:latin typeface="MunichRe Medium" pitchFamily="2" charset="0"/>
              </a:defRPr>
            </a:lvl1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0" i="0" u="none" strike="noStrike" kern="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/>
              </a:rPr>
              <a:t>Succeed</a:t>
            </a:r>
            <a:endParaRPr kumimoji="0" lang="en-GB" sz="1800" b="0" i="0" u="none" strike="noStrike" kern="0" cap="none" spc="0" normalizeH="0" baseline="0" noProof="0" dirty="0">
              <a:ln>
                <a:noFill/>
              </a:ln>
              <a:solidFill>
                <a:schemeClr val="bg2"/>
              </a:solidFill>
              <a:effectLst/>
              <a:uLnTx/>
              <a:uFillTx/>
              <a:latin typeface="Arial"/>
            </a:endParaRP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52D7C12D-3F3F-EF43-F8D8-E51A293D6DAD}"/>
              </a:ext>
            </a:extLst>
          </p:cNvPr>
          <p:cNvGrpSpPr/>
          <p:nvPr/>
        </p:nvGrpSpPr>
        <p:grpSpPr>
          <a:xfrm>
            <a:off x="6552249" y="1332012"/>
            <a:ext cx="694972" cy="612695"/>
            <a:chOff x="6552249" y="1332012"/>
            <a:chExt cx="694972" cy="612695"/>
          </a:xfrm>
        </p:grpSpPr>
        <p:grpSp>
          <p:nvGrpSpPr>
            <p:cNvPr id="32" name="Gruppieren 113">
              <a:extLst>
                <a:ext uri="{FF2B5EF4-FFF2-40B4-BE49-F238E27FC236}">
                  <a16:creationId xmlns:a16="http://schemas.microsoft.com/office/drawing/2014/main" id="{D9505F89-CD14-BAF3-6AD3-741B74C8CB72}"/>
                </a:ext>
              </a:extLst>
            </p:cNvPr>
            <p:cNvGrpSpPr/>
            <p:nvPr/>
          </p:nvGrpSpPr>
          <p:grpSpPr>
            <a:xfrm>
              <a:off x="6817294" y="1332012"/>
              <a:ext cx="249748" cy="591967"/>
              <a:chOff x="6672513" y="1262067"/>
              <a:chExt cx="260630" cy="617759"/>
            </a:xfrm>
            <a:solidFill>
              <a:schemeClr val="bg2"/>
            </a:solidFill>
          </p:grpSpPr>
          <p:sp>
            <p:nvSpPr>
              <p:cNvPr id="36" name="Freihandform: Form 159">
                <a:extLst>
                  <a:ext uri="{FF2B5EF4-FFF2-40B4-BE49-F238E27FC236}">
                    <a16:creationId xmlns:a16="http://schemas.microsoft.com/office/drawing/2014/main" id="{1A8BAC79-D632-BD2E-17C9-FEED6B6E194E}"/>
                  </a:ext>
                </a:extLst>
              </p:cNvPr>
              <p:cNvSpPr/>
              <p:nvPr/>
            </p:nvSpPr>
            <p:spPr>
              <a:xfrm>
                <a:off x="6805282" y="1603595"/>
                <a:ext cx="127861" cy="276231"/>
              </a:xfrm>
              <a:custGeom>
                <a:avLst/>
                <a:gdLst>
                  <a:gd name="connsiteX0" fmla="*/ 332203 w 526947"/>
                  <a:gd name="connsiteY0" fmla="*/ 1138425 h 1138425"/>
                  <a:gd name="connsiteX1" fmla="*/ 370589 w 526947"/>
                  <a:gd name="connsiteY1" fmla="*/ 1110803 h 1138425"/>
                  <a:gd name="connsiteX2" fmla="*/ 345062 w 526947"/>
                  <a:gd name="connsiteY2" fmla="*/ 1059749 h 1138425"/>
                  <a:gd name="connsiteX3" fmla="*/ 106080 w 526947"/>
                  <a:gd name="connsiteY3" fmla="*/ 980120 h 1138425"/>
                  <a:gd name="connsiteX4" fmla="*/ 80934 w 526947"/>
                  <a:gd name="connsiteY4" fmla="*/ 944020 h 1138425"/>
                  <a:gd name="connsiteX5" fmla="*/ 108366 w 526947"/>
                  <a:gd name="connsiteY5" fmla="*/ 909539 h 1138425"/>
                  <a:gd name="connsiteX6" fmla="*/ 372589 w 526947"/>
                  <a:gd name="connsiteY6" fmla="*/ 840007 h 1138425"/>
                  <a:gd name="connsiteX7" fmla="*/ 516988 w 526947"/>
                  <a:gd name="connsiteY7" fmla="*/ 702942 h 1138425"/>
                  <a:gd name="connsiteX8" fmla="*/ 478888 w 526947"/>
                  <a:gd name="connsiteY8" fmla="*/ 507489 h 1138425"/>
                  <a:gd name="connsiteX9" fmla="*/ 313534 w 526947"/>
                  <a:gd name="connsiteY9" fmla="*/ 309179 h 1138425"/>
                  <a:gd name="connsiteX10" fmla="*/ 251431 w 526947"/>
                  <a:gd name="connsiteY10" fmla="*/ 137729 h 1138425"/>
                  <a:gd name="connsiteX11" fmla="*/ 256480 w 526947"/>
                  <a:gd name="connsiteY11" fmla="*/ 42574 h 1138425"/>
                  <a:gd name="connsiteX12" fmla="*/ 218189 w 526947"/>
                  <a:gd name="connsiteY12" fmla="*/ 92 h 1138425"/>
                  <a:gd name="connsiteX13" fmla="*/ 175708 w 526947"/>
                  <a:gd name="connsiteY13" fmla="*/ 38288 h 1138425"/>
                  <a:gd name="connsiteX14" fmla="*/ 170659 w 526947"/>
                  <a:gd name="connsiteY14" fmla="*/ 135538 h 1138425"/>
                  <a:gd name="connsiteX15" fmla="*/ 251431 w 526947"/>
                  <a:gd name="connsiteY15" fmla="*/ 360804 h 1138425"/>
                  <a:gd name="connsiteX16" fmla="*/ 416785 w 526947"/>
                  <a:gd name="connsiteY16" fmla="*/ 559210 h 1138425"/>
                  <a:gd name="connsiteX17" fmla="*/ 440026 w 526947"/>
                  <a:gd name="connsiteY17" fmla="*/ 678177 h 1138425"/>
                  <a:gd name="connsiteX18" fmla="*/ 352015 w 526947"/>
                  <a:gd name="connsiteY18" fmla="*/ 761711 h 1138425"/>
                  <a:gd name="connsiteX19" fmla="*/ 87792 w 526947"/>
                  <a:gd name="connsiteY19" fmla="*/ 831244 h 1138425"/>
                  <a:gd name="connsiteX20" fmla="*/ 67 w 526947"/>
                  <a:gd name="connsiteY20" fmla="*/ 941258 h 1138425"/>
                  <a:gd name="connsiteX21" fmla="*/ 80458 w 526947"/>
                  <a:gd name="connsiteY21" fmla="*/ 1056701 h 1138425"/>
                  <a:gd name="connsiteX22" fmla="*/ 319440 w 526947"/>
                  <a:gd name="connsiteY22" fmla="*/ 1136330 h 1138425"/>
                  <a:gd name="connsiteX23" fmla="*/ 332203 w 526947"/>
                  <a:gd name="connsiteY23" fmla="*/ 1138425 h 1138425"/>
                  <a:gd name="connsiteX24" fmla="*/ 332203 w 526947"/>
                  <a:gd name="connsiteY24" fmla="*/ 1138425 h 11384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526947" h="1138425">
                    <a:moveTo>
                      <a:pt x="332203" y="1138425"/>
                    </a:moveTo>
                    <a:cubicBezTo>
                      <a:pt x="349158" y="1138425"/>
                      <a:pt x="364874" y="1127757"/>
                      <a:pt x="370589" y="1110803"/>
                    </a:cubicBezTo>
                    <a:cubicBezTo>
                      <a:pt x="377638" y="1089562"/>
                      <a:pt x="366208" y="1066702"/>
                      <a:pt x="345062" y="1059749"/>
                    </a:cubicBezTo>
                    <a:lnTo>
                      <a:pt x="106080" y="980120"/>
                    </a:lnTo>
                    <a:cubicBezTo>
                      <a:pt x="81886" y="972023"/>
                      <a:pt x="80648" y="950402"/>
                      <a:pt x="80934" y="944020"/>
                    </a:cubicBezTo>
                    <a:cubicBezTo>
                      <a:pt x="81124" y="937543"/>
                      <a:pt x="83696" y="916016"/>
                      <a:pt x="108366" y="909539"/>
                    </a:cubicBezTo>
                    <a:lnTo>
                      <a:pt x="372589" y="840007"/>
                    </a:lnTo>
                    <a:cubicBezTo>
                      <a:pt x="441360" y="821909"/>
                      <a:pt x="495367" y="770665"/>
                      <a:pt x="516988" y="702942"/>
                    </a:cubicBezTo>
                    <a:cubicBezTo>
                      <a:pt x="538705" y="635219"/>
                      <a:pt x="524418" y="562163"/>
                      <a:pt x="478888" y="507489"/>
                    </a:cubicBezTo>
                    <a:lnTo>
                      <a:pt x="313534" y="309179"/>
                    </a:lnTo>
                    <a:cubicBezTo>
                      <a:pt x="273529" y="261173"/>
                      <a:pt x="251431" y="200213"/>
                      <a:pt x="251431" y="137729"/>
                    </a:cubicBezTo>
                    <a:lnTo>
                      <a:pt x="256480" y="42574"/>
                    </a:lnTo>
                    <a:cubicBezTo>
                      <a:pt x="257623" y="20285"/>
                      <a:pt x="240477" y="1235"/>
                      <a:pt x="218189" y="92"/>
                    </a:cubicBezTo>
                    <a:cubicBezTo>
                      <a:pt x="195329" y="-1432"/>
                      <a:pt x="176851" y="16094"/>
                      <a:pt x="175708" y="38288"/>
                    </a:cubicBezTo>
                    <a:lnTo>
                      <a:pt x="170659" y="135538"/>
                    </a:lnTo>
                    <a:cubicBezTo>
                      <a:pt x="170659" y="219072"/>
                      <a:pt x="199330" y="298320"/>
                      <a:pt x="251431" y="360804"/>
                    </a:cubicBezTo>
                    <a:lnTo>
                      <a:pt x="416785" y="559210"/>
                    </a:lnTo>
                    <a:cubicBezTo>
                      <a:pt x="444503" y="592452"/>
                      <a:pt x="453266" y="636934"/>
                      <a:pt x="440026" y="678177"/>
                    </a:cubicBezTo>
                    <a:cubicBezTo>
                      <a:pt x="426786" y="719420"/>
                      <a:pt x="393925" y="750662"/>
                      <a:pt x="352015" y="761711"/>
                    </a:cubicBezTo>
                    <a:lnTo>
                      <a:pt x="87792" y="831244"/>
                    </a:lnTo>
                    <a:cubicBezTo>
                      <a:pt x="36261" y="844769"/>
                      <a:pt x="1781" y="888013"/>
                      <a:pt x="67" y="941258"/>
                    </a:cubicBezTo>
                    <a:cubicBezTo>
                      <a:pt x="-1648" y="994502"/>
                      <a:pt x="29880" y="1039841"/>
                      <a:pt x="80458" y="1056701"/>
                    </a:cubicBezTo>
                    <a:lnTo>
                      <a:pt x="319440" y="1136330"/>
                    </a:lnTo>
                    <a:cubicBezTo>
                      <a:pt x="323726" y="1137663"/>
                      <a:pt x="328012" y="1138425"/>
                      <a:pt x="332203" y="1138425"/>
                    </a:cubicBezTo>
                    <a:lnTo>
                      <a:pt x="332203" y="1138425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grpSp>
            <p:nvGrpSpPr>
              <p:cNvPr id="37" name="Gruppieren 160">
                <a:extLst>
                  <a:ext uri="{FF2B5EF4-FFF2-40B4-BE49-F238E27FC236}">
                    <a16:creationId xmlns:a16="http://schemas.microsoft.com/office/drawing/2014/main" id="{2CDA9025-77D1-834D-16F0-76DC2CBFDF37}"/>
                  </a:ext>
                </a:extLst>
              </p:cNvPr>
              <p:cNvGrpSpPr/>
              <p:nvPr/>
            </p:nvGrpSpPr>
            <p:grpSpPr>
              <a:xfrm rot="21372989">
                <a:off x="6672513" y="1262067"/>
                <a:ext cx="199646" cy="229561"/>
                <a:chOff x="3687821" y="3219301"/>
                <a:chExt cx="187471" cy="215563"/>
              </a:xfrm>
              <a:grpFill/>
            </p:grpSpPr>
            <p:sp>
              <p:nvSpPr>
                <p:cNvPr id="38" name="Freihandform: Form 161">
                  <a:extLst>
                    <a:ext uri="{FF2B5EF4-FFF2-40B4-BE49-F238E27FC236}">
                      <a16:creationId xmlns:a16="http://schemas.microsoft.com/office/drawing/2014/main" id="{2251E4D2-5981-D7EA-F85A-29D5C5822B0D}"/>
                    </a:ext>
                  </a:extLst>
                </p:cNvPr>
                <p:cNvSpPr/>
                <p:nvPr/>
              </p:nvSpPr>
              <p:spPr>
                <a:xfrm>
                  <a:off x="3849965" y="3257370"/>
                  <a:ext cx="25327" cy="177494"/>
                </a:xfrm>
                <a:custGeom>
                  <a:avLst/>
                  <a:gdLst>
                    <a:gd name="connsiteX0" fmla="*/ 6652 w 25327"/>
                    <a:gd name="connsiteY0" fmla="*/ 177494 h 177494"/>
                    <a:gd name="connsiteX1" fmla="*/ 6161 w 25327"/>
                    <a:gd name="connsiteY1" fmla="*/ 177468 h 177494"/>
                    <a:gd name="connsiteX2" fmla="*/ 20 w 25327"/>
                    <a:gd name="connsiteY2" fmla="*/ 170347 h 177494"/>
                    <a:gd name="connsiteX3" fmla="*/ 12044 w 25327"/>
                    <a:gd name="connsiteY3" fmla="*/ 6161 h 177494"/>
                    <a:gd name="connsiteX4" fmla="*/ 19166 w 25327"/>
                    <a:gd name="connsiteY4" fmla="*/ 20 h 177494"/>
                    <a:gd name="connsiteX5" fmla="*/ 25307 w 25327"/>
                    <a:gd name="connsiteY5" fmla="*/ 7142 h 177494"/>
                    <a:gd name="connsiteX6" fmla="*/ 13283 w 25327"/>
                    <a:gd name="connsiteY6" fmla="*/ 171302 h 177494"/>
                    <a:gd name="connsiteX7" fmla="*/ 6652 w 25327"/>
                    <a:gd name="connsiteY7" fmla="*/ 177494 h 17749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25327" h="177494">
                      <a:moveTo>
                        <a:pt x="6652" y="177494"/>
                      </a:moveTo>
                      <a:cubicBezTo>
                        <a:pt x="6497" y="177494"/>
                        <a:pt x="6316" y="177494"/>
                        <a:pt x="6161" y="177468"/>
                      </a:cubicBezTo>
                      <a:cubicBezTo>
                        <a:pt x="2497" y="177210"/>
                        <a:pt x="-264" y="174011"/>
                        <a:pt x="20" y="170347"/>
                      </a:cubicBezTo>
                      <a:lnTo>
                        <a:pt x="12044" y="6161"/>
                      </a:lnTo>
                      <a:cubicBezTo>
                        <a:pt x="12302" y="2497"/>
                        <a:pt x="15425" y="-264"/>
                        <a:pt x="19166" y="20"/>
                      </a:cubicBezTo>
                      <a:cubicBezTo>
                        <a:pt x="22830" y="278"/>
                        <a:pt x="25591" y="3478"/>
                        <a:pt x="25307" y="7142"/>
                      </a:cubicBezTo>
                      <a:lnTo>
                        <a:pt x="13283" y="171302"/>
                      </a:lnTo>
                      <a:cubicBezTo>
                        <a:pt x="13025" y="174837"/>
                        <a:pt x="10109" y="177494"/>
                        <a:pt x="6652" y="177494"/>
                      </a:cubicBezTo>
                      <a:close/>
                    </a:path>
                  </a:pathLst>
                </a:custGeom>
                <a:grpFill/>
                <a:ln w="25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39" name="Freihandform: Form 162">
                  <a:extLst>
                    <a:ext uri="{FF2B5EF4-FFF2-40B4-BE49-F238E27FC236}">
                      <a16:creationId xmlns:a16="http://schemas.microsoft.com/office/drawing/2014/main" id="{40A22E7B-91E9-9118-9DBB-FED359340F2E}"/>
                    </a:ext>
                  </a:extLst>
                </p:cNvPr>
                <p:cNvSpPr/>
                <p:nvPr/>
              </p:nvSpPr>
              <p:spPr>
                <a:xfrm>
                  <a:off x="3740062" y="3254035"/>
                  <a:ext cx="135214" cy="97071"/>
                </a:xfrm>
                <a:custGeom>
                  <a:avLst/>
                  <a:gdLst>
                    <a:gd name="connsiteX0" fmla="*/ 121870 w 135214"/>
                    <a:gd name="connsiteY0" fmla="*/ 97072 h 97071"/>
                    <a:gd name="connsiteX1" fmla="*/ 121638 w 135214"/>
                    <a:gd name="connsiteY1" fmla="*/ 97072 h 97071"/>
                    <a:gd name="connsiteX2" fmla="*/ 6427 w 135214"/>
                    <a:gd name="connsiteY2" fmla="*/ 93072 h 97071"/>
                    <a:gd name="connsiteX3" fmla="*/ 2 w 135214"/>
                    <a:gd name="connsiteY3" fmla="*/ 86234 h 97071"/>
                    <a:gd name="connsiteX4" fmla="*/ 2246 w 135214"/>
                    <a:gd name="connsiteY4" fmla="*/ 6451 h 97071"/>
                    <a:gd name="connsiteX5" fmla="*/ 9084 w 135214"/>
                    <a:gd name="connsiteY5" fmla="*/ 0 h 97071"/>
                    <a:gd name="connsiteX6" fmla="*/ 128760 w 135214"/>
                    <a:gd name="connsiteY6" fmla="*/ 3380 h 97071"/>
                    <a:gd name="connsiteX7" fmla="*/ 135210 w 135214"/>
                    <a:gd name="connsiteY7" fmla="*/ 10218 h 97071"/>
                    <a:gd name="connsiteX8" fmla="*/ 128372 w 135214"/>
                    <a:gd name="connsiteY8" fmla="*/ 16669 h 97071"/>
                    <a:gd name="connsiteX9" fmla="*/ 15354 w 135214"/>
                    <a:gd name="connsiteY9" fmla="*/ 13469 h 97071"/>
                    <a:gd name="connsiteX10" fmla="*/ 13471 w 135214"/>
                    <a:gd name="connsiteY10" fmla="*/ 79990 h 97071"/>
                    <a:gd name="connsiteX11" fmla="*/ 122077 w 135214"/>
                    <a:gd name="connsiteY11" fmla="*/ 83783 h 97071"/>
                    <a:gd name="connsiteX12" fmla="*/ 128476 w 135214"/>
                    <a:gd name="connsiteY12" fmla="*/ 90672 h 97071"/>
                    <a:gd name="connsiteX13" fmla="*/ 121870 w 135214"/>
                    <a:gd name="connsiteY13" fmla="*/ 97072 h 970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</a:cxnLst>
                  <a:rect l="l" t="t" r="r" b="b"/>
                  <a:pathLst>
                    <a:path w="135214" h="97071">
                      <a:moveTo>
                        <a:pt x="121870" y="97072"/>
                      </a:moveTo>
                      <a:cubicBezTo>
                        <a:pt x="121792" y="97072"/>
                        <a:pt x="121715" y="97072"/>
                        <a:pt x="121638" y="97072"/>
                      </a:cubicBezTo>
                      <a:lnTo>
                        <a:pt x="6427" y="93072"/>
                      </a:lnTo>
                      <a:cubicBezTo>
                        <a:pt x="2763" y="92943"/>
                        <a:pt x="-76" y="89898"/>
                        <a:pt x="2" y="86234"/>
                      </a:cubicBezTo>
                      <a:lnTo>
                        <a:pt x="2246" y="6451"/>
                      </a:lnTo>
                      <a:cubicBezTo>
                        <a:pt x="2350" y="2787"/>
                        <a:pt x="5368" y="-26"/>
                        <a:pt x="9084" y="0"/>
                      </a:cubicBezTo>
                      <a:lnTo>
                        <a:pt x="128760" y="3380"/>
                      </a:lnTo>
                      <a:cubicBezTo>
                        <a:pt x="132424" y="3484"/>
                        <a:pt x="135339" y="6554"/>
                        <a:pt x="135210" y="10218"/>
                      </a:cubicBezTo>
                      <a:cubicBezTo>
                        <a:pt x="135107" y="13882"/>
                        <a:pt x="132011" y="16772"/>
                        <a:pt x="128372" y="16669"/>
                      </a:cubicBezTo>
                      <a:lnTo>
                        <a:pt x="15354" y="13469"/>
                      </a:lnTo>
                      <a:lnTo>
                        <a:pt x="13471" y="79990"/>
                      </a:lnTo>
                      <a:lnTo>
                        <a:pt x="122077" y="83783"/>
                      </a:lnTo>
                      <a:cubicBezTo>
                        <a:pt x="125740" y="83912"/>
                        <a:pt x="128605" y="86983"/>
                        <a:pt x="128476" y="90672"/>
                      </a:cubicBezTo>
                      <a:cubicBezTo>
                        <a:pt x="128372" y="94259"/>
                        <a:pt x="125431" y="97072"/>
                        <a:pt x="121870" y="97072"/>
                      </a:cubicBezTo>
                      <a:close/>
                    </a:path>
                  </a:pathLst>
                </a:custGeom>
                <a:grpFill/>
                <a:ln w="25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40" name="Freihandform: Form 185">
                  <a:extLst>
                    <a:ext uri="{FF2B5EF4-FFF2-40B4-BE49-F238E27FC236}">
                      <a16:creationId xmlns:a16="http://schemas.microsoft.com/office/drawing/2014/main" id="{B179A429-D35C-B9B4-E2CC-0D77D0F563FC}"/>
                    </a:ext>
                  </a:extLst>
                </p:cNvPr>
                <p:cNvSpPr/>
                <p:nvPr/>
              </p:nvSpPr>
              <p:spPr>
                <a:xfrm>
                  <a:off x="3687821" y="3219301"/>
                  <a:ext cx="101993" cy="94675"/>
                </a:xfrm>
                <a:custGeom>
                  <a:avLst/>
                  <a:gdLst>
                    <a:gd name="connsiteX0" fmla="*/ 57429 w 101993"/>
                    <a:gd name="connsiteY0" fmla="*/ 94676 h 94675"/>
                    <a:gd name="connsiteX1" fmla="*/ 57223 w 101993"/>
                    <a:gd name="connsiteY1" fmla="*/ 94676 h 94675"/>
                    <a:gd name="connsiteX2" fmla="*/ 6442 w 101993"/>
                    <a:gd name="connsiteY2" fmla="*/ 93076 h 94675"/>
                    <a:gd name="connsiteX3" fmla="*/ 894 w 101993"/>
                    <a:gd name="connsiteY3" fmla="*/ 89747 h 94675"/>
                    <a:gd name="connsiteX4" fmla="*/ 791 w 101993"/>
                    <a:gd name="connsiteY4" fmla="*/ 83296 h 94675"/>
                    <a:gd name="connsiteX5" fmla="*/ 20298 w 101993"/>
                    <a:gd name="connsiteY5" fmla="*/ 46888 h 94675"/>
                    <a:gd name="connsiteX6" fmla="*/ 2881 w 101993"/>
                    <a:gd name="connsiteY6" fmla="*/ 9448 h 94675"/>
                    <a:gd name="connsiteX7" fmla="*/ 3346 w 101993"/>
                    <a:gd name="connsiteY7" fmla="*/ 2997 h 94675"/>
                    <a:gd name="connsiteX8" fmla="*/ 9100 w 101993"/>
                    <a:gd name="connsiteY8" fmla="*/ 4 h 94675"/>
                    <a:gd name="connsiteX9" fmla="*/ 95540 w 101993"/>
                    <a:gd name="connsiteY9" fmla="*/ 2429 h 94675"/>
                    <a:gd name="connsiteX10" fmla="*/ 100185 w 101993"/>
                    <a:gd name="connsiteY10" fmla="*/ 4519 h 94675"/>
                    <a:gd name="connsiteX11" fmla="*/ 101991 w 101993"/>
                    <a:gd name="connsiteY11" fmla="*/ 9267 h 94675"/>
                    <a:gd name="connsiteX12" fmla="*/ 101088 w 101993"/>
                    <a:gd name="connsiteY12" fmla="*/ 41702 h 94675"/>
                    <a:gd name="connsiteX13" fmla="*/ 94250 w 101993"/>
                    <a:gd name="connsiteY13" fmla="*/ 48152 h 94675"/>
                    <a:gd name="connsiteX14" fmla="*/ 87799 w 101993"/>
                    <a:gd name="connsiteY14" fmla="*/ 41315 h 94675"/>
                    <a:gd name="connsiteX15" fmla="*/ 88522 w 101993"/>
                    <a:gd name="connsiteY15" fmla="*/ 15537 h 94675"/>
                    <a:gd name="connsiteX16" fmla="*/ 19498 w 101993"/>
                    <a:gd name="connsiteY16" fmla="*/ 13602 h 94675"/>
                    <a:gd name="connsiteX17" fmla="*/ 33793 w 101993"/>
                    <a:gd name="connsiteY17" fmla="*/ 44308 h 94675"/>
                    <a:gd name="connsiteX18" fmla="*/ 33638 w 101993"/>
                    <a:gd name="connsiteY18" fmla="*/ 50242 h 94675"/>
                    <a:gd name="connsiteX19" fmla="*/ 17640 w 101993"/>
                    <a:gd name="connsiteY19" fmla="*/ 80123 h 94675"/>
                    <a:gd name="connsiteX20" fmla="*/ 57713 w 101993"/>
                    <a:gd name="connsiteY20" fmla="*/ 81387 h 94675"/>
                    <a:gd name="connsiteX21" fmla="*/ 64138 w 101993"/>
                    <a:gd name="connsiteY21" fmla="*/ 88251 h 94675"/>
                    <a:gd name="connsiteX22" fmla="*/ 57429 w 101993"/>
                    <a:gd name="connsiteY22" fmla="*/ 94676 h 946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</a:cxnLst>
                  <a:rect l="l" t="t" r="r" b="b"/>
                  <a:pathLst>
                    <a:path w="101993" h="94675">
                      <a:moveTo>
                        <a:pt x="57429" y="94676"/>
                      </a:moveTo>
                      <a:cubicBezTo>
                        <a:pt x="57351" y="94676"/>
                        <a:pt x="57274" y="94676"/>
                        <a:pt x="57223" y="94676"/>
                      </a:cubicBezTo>
                      <a:lnTo>
                        <a:pt x="6442" y="93076"/>
                      </a:lnTo>
                      <a:cubicBezTo>
                        <a:pt x="4145" y="92998"/>
                        <a:pt x="2030" y="91760"/>
                        <a:pt x="894" y="89747"/>
                      </a:cubicBezTo>
                      <a:cubicBezTo>
                        <a:pt x="-267" y="87760"/>
                        <a:pt x="-293" y="85309"/>
                        <a:pt x="791" y="83296"/>
                      </a:cubicBezTo>
                      <a:lnTo>
                        <a:pt x="20298" y="46888"/>
                      </a:lnTo>
                      <a:lnTo>
                        <a:pt x="2881" y="9448"/>
                      </a:lnTo>
                      <a:cubicBezTo>
                        <a:pt x="1900" y="7358"/>
                        <a:pt x="2081" y="4906"/>
                        <a:pt x="3346" y="2997"/>
                      </a:cubicBezTo>
                      <a:cubicBezTo>
                        <a:pt x="4610" y="1062"/>
                        <a:pt x="6777" y="-74"/>
                        <a:pt x="9100" y="4"/>
                      </a:cubicBezTo>
                      <a:lnTo>
                        <a:pt x="95540" y="2429"/>
                      </a:lnTo>
                      <a:cubicBezTo>
                        <a:pt x="97295" y="2481"/>
                        <a:pt x="98972" y="3229"/>
                        <a:pt x="100185" y="4519"/>
                      </a:cubicBezTo>
                      <a:cubicBezTo>
                        <a:pt x="101398" y="5809"/>
                        <a:pt x="102043" y="7512"/>
                        <a:pt x="101991" y="9267"/>
                      </a:cubicBezTo>
                      <a:lnTo>
                        <a:pt x="101088" y="41702"/>
                      </a:lnTo>
                      <a:cubicBezTo>
                        <a:pt x="100985" y="45366"/>
                        <a:pt x="97811" y="48230"/>
                        <a:pt x="94250" y="48152"/>
                      </a:cubicBezTo>
                      <a:cubicBezTo>
                        <a:pt x="90586" y="48049"/>
                        <a:pt x="87670" y="44979"/>
                        <a:pt x="87799" y="41315"/>
                      </a:cubicBezTo>
                      <a:lnTo>
                        <a:pt x="88522" y="15537"/>
                      </a:lnTo>
                      <a:lnTo>
                        <a:pt x="19498" y="13602"/>
                      </a:lnTo>
                      <a:lnTo>
                        <a:pt x="33793" y="44308"/>
                      </a:lnTo>
                      <a:cubicBezTo>
                        <a:pt x="34671" y="46217"/>
                        <a:pt x="34619" y="48411"/>
                        <a:pt x="33638" y="50242"/>
                      </a:cubicBezTo>
                      <a:lnTo>
                        <a:pt x="17640" y="80123"/>
                      </a:lnTo>
                      <a:lnTo>
                        <a:pt x="57713" y="81387"/>
                      </a:lnTo>
                      <a:cubicBezTo>
                        <a:pt x="61377" y="81490"/>
                        <a:pt x="64267" y="84561"/>
                        <a:pt x="64138" y="88251"/>
                      </a:cubicBezTo>
                      <a:cubicBezTo>
                        <a:pt x="63957" y="91837"/>
                        <a:pt x="61016" y="94676"/>
                        <a:pt x="57429" y="94676"/>
                      </a:cubicBezTo>
                      <a:close/>
                    </a:path>
                  </a:pathLst>
                </a:custGeom>
                <a:grpFill/>
                <a:ln w="25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41" name="Freihandform: Form 186">
                  <a:extLst>
                    <a:ext uri="{FF2B5EF4-FFF2-40B4-BE49-F238E27FC236}">
                      <a16:creationId xmlns:a16="http://schemas.microsoft.com/office/drawing/2014/main" id="{A9F8E982-D07B-067C-7536-A1CD25DEF05B}"/>
                    </a:ext>
                  </a:extLst>
                </p:cNvPr>
                <p:cNvSpPr/>
                <p:nvPr/>
              </p:nvSpPr>
              <p:spPr>
                <a:xfrm>
                  <a:off x="3742322" y="3221708"/>
                  <a:ext cx="47476" cy="45615"/>
                </a:xfrm>
                <a:custGeom>
                  <a:avLst/>
                  <a:gdLst>
                    <a:gd name="connsiteX0" fmla="*/ 6644 w 47476"/>
                    <a:gd name="connsiteY0" fmla="*/ 45616 h 45615"/>
                    <a:gd name="connsiteX1" fmla="*/ 1818 w 47476"/>
                    <a:gd name="connsiteY1" fmla="*/ 43526 h 45615"/>
                    <a:gd name="connsiteX2" fmla="*/ 2077 w 47476"/>
                    <a:gd name="connsiteY2" fmla="*/ 34133 h 45615"/>
                    <a:gd name="connsiteX3" fmla="*/ 36266 w 47476"/>
                    <a:gd name="connsiteY3" fmla="*/ 1828 h 45615"/>
                    <a:gd name="connsiteX4" fmla="*/ 45658 w 47476"/>
                    <a:gd name="connsiteY4" fmla="*/ 2086 h 45615"/>
                    <a:gd name="connsiteX5" fmla="*/ 45400 w 47476"/>
                    <a:gd name="connsiteY5" fmla="*/ 11478 h 45615"/>
                    <a:gd name="connsiteX6" fmla="*/ 11211 w 47476"/>
                    <a:gd name="connsiteY6" fmla="*/ 43784 h 45615"/>
                    <a:gd name="connsiteX7" fmla="*/ 6644 w 47476"/>
                    <a:gd name="connsiteY7" fmla="*/ 45616 h 4561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7476" h="45615">
                      <a:moveTo>
                        <a:pt x="6644" y="45616"/>
                      </a:moveTo>
                      <a:cubicBezTo>
                        <a:pt x="4889" y="45616"/>
                        <a:pt x="3109" y="44919"/>
                        <a:pt x="1818" y="43526"/>
                      </a:cubicBezTo>
                      <a:cubicBezTo>
                        <a:pt x="-710" y="40868"/>
                        <a:pt x="-581" y="36636"/>
                        <a:pt x="2077" y="34133"/>
                      </a:cubicBezTo>
                      <a:lnTo>
                        <a:pt x="36266" y="1828"/>
                      </a:lnTo>
                      <a:cubicBezTo>
                        <a:pt x="38923" y="-701"/>
                        <a:pt x="43155" y="-598"/>
                        <a:pt x="45658" y="2086"/>
                      </a:cubicBezTo>
                      <a:cubicBezTo>
                        <a:pt x="48187" y="4744"/>
                        <a:pt x="48058" y="8975"/>
                        <a:pt x="45400" y="11478"/>
                      </a:cubicBezTo>
                      <a:lnTo>
                        <a:pt x="11211" y="43784"/>
                      </a:lnTo>
                      <a:cubicBezTo>
                        <a:pt x="9921" y="45022"/>
                        <a:pt x="8295" y="45616"/>
                        <a:pt x="6644" y="45616"/>
                      </a:cubicBezTo>
                      <a:close/>
                    </a:path>
                  </a:pathLst>
                </a:custGeom>
                <a:grpFill/>
                <a:ln w="25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</a:endParaRPr>
                </a:p>
              </p:txBody>
            </p:sp>
          </p:grpSp>
        </p:grpSp>
        <p:grpSp>
          <p:nvGrpSpPr>
            <p:cNvPr id="33" name="Gruppieren 130">
              <a:extLst>
                <a:ext uri="{FF2B5EF4-FFF2-40B4-BE49-F238E27FC236}">
                  <a16:creationId xmlns:a16="http://schemas.microsoft.com/office/drawing/2014/main" id="{E3E18138-BBD7-8C10-440B-A334613F7D04}"/>
                </a:ext>
              </a:extLst>
            </p:cNvPr>
            <p:cNvGrpSpPr/>
            <p:nvPr/>
          </p:nvGrpSpPr>
          <p:grpSpPr>
            <a:xfrm>
              <a:off x="6552249" y="1576364"/>
              <a:ext cx="694972" cy="368343"/>
              <a:chOff x="6395920" y="1517065"/>
              <a:chExt cx="725252" cy="384392"/>
            </a:xfrm>
            <a:solidFill>
              <a:schemeClr val="bg2">
                <a:lumMod val="50000"/>
              </a:schemeClr>
            </a:solidFill>
          </p:grpSpPr>
          <p:sp>
            <p:nvSpPr>
              <p:cNvPr id="34" name="Freihandform: Form 151">
                <a:extLst>
                  <a:ext uri="{FF2B5EF4-FFF2-40B4-BE49-F238E27FC236}">
                    <a16:creationId xmlns:a16="http://schemas.microsoft.com/office/drawing/2014/main" id="{444AE521-BD77-ED26-8703-2A29077D75B6}"/>
                  </a:ext>
                </a:extLst>
              </p:cNvPr>
              <p:cNvSpPr/>
              <p:nvPr/>
            </p:nvSpPr>
            <p:spPr>
              <a:xfrm>
                <a:off x="6593659" y="1517065"/>
                <a:ext cx="527513" cy="384392"/>
              </a:xfrm>
              <a:custGeom>
                <a:avLst/>
                <a:gdLst>
                  <a:gd name="connsiteX0" fmla="*/ 40402 w 2174033"/>
                  <a:gd name="connsiteY0" fmla="*/ 1584198 h 1584197"/>
                  <a:gd name="connsiteX1" fmla="*/ 73549 w 2174033"/>
                  <a:gd name="connsiteY1" fmla="*/ 1567053 h 1584197"/>
                  <a:gd name="connsiteX2" fmla="*/ 1095962 w 2174033"/>
                  <a:gd name="connsiteY2" fmla="*/ 110871 h 1584197"/>
                  <a:gd name="connsiteX3" fmla="*/ 2100469 w 2174033"/>
                  <a:gd name="connsiteY3" fmla="*/ 1548955 h 1584197"/>
                  <a:gd name="connsiteX4" fmla="*/ 2156761 w 2174033"/>
                  <a:gd name="connsiteY4" fmla="*/ 1558957 h 1584197"/>
                  <a:gd name="connsiteX5" fmla="*/ 2166763 w 2174033"/>
                  <a:gd name="connsiteY5" fmla="*/ 1502759 h 1584197"/>
                  <a:gd name="connsiteX6" fmla="*/ 1129109 w 2174033"/>
                  <a:gd name="connsiteY6" fmla="*/ 17240 h 1584197"/>
                  <a:gd name="connsiteX7" fmla="*/ 1096057 w 2174033"/>
                  <a:gd name="connsiteY7" fmla="*/ 0 h 1584197"/>
                  <a:gd name="connsiteX8" fmla="*/ 1096057 w 2174033"/>
                  <a:gd name="connsiteY8" fmla="*/ 0 h 1584197"/>
                  <a:gd name="connsiteX9" fmla="*/ 1063006 w 2174033"/>
                  <a:gd name="connsiteY9" fmla="*/ 17240 h 1584197"/>
                  <a:gd name="connsiteX10" fmla="*/ 7350 w 2174033"/>
                  <a:gd name="connsiteY10" fmla="*/ 1520571 h 1584197"/>
                  <a:gd name="connsiteX11" fmla="*/ 17161 w 2174033"/>
                  <a:gd name="connsiteY11" fmla="*/ 1576769 h 1584197"/>
                  <a:gd name="connsiteX12" fmla="*/ 40402 w 2174033"/>
                  <a:gd name="connsiteY12" fmla="*/ 1584198 h 1584197"/>
                  <a:gd name="connsiteX13" fmla="*/ 40402 w 2174033"/>
                  <a:gd name="connsiteY13" fmla="*/ 1584198 h 15841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174033" h="1584197">
                    <a:moveTo>
                      <a:pt x="40402" y="1584198"/>
                    </a:moveTo>
                    <a:cubicBezTo>
                      <a:pt x="53165" y="1584198"/>
                      <a:pt x="65643" y="1578197"/>
                      <a:pt x="73549" y="1567053"/>
                    </a:cubicBezTo>
                    <a:lnTo>
                      <a:pt x="1095962" y="110871"/>
                    </a:lnTo>
                    <a:lnTo>
                      <a:pt x="2100469" y="1548955"/>
                    </a:lnTo>
                    <a:cubicBezTo>
                      <a:pt x="2113327" y="1567244"/>
                      <a:pt x="2138474" y="1571625"/>
                      <a:pt x="2156761" y="1558957"/>
                    </a:cubicBezTo>
                    <a:cubicBezTo>
                      <a:pt x="2175049" y="1546193"/>
                      <a:pt x="2179526" y="1520952"/>
                      <a:pt x="2166763" y="1502759"/>
                    </a:cubicBezTo>
                    <a:lnTo>
                      <a:pt x="1129109" y="17240"/>
                    </a:lnTo>
                    <a:cubicBezTo>
                      <a:pt x="1121584" y="6477"/>
                      <a:pt x="1109202" y="0"/>
                      <a:pt x="1096057" y="0"/>
                    </a:cubicBezTo>
                    <a:lnTo>
                      <a:pt x="1096057" y="0"/>
                    </a:lnTo>
                    <a:cubicBezTo>
                      <a:pt x="1082913" y="0"/>
                      <a:pt x="1070530" y="6477"/>
                      <a:pt x="1063006" y="17240"/>
                    </a:cubicBezTo>
                    <a:lnTo>
                      <a:pt x="7350" y="1520571"/>
                    </a:lnTo>
                    <a:cubicBezTo>
                      <a:pt x="-5509" y="1538859"/>
                      <a:pt x="-1032" y="1564005"/>
                      <a:pt x="17161" y="1576769"/>
                    </a:cubicBezTo>
                    <a:cubicBezTo>
                      <a:pt x="24304" y="1581817"/>
                      <a:pt x="32401" y="1584198"/>
                      <a:pt x="40402" y="1584198"/>
                    </a:cubicBezTo>
                    <a:lnTo>
                      <a:pt x="40402" y="1584198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5" name="Freihandform: Form 157">
                <a:extLst>
                  <a:ext uri="{FF2B5EF4-FFF2-40B4-BE49-F238E27FC236}">
                    <a16:creationId xmlns:a16="http://schemas.microsoft.com/office/drawing/2014/main" id="{BE3A690D-BF59-1E2E-89C5-8581F23CBB10}"/>
                  </a:ext>
                </a:extLst>
              </p:cNvPr>
              <p:cNvSpPr/>
              <p:nvPr/>
            </p:nvSpPr>
            <p:spPr>
              <a:xfrm>
                <a:off x="6395920" y="1620778"/>
                <a:ext cx="321456" cy="237691"/>
              </a:xfrm>
              <a:custGeom>
                <a:avLst/>
                <a:gdLst>
                  <a:gd name="connsiteX0" fmla="*/ 40385 w 1324812"/>
                  <a:gd name="connsiteY0" fmla="*/ 979590 h 979589"/>
                  <a:gd name="connsiteX1" fmla="*/ 71055 w 1324812"/>
                  <a:gd name="connsiteY1" fmla="*/ 965493 h 979589"/>
                  <a:gd name="connsiteX2" fmla="*/ 812957 w 1324812"/>
                  <a:gd name="connsiteY2" fmla="*/ 99004 h 979589"/>
                  <a:gd name="connsiteX3" fmla="*/ 1256632 w 1324812"/>
                  <a:gd name="connsiteY3" fmla="*/ 519247 h 979589"/>
                  <a:gd name="connsiteX4" fmla="*/ 1313782 w 1324812"/>
                  <a:gd name="connsiteY4" fmla="*/ 517627 h 979589"/>
                  <a:gd name="connsiteX5" fmla="*/ 1312163 w 1324812"/>
                  <a:gd name="connsiteY5" fmla="*/ 460477 h 979589"/>
                  <a:gd name="connsiteX6" fmla="*/ 837722 w 1324812"/>
                  <a:gd name="connsiteY6" fmla="*/ 11088 h 979589"/>
                  <a:gd name="connsiteX7" fmla="*/ 807909 w 1324812"/>
                  <a:gd name="connsiteY7" fmla="*/ 39 h 979589"/>
                  <a:gd name="connsiteX8" fmla="*/ 779334 w 1324812"/>
                  <a:gd name="connsiteY8" fmla="*/ 14136 h 979589"/>
                  <a:gd name="connsiteX9" fmla="*/ 9714 w 1324812"/>
                  <a:gd name="connsiteY9" fmla="*/ 912915 h 979589"/>
                  <a:gd name="connsiteX10" fmla="*/ 14096 w 1324812"/>
                  <a:gd name="connsiteY10" fmla="*/ 969875 h 979589"/>
                  <a:gd name="connsiteX11" fmla="*/ 40385 w 1324812"/>
                  <a:gd name="connsiteY11" fmla="*/ 979590 h 979589"/>
                  <a:gd name="connsiteX12" fmla="*/ 40385 w 1324812"/>
                  <a:gd name="connsiteY12" fmla="*/ 979590 h 9795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324812" h="979589">
                    <a:moveTo>
                      <a:pt x="40385" y="979590"/>
                    </a:moveTo>
                    <a:cubicBezTo>
                      <a:pt x="51719" y="979590"/>
                      <a:pt x="63054" y="974827"/>
                      <a:pt x="71055" y="965493"/>
                    </a:cubicBezTo>
                    <a:lnTo>
                      <a:pt x="812957" y="99004"/>
                    </a:lnTo>
                    <a:lnTo>
                      <a:pt x="1256632" y="519247"/>
                    </a:lnTo>
                    <a:cubicBezTo>
                      <a:pt x="1272825" y="534582"/>
                      <a:pt x="1298351" y="533915"/>
                      <a:pt x="1313782" y="517627"/>
                    </a:cubicBezTo>
                    <a:cubicBezTo>
                      <a:pt x="1329117" y="501435"/>
                      <a:pt x="1328355" y="475813"/>
                      <a:pt x="1312163" y="460477"/>
                    </a:cubicBezTo>
                    <a:lnTo>
                      <a:pt x="837722" y="11088"/>
                    </a:lnTo>
                    <a:cubicBezTo>
                      <a:pt x="829721" y="3468"/>
                      <a:pt x="818387" y="-437"/>
                      <a:pt x="807909" y="39"/>
                    </a:cubicBezTo>
                    <a:cubicBezTo>
                      <a:pt x="796860" y="610"/>
                      <a:pt x="786573" y="5754"/>
                      <a:pt x="779334" y="14136"/>
                    </a:cubicBezTo>
                    <a:lnTo>
                      <a:pt x="9714" y="912915"/>
                    </a:lnTo>
                    <a:cubicBezTo>
                      <a:pt x="-4764" y="929869"/>
                      <a:pt x="-2859" y="955396"/>
                      <a:pt x="14096" y="969875"/>
                    </a:cubicBezTo>
                    <a:cubicBezTo>
                      <a:pt x="21716" y="976351"/>
                      <a:pt x="31050" y="979590"/>
                      <a:pt x="40385" y="979590"/>
                    </a:cubicBezTo>
                    <a:lnTo>
                      <a:pt x="40385" y="979590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</p:grpSp>
      </p:grpSp>
      <p:sp>
        <p:nvSpPr>
          <p:cNvPr id="43" name="Textfeld 188">
            <a:extLst>
              <a:ext uri="{FF2B5EF4-FFF2-40B4-BE49-F238E27FC236}">
                <a16:creationId xmlns:a16="http://schemas.microsoft.com/office/drawing/2014/main" id="{0D19DB51-E7D4-C206-FD95-B77297B8B461}"/>
              </a:ext>
            </a:extLst>
          </p:cNvPr>
          <p:cNvSpPr txBox="1"/>
          <p:nvPr/>
        </p:nvSpPr>
        <p:spPr>
          <a:xfrm>
            <a:off x="275966" y="1763161"/>
            <a:ext cx="511358" cy="246221"/>
          </a:xfrm>
          <a:prstGeom prst="rect">
            <a:avLst/>
          </a:prstGeom>
          <a:noFill/>
          <a:effectLst/>
        </p:spPr>
        <p:txBody>
          <a:bodyPr wrap="none" lIns="0" tIns="0" rIns="0" bIns="0" rtlCol="0" anchor="t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0" i="0" u="none" strike="noStrike" kern="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</a:rPr>
              <a:t>Scale</a:t>
            </a:r>
            <a:endParaRPr kumimoji="0" lang="en-GB" sz="1800" b="0" i="0" u="none" strike="noStrike" kern="0" cap="none" spc="0" normalizeH="0" baseline="0" noProof="0" dirty="0">
              <a:ln>
                <a:noFill/>
              </a:ln>
              <a:solidFill>
                <a:schemeClr val="bg2"/>
              </a:solidFill>
              <a:effectLst/>
              <a:uLnTx/>
              <a:uFillTx/>
            </a:endParaRP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FD58101D-6430-8227-A515-E3030FA9574E}"/>
              </a:ext>
            </a:extLst>
          </p:cNvPr>
          <p:cNvGrpSpPr/>
          <p:nvPr/>
        </p:nvGrpSpPr>
        <p:grpSpPr>
          <a:xfrm>
            <a:off x="258739" y="2100658"/>
            <a:ext cx="545814" cy="540859"/>
            <a:chOff x="258739" y="2100658"/>
            <a:chExt cx="545814" cy="540859"/>
          </a:xfrm>
        </p:grpSpPr>
        <p:grpSp>
          <p:nvGrpSpPr>
            <p:cNvPr id="45" name="Gruppieren 190">
              <a:extLst>
                <a:ext uri="{FF2B5EF4-FFF2-40B4-BE49-F238E27FC236}">
                  <a16:creationId xmlns:a16="http://schemas.microsoft.com/office/drawing/2014/main" id="{F1360248-BA19-B900-6F35-102A758CD3C0}"/>
                </a:ext>
              </a:extLst>
            </p:cNvPr>
            <p:cNvGrpSpPr/>
            <p:nvPr/>
          </p:nvGrpSpPr>
          <p:grpSpPr>
            <a:xfrm>
              <a:off x="312735" y="2164181"/>
              <a:ext cx="434771" cy="477336"/>
              <a:chOff x="567835" y="2160652"/>
              <a:chExt cx="453714" cy="498133"/>
            </a:xfrm>
            <a:solidFill>
              <a:schemeClr val="bg2">
                <a:lumMod val="50000"/>
              </a:schemeClr>
            </a:solidFill>
          </p:grpSpPr>
          <p:sp>
            <p:nvSpPr>
              <p:cNvPr id="54" name="Freihandform: Form 200">
                <a:extLst>
                  <a:ext uri="{FF2B5EF4-FFF2-40B4-BE49-F238E27FC236}">
                    <a16:creationId xmlns:a16="http://schemas.microsoft.com/office/drawing/2014/main" id="{42EC3FC0-5913-A748-343F-2962568E3A00}"/>
                  </a:ext>
                </a:extLst>
              </p:cNvPr>
              <p:cNvSpPr/>
              <p:nvPr/>
            </p:nvSpPr>
            <p:spPr>
              <a:xfrm>
                <a:off x="879306" y="2309882"/>
                <a:ext cx="75666" cy="75665"/>
              </a:xfrm>
              <a:custGeom>
                <a:avLst/>
                <a:gdLst>
                  <a:gd name="connsiteX0" fmla="*/ 171450 w 342900"/>
                  <a:gd name="connsiteY0" fmla="*/ 342900 h 342899"/>
                  <a:gd name="connsiteX1" fmla="*/ 0 w 342900"/>
                  <a:gd name="connsiteY1" fmla="*/ 171450 h 342899"/>
                  <a:gd name="connsiteX2" fmla="*/ 171450 w 342900"/>
                  <a:gd name="connsiteY2" fmla="*/ 0 h 342899"/>
                  <a:gd name="connsiteX3" fmla="*/ 342900 w 342900"/>
                  <a:gd name="connsiteY3" fmla="*/ 171450 h 342899"/>
                  <a:gd name="connsiteX4" fmla="*/ 171450 w 342900"/>
                  <a:gd name="connsiteY4" fmla="*/ 342900 h 342899"/>
                  <a:gd name="connsiteX5" fmla="*/ 171450 w 342900"/>
                  <a:gd name="connsiteY5" fmla="*/ 57150 h 342899"/>
                  <a:gd name="connsiteX6" fmla="*/ 57150 w 342900"/>
                  <a:gd name="connsiteY6" fmla="*/ 171450 h 342899"/>
                  <a:gd name="connsiteX7" fmla="*/ 171450 w 342900"/>
                  <a:gd name="connsiteY7" fmla="*/ 285750 h 342899"/>
                  <a:gd name="connsiteX8" fmla="*/ 285750 w 342900"/>
                  <a:gd name="connsiteY8" fmla="*/ 171450 h 342899"/>
                  <a:gd name="connsiteX9" fmla="*/ 171450 w 342900"/>
                  <a:gd name="connsiteY9" fmla="*/ 57150 h 3428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342900" h="342899">
                    <a:moveTo>
                      <a:pt x="171450" y="342900"/>
                    </a:moveTo>
                    <a:cubicBezTo>
                      <a:pt x="76867" y="342900"/>
                      <a:pt x="0" y="266033"/>
                      <a:pt x="0" y="171450"/>
                    </a:cubicBezTo>
                    <a:cubicBezTo>
                      <a:pt x="0" y="76867"/>
                      <a:pt x="76867" y="0"/>
                      <a:pt x="171450" y="0"/>
                    </a:cubicBezTo>
                    <a:cubicBezTo>
                      <a:pt x="266033" y="0"/>
                      <a:pt x="342900" y="76867"/>
                      <a:pt x="342900" y="171450"/>
                    </a:cubicBezTo>
                    <a:cubicBezTo>
                      <a:pt x="342900" y="266033"/>
                      <a:pt x="266033" y="342900"/>
                      <a:pt x="171450" y="342900"/>
                    </a:cubicBezTo>
                    <a:close/>
                    <a:moveTo>
                      <a:pt x="171450" y="57150"/>
                    </a:moveTo>
                    <a:cubicBezTo>
                      <a:pt x="108395" y="57150"/>
                      <a:pt x="57150" y="108394"/>
                      <a:pt x="57150" y="171450"/>
                    </a:cubicBezTo>
                    <a:cubicBezTo>
                      <a:pt x="57150" y="234506"/>
                      <a:pt x="108395" y="285750"/>
                      <a:pt x="171450" y="285750"/>
                    </a:cubicBezTo>
                    <a:cubicBezTo>
                      <a:pt x="234505" y="285750"/>
                      <a:pt x="285750" y="234506"/>
                      <a:pt x="285750" y="171450"/>
                    </a:cubicBezTo>
                    <a:cubicBezTo>
                      <a:pt x="285750" y="108394"/>
                      <a:pt x="234505" y="57150"/>
                      <a:pt x="171450" y="5715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55" name="Freihandform: Form 201">
                <a:extLst>
                  <a:ext uri="{FF2B5EF4-FFF2-40B4-BE49-F238E27FC236}">
                    <a16:creationId xmlns:a16="http://schemas.microsoft.com/office/drawing/2014/main" id="{C89BAE48-7B8D-7E65-5800-415957EF1427}"/>
                  </a:ext>
                </a:extLst>
              </p:cNvPr>
              <p:cNvSpPr/>
              <p:nvPr/>
            </p:nvSpPr>
            <p:spPr>
              <a:xfrm>
                <a:off x="656512" y="2646174"/>
                <a:ext cx="277441" cy="12611"/>
              </a:xfrm>
              <a:custGeom>
                <a:avLst/>
                <a:gdLst>
                  <a:gd name="connsiteX0" fmla="*/ 1228725 w 1257300"/>
                  <a:gd name="connsiteY0" fmla="*/ 57150 h 57150"/>
                  <a:gd name="connsiteX1" fmla="*/ 28575 w 1257300"/>
                  <a:gd name="connsiteY1" fmla="*/ 57150 h 57150"/>
                  <a:gd name="connsiteX2" fmla="*/ 0 w 1257300"/>
                  <a:gd name="connsiteY2" fmla="*/ 28575 h 57150"/>
                  <a:gd name="connsiteX3" fmla="*/ 28575 w 1257300"/>
                  <a:gd name="connsiteY3" fmla="*/ 0 h 57150"/>
                  <a:gd name="connsiteX4" fmla="*/ 1228725 w 1257300"/>
                  <a:gd name="connsiteY4" fmla="*/ 0 h 57150"/>
                  <a:gd name="connsiteX5" fmla="*/ 1257300 w 1257300"/>
                  <a:gd name="connsiteY5" fmla="*/ 28575 h 57150"/>
                  <a:gd name="connsiteX6" fmla="*/ 1228725 w 1257300"/>
                  <a:gd name="connsiteY6" fmla="*/ 57150 h 57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257300" h="57150">
                    <a:moveTo>
                      <a:pt x="1228725" y="57150"/>
                    </a:moveTo>
                    <a:lnTo>
                      <a:pt x="28575" y="57150"/>
                    </a:lnTo>
                    <a:cubicBezTo>
                      <a:pt x="12763" y="57150"/>
                      <a:pt x="0" y="44387"/>
                      <a:pt x="0" y="28575"/>
                    </a:cubicBezTo>
                    <a:cubicBezTo>
                      <a:pt x="0" y="12763"/>
                      <a:pt x="12763" y="0"/>
                      <a:pt x="28575" y="0"/>
                    </a:cubicBezTo>
                    <a:lnTo>
                      <a:pt x="1228725" y="0"/>
                    </a:lnTo>
                    <a:cubicBezTo>
                      <a:pt x="1244537" y="0"/>
                      <a:pt x="1257300" y="12763"/>
                      <a:pt x="1257300" y="28575"/>
                    </a:cubicBezTo>
                    <a:cubicBezTo>
                      <a:pt x="1257300" y="44387"/>
                      <a:pt x="1244537" y="57150"/>
                      <a:pt x="1228725" y="5715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56" name="Freihandform: Form 202">
                <a:extLst>
                  <a:ext uri="{FF2B5EF4-FFF2-40B4-BE49-F238E27FC236}">
                    <a16:creationId xmlns:a16="http://schemas.microsoft.com/office/drawing/2014/main" id="{91384E6D-F61A-CAB4-4BF6-97C615D6979B}"/>
                  </a:ext>
                </a:extLst>
              </p:cNvPr>
              <p:cNvSpPr/>
              <p:nvPr/>
            </p:nvSpPr>
            <p:spPr>
              <a:xfrm>
                <a:off x="635494" y="2309882"/>
                <a:ext cx="75666" cy="75665"/>
              </a:xfrm>
              <a:custGeom>
                <a:avLst/>
                <a:gdLst>
                  <a:gd name="connsiteX0" fmla="*/ 171450 w 342900"/>
                  <a:gd name="connsiteY0" fmla="*/ 342900 h 342899"/>
                  <a:gd name="connsiteX1" fmla="*/ 0 w 342900"/>
                  <a:gd name="connsiteY1" fmla="*/ 171450 h 342899"/>
                  <a:gd name="connsiteX2" fmla="*/ 171450 w 342900"/>
                  <a:gd name="connsiteY2" fmla="*/ 0 h 342899"/>
                  <a:gd name="connsiteX3" fmla="*/ 342900 w 342900"/>
                  <a:gd name="connsiteY3" fmla="*/ 171450 h 342899"/>
                  <a:gd name="connsiteX4" fmla="*/ 171450 w 342900"/>
                  <a:gd name="connsiteY4" fmla="*/ 342900 h 342899"/>
                  <a:gd name="connsiteX5" fmla="*/ 171450 w 342900"/>
                  <a:gd name="connsiteY5" fmla="*/ 57150 h 342899"/>
                  <a:gd name="connsiteX6" fmla="*/ 57150 w 342900"/>
                  <a:gd name="connsiteY6" fmla="*/ 171450 h 342899"/>
                  <a:gd name="connsiteX7" fmla="*/ 171450 w 342900"/>
                  <a:gd name="connsiteY7" fmla="*/ 285750 h 342899"/>
                  <a:gd name="connsiteX8" fmla="*/ 285750 w 342900"/>
                  <a:gd name="connsiteY8" fmla="*/ 171450 h 342899"/>
                  <a:gd name="connsiteX9" fmla="*/ 171450 w 342900"/>
                  <a:gd name="connsiteY9" fmla="*/ 57150 h 3428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342900" h="342899">
                    <a:moveTo>
                      <a:pt x="171450" y="342900"/>
                    </a:moveTo>
                    <a:cubicBezTo>
                      <a:pt x="76867" y="342900"/>
                      <a:pt x="0" y="266033"/>
                      <a:pt x="0" y="171450"/>
                    </a:cubicBezTo>
                    <a:cubicBezTo>
                      <a:pt x="0" y="76867"/>
                      <a:pt x="76867" y="0"/>
                      <a:pt x="171450" y="0"/>
                    </a:cubicBezTo>
                    <a:cubicBezTo>
                      <a:pt x="266033" y="0"/>
                      <a:pt x="342900" y="76867"/>
                      <a:pt x="342900" y="171450"/>
                    </a:cubicBezTo>
                    <a:cubicBezTo>
                      <a:pt x="342900" y="266033"/>
                      <a:pt x="266033" y="342900"/>
                      <a:pt x="171450" y="342900"/>
                    </a:cubicBezTo>
                    <a:close/>
                    <a:moveTo>
                      <a:pt x="171450" y="57150"/>
                    </a:moveTo>
                    <a:cubicBezTo>
                      <a:pt x="108394" y="57150"/>
                      <a:pt x="57150" y="108394"/>
                      <a:pt x="57150" y="171450"/>
                    </a:cubicBezTo>
                    <a:cubicBezTo>
                      <a:pt x="57150" y="234506"/>
                      <a:pt x="108394" y="285750"/>
                      <a:pt x="171450" y="285750"/>
                    </a:cubicBezTo>
                    <a:cubicBezTo>
                      <a:pt x="234506" y="285750"/>
                      <a:pt x="285750" y="234506"/>
                      <a:pt x="285750" y="171450"/>
                    </a:cubicBezTo>
                    <a:cubicBezTo>
                      <a:pt x="285750" y="108394"/>
                      <a:pt x="234506" y="57150"/>
                      <a:pt x="171450" y="5715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57" name="Freihandform: Form 203">
                <a:extLst>
                  <a:ext uri="{FF2B5EF4-FFF2-40B4-BE49-F238E27FC236}">
                    <a16:creationId xmlns:a16="http://schemas.microsoft.com/office/drawing/2014/main" id="{AE683E60-4695-1913-82B6-0D745D35A804}"/>
                  </a:ext>
                </a:extLst>
              </p:cNvPr>
              <p:cNvSpPr/>
              <p:nvPr/>
            </p:nvSpPr>
            <p:spPr>
              <a:xfrm>
                <a:off x="788927" y="2307780"/>
                <a:ext cx="12611" cy="351005"/>
              </a:xfrm>
              <a:custGeom>
                <a:avLst/>
                <a:gdLst>
                  <a:gd name="connsiteX0" fmla="*/ 28575 w 57150"/>
                  <a:gd name="connsiteY0" fmla="*/ 1590675 h 1590675"/>
                  <a:gd name="connsiteX1" fmla="*/ 0 w 57150"/>
                  <a:gd name="connsiteY1" fmla="*/ 1562100 h 1590675"/>
                  <a:gd name="connsiteX2" fmla="*/ 0 w 57150"/>
                  <a:gd name="connsiteY2" fmla="*/ 28575 h 1590675"/>
                  <a:gd name="connsiteX3" fmla="*/ 28575 w 57150"/>
                  <a:gd name="connsiteY3" fmla="*/ 0 h 1590675"/>
                  <a:gd name="connsiteX4" fmla="*/ 57150 w 57150"/>
                  <a:gd name="connsiteY4" fmla="*/ 28575 h 1590675"/>
                  <a:gd name="connsiteX5" fmla="*/ 57150 w 57150"/>
                  <a:gd name="connsiteY5" fmla="*/ 1562100 h 1590675"/>
                  <a:gd name="connsiteX6" fmla="*/ 28575 w 57150"/>
                  <a:gd name="connsiteY6" fmla="*/ 1590675 h 15906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57150" h="1590675">
                    <a:moveTo>
                      <a:pt x="28575" y="1590675"/>
                    </a:moveTo>
                    <a:cubicBezTo>
                      <a:pt x="12763" y="1590675"/>
                      <a:pt x="0" y="1577912"/>
                      <a:pt x="0" y="1562100"/>
                    </a:cubicBezTo>
                    <a:lnTo>
                      <a:pt x="0" y="28575"/>
                    </a:lnTo>
                    <a:cubicBezTo>
                      <a:pt x="0" y="12763"/>
                      <a:pt x="12763" y="0"/>
                      <a:pt x="28575" y="0"/>
                    </a:cubicBezTo>
                    <a:cubicBezTo>
                      <a:pt x="44387" y="0"/>
                      <a:pt x="57150" y="12763"/>
                      <a:pt x="57150" y="28575"/>
                    </a:cubicBezTo>
                    <a:lnTo>
                      <a:pt x="57150" y="1562100"/>
                    </a:lnTo>
                    <a:cubicBezTo>
                      <a:pt x="57150" y="1577912"/>
                      <a:pt x="44387" y="1590675"/>
                      <a:pt x="28575" y="1590675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58" name="Freihandform: Form 204">
                <a:extLst>
                  <a:ext uri="{FF2B5EF4-FFF2-40B4-BE49-F238E27FC236}">
                    <a16:creationId xmlns:a16="http://schemas.microsoft.com/office/drawing/2014/main" id="{5B10574B-806C-A4BD-CC8D-B6064F26D8AF}"/>
                  </a:ext>
                </a:extLst>
              </p:cNvPr>
              <p:cNvSpPr/>
              <p:nvPr/>
            </p:nvSpPr>
            <p:spPr>
              <a:xfrm>
                <a:off x="757168" y="2241489"/>
                <a:ext cx="75666" cy="75666"/>
              </a:xfrm>
              <a:custGeom>
                <a:avLst/>
                <a:gdLst>
                  <a:gd name="connsiteX0" fmla="*/ 171450 w 342900"/>
                  <a:gd name="connsiteY0" fmla="*/ 342900 h 342900"/>
                  <a:gd name="connsiteX1" fmla="*/ 0 w 342900"/>
                  <a:gd name="connsiteY1" fmla="*/ 171450 h 342900"/>
                  <a:gd name="connsiteX2" fmla="*/ 171450 w 342900"/>
                  <a:gd name="connsiteY2" fmla="*/ 0 h 342900"/>
                  <a:gd name="connsiteX3" fmla="*/ 342900 w 342900"/>
                  <a:gd name="connsiteY3" fmla="*/ 171450 h 342900"/>
                  <a:gd name="connsiteX4" fmla="*/ 171450 w 342900"/>
                  <a:gd name="connsiteY4" fmla="*/ 342900 h 342900"/>
                  <a:gd name="connsiteX5" fmla="*/ 171450 w 342900"/>
                  <a:gd name="connsiteY5" fmla="*/ 57150 h 342900"/>
                  <a:gd name="connsiteX6" fmla="*/ 57150 w 342900"/>
                  <a:gd name="connsiteY6" fmla="*/ 171450 h 342900"/>
                  <a:gd name="connsiteX7" fmla="*/ 171450 w 342900"/>
                  <a:gd name="connsiteY7" fmla="*/ 285750 h 342900"/>
                  <a:gd name="connsiteX8" fmla="*/ 285750 w 342900"/>
                  <a:gd name="connsiteY8" fmla="*/ 171450 h 342900"/>
                  <a:gd name="connsiteX9" fmla="*/ 171450 w 342900"/>
                  <a:gd name="connsiteY9" fmla="*/ 57150 h 3429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342900" h="342900">
                    <a:moveTo>
                      <a:pt x="171450" y="342900"/>
                    </a:moveTo>
                    <a:cubicBezTo>
                      <a:pt x="76867" y="342900"/>
                      <a:pt x="0" y="266033"/>
                      <a:pt x="0" y="171450"/>
                    </a:cubicBezTo>
                    <a:cubicBezTo>
                      <a:pt x="0" y="76867"/>
                      <a:pt x="76867" y="0"/>
                      <a:pt x="171450" y="0"/>
                    </a:cubicBezTo>
                    <a:cubicBezTo>
                      <a:pt x="266033" y="0"/>
                      <a:pt x="342900" y="76867"/>
                      <a:pt x="342900" y="171450"/>
                    </a:cubicBezTo>
                    <a:cubicBezTo>
                      <a:pt x="342900" y="266033"/>
                      <a:pt x="266033" y="342900"/>
                      <a:pt x="171450" y="342900"/>
                    </a:cubicBezTo>
                    <a:close/>
                    <a:moveTo>
                      <a:pt x="171450" y="57150"/>
                    </a:moveTo>
                    <a:cubicBezTo>
                      <a:pt x="108395" y="57150"/>
                      <a:pt x="57150" y="108394"/>
                      <a:pt x="57150" y="171450"/>
                    </a:cubicBezTo>
                    <a:cubicBezTo>
                      <a:pt x="57150" y="234506"/>
                      <a:pt x="108395" y="285750"/>
                      <a:pt x="171450" y="285750"/>
                    </a:cubicBezTo>
                    <a:cubicBezTo>
                      <a:pt x="234505" y="285750"/>
                      <a:pt x="285750" y="234506"/>
                      <a:pt x="285750" y="171450"/>
                    </a:cubicBezTo>
                    <a:cubicBezTo>
                      <a:pt x="285750" y="108394"/>
                      <a:pt x="234505" y="57150"/>
                      <a:pt x="171450" y="5715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59" name="Freihandform: Form 205">
                <a:extLst>
                  <a:ext uri="{FF2B5EF4-FFF2-40B4-BE49-F238E27FC236}">
                    <a16:creationId xmlns:a16="http://schemas.microsoft.com/office/drawing/2014/main" id="{702B9E4E-FD36-2F78-409E-C82A83F82AB9}"/>
                  </a:ext>
                </a:extLst>
              </p:cNvPr>
              <p:cNvSpPr/>
              <p:nvPr/>
            </p:nvSpPr>
            <p:spPr>
              <a:xfrm>
                <a:off x="788927" y="2160652"/>
                <a:ext cx="12611" cy="88277"/>
              </a:xfrm>
              <a:custGeom>
                <a:avLst/>
                <a:gdLst>
                  <a:gd name="connsiteX0" fmla="*/ 28575 w 57150"/>
                  <a:gd name="connsiteY0" fmla="*/ 400050 h 400050"/>
                  <a:gd name="connsiteX1" fmla="*/ 0 w 57150"/>
                  <a:gd name="connsiteY1" fmla="*/ 371475 h 400050"/>
                  <a:gd name="connsiteX2" fmla="*/ 0 w 57150"/>
                  <a:gd name="connsiteY2" fmla="*/ 28575 h 400050"/>
                  <a:gd name="connsiteX3" fmla="*/ 28575 w 57150"/>
                  <a:gd name="connsiteY3" fmla="*/ 0 h 400050"/>
                  <a:gd name="connsiteX4" fmla="*/ 57150 w 57150"/>
                  <a:gd name="connsiteY4" fmla="*/ 28575 h 400050"/>
                  <a:gd name="connsiteX5" fmla="*/ 57150 w 57150"/>
                  <a:gd name="connsiteY5" fmla="*/ 371475 h 400050"/>
                  <a:gd name="connsiteX6" fmla="*/ 28575 w 57150"/>
                  <a:gd name="connsiteY6" fmla="*/ 400050 h 400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57150" h="400050">
                    <a:moveTo>
                      <a:pt x="28575" y="400050"/>
                    </a:moveTo>
                    <a:cubicBezTo>
                      <a:pt x="12763" y="400050"/>
                      <a:pt x="0" y="387286"/>
                      <a:pt x="0" y="371475"/>
                    </a:cubicBezTo>
                    <a:lnTo>
                      <a:pt x="0" y="28575"/>
                    </a:lnTo>
                    <a:cubicBezTo>
                      <a:pt x="0" y="12764"/>
                      <a:pt x="12763" y="0"/>
                      <a:pt x="28575" y="0"/>
                    </a:cubicBezTo>
                    <a:cubicBezTo>
                      <a:pt x="44387" y="0"/>
                      <a:pt x="57150" y="12764"/>
                      <a:pt x="57150" y="28575"/>
                    </a:cubicBezTo>
                    <a:lnTo>
                      <a:pt x="57150" y="371475"/>
                    </a:lnTo>
                    <a:cubicBezTo>
                      <a:pt x="57150" y="387286"/>
                      <a:pt x="44387" y="400050"/>
                      <a:pt x="28575" y="40005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</a:endParaRPr>
              </a:p>
            </p:txBody>
          </p:sp>
          <p:grpSp>
            <p:nvGrpSpPr>
              <p:cNvPr id="60" name="Grafik 5">
                <a:extLst>
                  <a:ext uri="{FF2B5EF4-FFF2-40B4-BE49-F238E27FC236}">
                    <a16:creationId xmlns:a16="http://schemas.microsoft.com/office/drawing/2014/main" id="{1CDE176A-A133-647F-2530-D76A524ED4BA}"/>
                  </a:ext>
                </a:extLst>
              </p:cNvPr>
              <p:cNvGrpSpPr/>
              <p:nvPr/>
            </p:nvGrpSpPr>
            <p:grpSpPr>
              <a:xfrm>
                <a:off x="567835" y="2181684"/>
                <a:ext cx="233710" cy="279530"/>
                <a:chOff x="3536721" y="1686363"/>
                <a:chExt cx="1059122" cy="1266766"/>
              </a:xfrm>
              <a:grpFill/>
            </p:grpSpPr>
            <p:sp>
              <p:nvSpPr>
                <p:cNvPr id="66" name="Freihandform: Form 212">
                  <a:extLst>
                    <a:ext uri="{FF2B5EF4-FFF2-40B4-BE49-F238E27FC236}">
                      <a16:creationId xmlns:a16="http://schemas.microsoft.com/office/drawing/2014/main" id="{44B91E68-2B1B-DE73-EC31-5E20B20F774B}"/>
                    </a:ext>
                  </a:extLst>
                </p:cNvPr>
                <p:cNvSpPr/>
                <p:nvPr/>
              </p:nvSpPr>
              <p:spPr>
                <a:xfrm>
                  <a:off x="4091049" y="2514948"/>
                  <a:ext cx="504794" cy="438182"/>
                </a:xfrm>
                <a:custGeom>
                  <a:avLst/>
                  <a:gdLst>
                    <a:gd name="connsiteX0" fmla="*/ 476187 w 504794"/>
                    <a:gd name="connsiteY0" fmla="*/ 438182 h 438182"/>
                    <a:gd name="connsiteX1" fmla="*/ 457709 w 504794"/>
                    <a:gd name="connsiteY1" fmla="*/ 431324 h 438182"/>
                    <a:gd name="connsiteX2" fmla="*/ 10034 w 504794"/>
                    <a:gd name="connsiteY2" fmla="*/ 50324 h 438182"/>
                    <a:gd name="connsiteX3" fmla="*/ 6795 w 504794"/>
                    <a:gd name="connsiteY3" fmla="*/ 10034 h 438182"/>
                    <a:gd name="connsiteX4" fmla="*/ 47086 w 504794"/>
                    <a:gd name="connsiteY4" fmla="*/ 6795 h 438182"/>
                    <a:gd name="connsiteX5" fmla="*/ 494761 w 504794"/>
                    <a:gd name="connsiteY5" fmla="*/ 387795 h 438182"/>
                    <a:gd name="connsiteX6" fmla="*/ 497999 w 504794"/>
                    <a:gd name="connsiteY6" fmla="*/ 428086 h 438182"/>
                    <a:gd name="connsiteX7" fmla="*/ 476187 w 504794"/>
                    <a:gd name="connsiteY7" fmla="*/ 438182 h 43818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504794" h="438182">
                      <a:moveTo>
                        <a:pt x="476187" y="438182"/>
                      </a:moveTo>
                      <a:cubicBezTo>
                        <a:pt x="469615" y="438182"/>
                        <a:pt x="463043" y="435992"/>
                        <a:pt x="457709" y="431324"/>
                      </a:cubicBezTo>
                      <a:lnTo>
                        <a:pt x="10034" y="50324"/>
                      </a:lnTo>
                      <a:cubicBezTo>
                        <a:pt x="-1968" y="40133"/>
                        <a:pt x="-3397" y="22035"/>
                        <a:pt x="6795" y="10034"/>
                      </a:cubicBezTo>
                      <a:cubicBezTo>
                        <a:pt x="16987" y="-1968"/>
                        <a:pt x="35084" y="-3397"/>
                        <a:pt x="47086" y="6795"/>
                      </a:cubicBezTo>
                      <a:lnTo>
                        <a:pt x="494761" y="387795"/>
                      </a:lnTo>
                      <a:cubicBezTo>
                        <a:pt x="506762" y="397987"/>
                        <a:pt x="508191" y="416084"/>
                        <a:pt x="497999" y="428086"/>
                      </a:cubicBezTo>
                      <a:cubicBezTo>
                        <a:pt x="492284" y="434753"/>
                        <a:pt x="484283" y="438182"/>
                        <a:pt x="476187" y="43818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67" name="Freihandform: Form 213">
                  <a:extLst>
                    <a:ext uri="{FF2B5EF4-FFF2-40B4-BE49-F238E27FC236}">
                      <a16:creationId xmlns:a16="http://schemas.microsoft.com/office/drawing/2014/main" id="{278680A9-B35E-EDD2-5CC1-677889D7B10D}"/>
                    </a:ext>
                  </a:extLst>
                </p:cNvPr>
                <p:cNvSpPr/>
                <p:nvPr/>
              </p:nvSpPr>
              <p:spPr>
                <a:xfrm>
                  <a:off x="4014845" y="1686363"/>
                  <a:ext cx="438129" cy="390466"/>
                </a:xfrm>
                <a:custGeom>
                  <a:avLst/>
                  <a:gdLst>
                    <a:gd name="connsiteX0" fmla="*/ 409517 w 438129"/>
                    <a:gd name="connsiteY0" fmla="*/ 390467 h 390466"/>
                    <a:gd name="connsiteX1" fmla="*/ 390753 w 438129"/>
                    <a:gd name="connsiteY1" fmla="*/ 383418 h 390466"/>
                    <a:gd name="connsiteX2" fmla="*/ 9753 w 438129"/>
                    <a:gd name="connsiteY2" fmla="*/ 50043 h 390466"/>
                    <a:gd name="connsiteX3" fmla="*/ 7086 w 438129"/>
                    <a:gd name="connsiteY3" fmla="*/ 9753 h 390466"/>
                    <a:gd name="connsiteX4" fmla="*/ 47376 w 438129"/>
                    <a:gd name="connsiteY4" fmla="*/ 7086 h 390466"/>
                    <a:gd name="connsiteX5" fmla="*/ 428376 w 438129"/>
                    <a:gd name="connsiteY5" fmla="*/ 340461 h 390466"/>
                    <a:gd name="connsiteX6" fmla="*/ 431043 w 438129"/>
                    <a:gd name="connsiteY6" fmla="*/ 380751 h 390466"/>
                    <a:gd name="connsiteX7" fmla="*/ 409517 w 438129"/>
                    <a:gd name="connsiteY7" fmla="*/ 390467 h 39046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38129" h="390466">
                      <a:moveTo>
                        <a:pt x="409517" y="390467"/>
                      </a:moveTo>
                      <a:cubicBezTo>
                        <a:pt x="402849" y="390467"/>
                        <a:pt x="396087" y="388181"/>
                        <a:pt x="390753" y="383418"/>
                      </a:cubicBezTo>
                      <a:lnTo>
                        <a:pt x="9753" y="50043"/>
                      </a:lnTo>
                      <a:cubicBezTo>
                        <a:pt x="-2154" y="39661"/>
                        <a:pt x="-3297" y="21564"/>
                        <a:pt x="7086" y="9753"/>
                      </a:cubicBezTo>
                      <a:cubicBezTo>
                        <a:pt x="17468" y="-2154"/>
                        <a:pt x="35565" y="-3297"/>
                        <a:pt x="47376" y="7086"/>
                      </a:cubicBezTo>
                      <a:lnTo>
                        <a:pt x="428376" y="340461"/>
                      </a:lnTo>
                      <a:cubicBezTo>
                        <a:pt x="440283" y="350843"/>
                        <a:pt x="441426" y="368940"/>
                        <a:pt x="431043" y="380751"/>
                      </a:cubicBezTo>
                      <a:cubicBezTo>
                        <a:pt x="425328" y="387133"/>
                        <a:pt x="417423" y="390467"/>
                        <a:pt x="409517" y="390467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68" name="Freihandform: Form 214">
                  <a:extLst>
                    <a:ext uri="{FF2B5EF4-FFF2-40B4-BE49-F238E27FC236}">
                      <a16:creationId xmlns:a16="http://schemas.microsoft.com/office/drawing/2014/main" id="{90F2FF7B-5A79-29E9-8775-A5B05DE8839A}"/>
                    </a:ext>
                  </a:extLst>
                </p:cNvPr>
                <p:cNvSpPr/>
                <p:nvPr/>
              </p:nvSpPr>
              <p:spPr>
                <a:xfrm>
                  <a:off x="3567128" y="2067226"/>
                  <a:ext cx="362013" cy="314404"/>
                </a:xfrm>
                <a:custGeom>
                  <a:avLst/>
                  <a:gdLst>
                    <a:gd name="connsiteX0" fmla="*/ 333359 w 362013"/>
                    <a:gd name="connsiteY0" fmla="*/ 314404 h 314404"/>
                    <a:gd name="connsiteX1" fmla="*/ 314976 w 362013"/>
                    <a:gd name="connsiteY1" fmla="*/ 307641 h 314404"/>
                    <a:gd name="connsiteX2" fmla="*/ 10176 w 362013"/>
                    <a:gd name="connsiteY2" fmla="*/ 50466 h 314404"/>
                    <a:gd name="connsiteX3" fmla="*/ 6747 w 362013"/>
                    <a:gd name="connsiteY3" fmla="*/ 10176 h 314404"/>
                    <a:gd name="connsiteX4" fmla="*/ 47037 w 362013"/>
                    <a:gd name="connsiteY4" fmla="*/ 6747 h 314404"/>
                    <a:gd name="connsiteX5" fmla="*/ 351837 w 362013"/>
                    <a:gd name="connsiteY5" fmla="*/ 263922 h 314404"/>
                    <a:gd name="connsiteX6" fmla="*/ 355266 w 362013"/>
                    <a:gd name="connsiteY6" fmla="*/ 304212 h 314404"/>
                    <a:gd name="connsiteX7" fmla="*/ 333359 w 362013"/>
                    <a:gd name="connsiteY7" fmla="*/ 314404 h 31440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62013" h="314404">
                      <a:moveTo>
                        <a:pt x="333359" y="314404"/>
                      </a:moveTo>
                      <a:cubicBezTo>
                        <a:pt x="326882" y="314404"/>
                        <a:pt x="320310" y="312213"/>
                        <a:pt x="314976" y="307641"/>
                      </a:cubicBezTo>
                      <a:lnTo>
                        <a:pt x="10176" y="50466"/>
                      </a:lnTo>
                      <a:cubicBezTo>
                        <a:pt x="-1921" y="40275"/>
                        <a:pt x="-3445" y="22272"/>
                        <a:pt x="6747" y="10176"/>
                      </a:cubicBezTo>
                      <a:cubicBezTo>
                        <a:pt x="16938" y="-1921"/>
                        <a:pt x="34941" y="-3445"/>
                        <a:pt x="47037" y="6747"/>
                      </a:cubicBezTo>
                      <a:lnTo>
                        <a:pt x="351837" y="263922"/>
                      </a:lnTo>
                      <a:cubicBezTo>
                        <a:pt x="363934" y="274113"/>
                        <a:pt x="365458" y="292116"/>
                        <a:pt x="355266" y="304212"/>
                      </a:cubicBezTo>
                      <a:cubicBezTo>
                        <a:pt x="349551" y="310975"/>
                        <a:pt x="341455" y="314404"/>
                        <a:pt x="333359" y="314404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69" name="Freihandform: Form 215">
                  <a:extLst>
                    <a:ext uri="{FF2B5EF4-FFF2-40B4-BE49-F238E27FC236}">
                      <a16:creationId xmlns:a16="http://schemas.microsoft.com/office/drawing/2014/main" id="{B2F376AE-1842-5E53-33A2-2C5497049778}"/>
                    </a:ext>
                  </a:extLst>
                </p:cNvPr>
                <p:cNvSpPr/>
                <p:nvPr/>
              </p:nvSpPr>
              <p:spPr>
                <a:xfrm>
                  <a:off x="3536721" y="2486400"/>
                  <a:ext cx="382820" cy="235748"/>
                </a:xfrm>
                <a:custGeom>
                  <a:avLst/>
                  <a:gdLst>
                    <a:gd name="connsiteX0" fmla="*/ 28580 w 382820"/>
                    <a:gd name="connsiteY0" fmla="*/ 235749 h 235748"/>
                    <a:gd name="connsiteX1" fmla="*/ 3530 w 382820"/>
                    <a:gd name="connsiteY1" fmla="*/ 220890 h 235748"/>
                    <a:gd name="connsiteX2" fmla="*/ 14864 w 382820"/>
                    <a:gd name="connsiteY2" fmla="*/ 182123 h 235748"/>
                    <a:gd name="connsiteX3" fmla="*/ 340524 w 382820"/>
                    <a:gd name="connsiteY3" fmla="*/ 3530 h 235748"/>
                    <a:gd name="connsiteX4" fmla="*/ 379291 w 382820"/>
                    <a:gd name="connsiteY4" fmla="*/ 14864 h 235748"/>
                    <a:gd name="connsiteX5" fmla="*/ 367956 w 382820"/>
                    <a:gd name="connsiteY5" fmla="*/ 53631 h 235748"/>
                    <a:gd name="connsiteX6" fmla="*/ 42296 w 382820"/>
                    <a:gd name="connsiteY6" fmla="*/ 232225 h 235748"/>
                    <a:gd name="connsiteX7" fmla="*/ 28580 w 382820"/>
                    <a:gd name="connsiteY7" fmla="*/ 235749 h 2357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82820" h="235748">
                      <a:moveTo>
                        <a:pt x="28580" y="235749"/>
                      </a:moveTo>
                      <a:cubicBezTo>
                        <a:pt x="18484" y="235749"/>
                        <a:pt x="8673" y="230415"/>
                        <a:pt x="3530" y="220890"/>
                      </a:cubicBezTo>
                      <a:cubicBezTo>
                        <a:pt x="-4090" y="207079"/>
                        <a:pt x="1053" y="189648"/>
                        <a:pt x="14864" y="182123"/>
                      </a:cubicBezTo>
                      <a:lnTo>
                        <a:pt x="340524" y="3530"/>
                      </a:lnTo>
                      <a:cubicBezTo>
                        <a:pt x="354335" y="-4090"/>
                        <a:pt x="371766" y="1053"/>
                        <a:pt x="379291" y="14864"/>
                      </a:cubicBezTo>
                      <a:cubicBezTo>
                        <a:pt x="386911" y="28676"/>
                        <a:pt x="381767" y="46106"/>
                        <a:pt x="367956" y="53631"/>
                      </a:cubicBezTo>
                      <a:lnTo>
                        <a:pt x="42296" y="232225"/>
                      </a:lnTo>
                      <a:cubicBezTo>
                        <a:pt x="37915" y="234606"/>
                        <a:pt x="33248" y="235749"/>
                        <a:pt x="28580" y="235749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</a:endParaRPr>
                </a:p>
              </p:txBody>
            </p:sp>
          </p:grpSp>
          <p:grpSp>
            <p:nvGrpSpPr>
              <p:cNvPr id="61" name="Grafik 5">
                <a:extLst>
                  <a:ext uri="{FF2B5EF4-FFF2-40B4-BE49-F238E27FC236}">
                    <a16:creationId xmlns:a16="http://schemas.microsoft.com/office/drawing/2014/main" id="{70CBB9C7-5BFF-FE00-81F0-40A677285024}"/>
                  </a:ext>
                </a:extLst>
              </p:cNvPr>
              <p:cNvGrpSpPr/>
              <p:nvPr/>
            </p:nvGrpSpPr>
            <p:grpSpPr>
              <a:xfrm>
                <a:off x="786818" y="2181691"/>
                <a:ext cx="234731" cy="279523"/>
                <a:chOff x="4529104" y="1686395"/>
                <a:chExt cx="1063747" cy="1266734"/>
              </a:xfrm>
              <a:grpFill/>
            </p:grpSpPr>
            <p:sp>
              <p:nvSpPr>
                <p:cNvPr id="62" name="Freihandform: Form 208">
                  <a:extLst>
                    <a:ext uri="{FF2B5EF4-FFF2-40B4-BE49-F238E27FC236}">
                      <a16:creationId xmlns:a16="http://schemas.microsoft.com/office/drawing/2014/main" id="{20E4DA78-0BCA-8A3C-2D2D-AAACBC0F8E52}"/>
                    </a:ext>
                  </a:extLst>
                </p:cNvPr>
                <p:cNvSpPr/>
                <p:nvPr/>
              </p:nvSpPr>
              <p:spPr>
                <a:xfrm>
                  <a:off x="4529104" y="2514948"/>
                  <a:ext cx="504794" cy="438182"/>
                </a:xfrm>
                <a:custGeom>
                  <a:avLst/>
                  <a:gdLst>
                    <a:gd name="connsiteX0" fmla="*/ 28607 w 504794"/>
                    <a:gd name="connsiteY0" fmla="*/ 438182 h 438182"/>
                    <a:gd name="connsiteX1" fmla="*/ 6795 w 504794"/>
                    <a:gd name="connsiteY1" fmla="*/ 428086 h 438182"/>
                    <a:gd name="connsiteX2" fmla="*/ 10034 w 504794"/>
                    <a:gd name="connsiteY2" fmla="*/ 387795 h 438182"/>
                    <a:gd name="connsiteX3" fmla="*/ 457709 w 504794"/>
                    <a:gd name="connsiteY3" fmla="*/ 6795 h 438182"/>
                    <a:gd name="connsiteX4" fmla="*/ 497999 w 504794"/>
                    <a:gd name="connsiteY4" fmla="*/ 10034 h 438182"/>
                    <a:gd name="connsiteX5" fmla="*/ 494761 w 504794"/>
                    <a:gd name="connsiteY5" fmla="*/ 50324 h 438182"/>
                    <a:gd name="connsiteX6" fmla="*/ 47086 w 504794"/>
                    <a:gd name="connsiteY6" fmla="*/ 431324 h 438182"/>
                    <a:gd name="connsiteX7" fmla="*/ 28607 w 504794"/>
                    <a:gd name="connsiteY7" fmla="*/ 438182 h 43818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504794" h="438182">
                      <a:moveTo>
                        <a:pt x="28607" y="438182"/>
                      </a:moveTo>
                      <a:cubicBezTo>
                        <a:pt x="20511" y="438182"/>
                        <a:pt x="12510" y="434753"/>
                        <a:pt x="6795" y="428086"/>
                      </a:cubicBezTo>
                      <a:cubicBezTo>
                        <a:pt x="-3397" y="416084"/>
                        <a:pt x="-1968" y="397987"/>
                        <a:pt x="10034" y="387795"/>
                      </a:cubicBezTo>
                      <a:lnTo>
                        <a:pt x="457709" y="6795"/>
                      </a:lnTo>
                      <a:cubicBezTo>
                        <a:pt x="469710" y="-3397"/>
                        <a:pt x="487712" y="-1968"/>
                        <a:pt x="497999" y="10034"/>
                      </a:cubicBezTo>
                      <a:cubicBezTo>
                        <a:pt x="508191" y="22035"/>
                        <a:pt x="506762" y="40133"/>
                        <a:pt x="494761" y="50324"/>
                      </a:cubicBezTo>
                      <a:lnTo>
                        <a:pt x="47086" y="431324"/>
                      </a:lnTo>
                      <a:cubicBezTo>
                        <a:pt x="41752" y="435896"/>
                        <a:pt x="35180" y="438182"/>
                        <a:pt x="28607" y="43818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63" name="Freihandform: Form 209">
                  <a:extLst>
                    <a:ext uri="{FF2B5EF4-FFF2-40B4-BE49-F238E27FC236}">
                      <a16:creationId xmlns:a16="http://schemas.microsoft.com/office/drawing/2014/main" id="{3EC1DC5C-CA36-113B-F069-60C7D161E50F}"/>
                    </a:ext>
                  </a:extLst>
                </p:cNvPr>
                <p:cNvSpPr/>
                <p:nvPr/>
              </p:nvSpPr>
              <p:spPr>
                <a:xfrm>
                  <a:off x="4672007" y="1686395"/>
                  <a:ext cx="438064" cy="390434"/>
                </a:xfrm>
                <a:custGeom>
                  <a:avLst/>
                  <a:gdLst>
                    <a:gd name="connsiteX0" fmla="*/ 28580 w 438064"/>
                    <a:gd name="connsiteY0" fmla="*/ 390435 h 390434"/>
                    <a:gd name="connsiteX1" fmla="*/ 7053 w 438064"/>
                    <a:gd name="connsiteY1" fmla="*/ 380719 h 390434"/>
                    <a:gd name="connsiteX2" fmla="*/ 9720 w 438064"/>
                    <a:gd name="connsiteY2" fmla="*/ 340428 h 390434"/>
                    <a:gd name="connsiteX3" fmla="*/ 390720 w 438064"/>
                    <a:gd name="connsiteY3" fmla="*/ 7053 h 390434"/>
                    <a:gd name="connsiteX4" fmla="*/ 431011 w 438064"/>
                    <a:gd name="connsiteY4" fmla="*/ 9720 h 390434"/>
                    <a:gd name="connsiteX5" fmla="*/ 428344 w 438064"/>
                    <a:gd name="connsiteY5" fmla="*/ 50011 h 390434"/>
                    <a:gd name="connsiteX6" fmla="*/ 47344 w 438064"/>
                    <a:gd name="connsiteY6" fmla="*/ 383386 h 390434"/>
                    <a:gd name="connsiteX7" fmla="*/ 28580 w 438064"/>
                    <a:gd name="connsiteY7" fmla="*/ 390435 h 39043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38064" h="390434">
                      <a:moveTo>
                        <a:pt x="28580" y="390435"/>
                      </a:moveTo>
                      <a:cubicBezTo>
                        <a:pt x="20674" y="390435"/>
                        <a:pt x="12673" y="387101"/>
                        <a:pt x="7053" y="380719"/>
                      </a:cubicBezTo>
                      <a:cubicBezTo>
                        <a:pt x="-3329" y="368813"/>
                        <a:pt x="-2091" y="350811"/>
                        <a:pt x="9720" y="340428"/>
                      </a:cubicBezTo>
                      <a:lnTo>
                        <a:pt x="390720" y="7053"/>
                      </a:lnTo>
                      <a:cubicBezTo>
                        <a:pt x="402627" y="-3329"/>
                        <a:pt x="420629" y="-2091"/>
                        <a:pt x="431011" y="9720"/>
                      </a:cubicBezTo>
                      <a:cubicBezTo>
                        <a:pt x="441393" y="21627"/>
                        <a:pt x="440155" y="39629"/>
                        <a:pt x="428344" y="50011"/>
                      </a:cubicBezTo>
                      <a:lnTo>
                        <a:pt x="47344" y="383386"/>
                      </a:lnTo>
                      <a:cubicBezTo>
                        <a:pt x="42010" y="388053"/>
                        <a:pt x="35247" y="390435"/>
                        <a:pt x="28580" y="390435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64" name="Freihandform: Form 210">
                  <a:extLst>
                    <a:ext uri="{FF2B5EF4-FFF2-40B4-BE49-F238E27FC236}">
                      <a16:creationId xmlns:a16="http://schemas.microsoft.com/office/drawing/2014/main" id="{ADFA6A81-9746-7A0F-D820-E965A186AA55}"/>
                    </a:ext>
                  </a:extLst>
                </p:cNvPr>
                <p:cNvSpPr/>
                <p:nvPr/>
              </p:nvSpPr>
              <p:spPr>
                <a:xfrm>
                  <a:off x="5212286" y="2051129"/>
                  <a:ext cx="364775" cy="316690"/>
                </a:xfrm>
                <a:custGeom>
                  <a:avLst/>
                  <a:gdLst>
                    <a:gd name="connsiteX0" fmla="*/ 28559 w 364775"/>
                    <a:gd name="connsiteY0" fmla="*/ 316690 h 316690"/>
                    <a:gd name="connsiteX1" fmla="*/ 6747 w 364775"/>
                    <a:gd name="connsiteY1" fmla="*/ 306498 h 316690"/>
                    <a:gd name="connsiteX2" fmla="*/ 10176 w 364775"/>
                    <a:gd name="connsiteY2" fmla="*/ 266208 h 316690"/>
                    <a:gd name="connsiteX3" fmla="*/ 317738 w 364775"/>
                    <a:gd name="connsiteY3" fmla="*/ 6747 h 316690"/>
                    <a:gd name="connsiteX4" fmla="*/ 358029 w 364775"/>
                    <a:gd name="connsiteY4" fmla="*/ 10176 h 316690"/>
                    <a:gd name="connsiteX5" fmla="*/ 354600 w 364775"/>
                    <a:gd name="connsiteY5" fmla="*/ 50466 h 316690"/>
                    <a:gd name="connsiteX6" fmla="*/ 47037 w 364775"/>
                    <a:gd name="connsiteY6" fmla="*/ 309927 h 316690"/>
                    <a:gd name="connsiteX7" fmla="*/ 28559 w 364775"/>
                    <a:gd name="connsiteY7" fmla="*/ 316690 h 3166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64775" h="316690">
                      <a:moveTo>
                        <a:pt x="28559" y="316690"/>
                      </a:moveTo>
                      <a:cubicBezTo>
                        <a:pt x="20463" y="316690"/>
                        <a:pt x="12366" y="313261"/>
                        <a:pt x="6747" y="306498"/>
                      </a:cubicBezTo>
                      <a:cubicBezTo>
                        <a:pt x="-3445" y="294402"/>
                        <a:pt x="-1921" y="276399"/>
                        <a:pt x="10176" y="266208"/>
                      </a:cubicBezTo>
                      <a:lnTo>
                        <a:pt x="317738" y="6747"/>
                      </a:lnTo>
                      <a:cubicBezTo>
                        <a:pt x="329835" y="-3445"/>
                        <a:pt x="347837" y="-1921"/>
                        <a:pt x="358029" y="10176"/>
                      </a:cubicBezTo>
                      <a:cubicBezTo>
                        <a:pt x="368220" y="22272"/>
                        <a:pt x="366696" y="40275"/>
                        <a:pt x="354600" y="50466"/>
                      </a:cubicBezTo>
                      <a:lnTo>
                        <a:pt x="47037" y="309927"/>
                      </a:lnTo>
                      <a:cubicBezTo>
                        <a:pt x="41608" y="314499"/>
                        <a:pt x="35036" y="316690"/>
                        <a:pt x="28559" y="316690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65" name="Freihandform: Form 211">
                  <a:extLst>
                    <a:ext uri="{FF2B5EF4-FFF2-40B4-BE49-F238E27FC236}">
                      <a16:creationId xmlns:a16="http://schemas.microsoft.com/office/drawing/2014/main" id="{B3E7AD69-F990-0E8C-42AB-2B6B083815EF}"/>
                    </a:ext>
                  </a:extLst>
                </p:cNvPr>
                <p:cNvSpPr/>
                <p:nvPr/>
              </p:nvSpPr>
              <p:spPr>
                <a:xfrm>
                  <a:off x="5222308" y="2495681"/>
                  <a:ext cx="370543" cy="229039"/>
                </a:xfrm>
                <a:custGeom>
                  <a:avLst/>
                  <a:gdLst>
                    <a:gd name="connsiteX0" fmla="*/ 342006 w 370543"/>
                    <a:gd name="connsiteY0" fmla="*/ 229039 h 229039"/>
                    <a:gd name="connsiteX1" fmla="*/ 328290 w 370543"/>
                    <a:gd name="connsiteY1" fmla="*/ 225515 h 229039"/>
                    <a:gd name="connsiteX2" fmla="*/ 14822 w 370543"/>
                    <a:gd name="connsiteY2" fmla="*/ 53589 h 229039"/>
                    <a:gd name="connsiteX3" fmla="*/ 3487 w 370543"/>
                    <a:gd name="connsiteY3" fmla="*/ 14822 h 229039"/>
                    <a:gd name="connsiteX4" fmla="*/ 42254 w 370543"/>
                    <a:gd name="connsiteY4" fmla="*/ 3487 h 229039"/>
                    <a:gd name="connsiteX5" fmla="*/ 355722 w 370543"/>
                    <a:gd name="connsiteY5" fmla="*/ 175414 h 229039"/>
                    <a:gd name="connsiteX6" fmla="*/ 367057 w 370543"/>
                    <a:gd name="connsiteY6" fmla="*/ 214180 h 229039"/>
                    <a:gd name="connsiteX7" fmla="*/ 342006 w 370543"/>
                    <a:gd name="connsiteY7" fmla="*/ 229039 h 22903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70543" h="229039">
                      <a:moveTo>
                        <a:pt x="342006" y="229039"/>
                      </a:moveTo>
                      <a:cubicBezTo>
                        <a:pt x="337339" y="229039"/>
                        <a:pt x="332671" y="227896"/>
                        <a:pt x="328290" y="225515"/>
                      </a:cubicBezTo>
                      <a:lnTo>
                        <a:pt x="14822" y="53589"/>
                      </a:lnTo>
                      <a:cubicBezTo>
                        <a:pt x="1011" y="45969"/>
                        <a:pt x="-4037" y="28633"/>
                        <a:pt x="3487" y="14822"/>
                      </a:cubicBezTo>
                      <a:cubicBezTo>
                        <a:pt x="11107" y="1011"/>
                        <a:pt x="28443" y="-4037"/>
                        <a:pt x="42254" y="3487"/>
                      </a:cubicBezTo>
                      <a:lnTo>
                        <a:pt x="355722" y="175414"/>
                      </a:lnTo>
                      <a:cubicBezTo>
                        <a:pt x="369533" y="183034"/>
                        <a:pt x="374581" y="200369"/>
                        <a:pt x="367057" y="214180"/>
                      </a:cubicBezTo>
                      <a:cubicBezTo>
                        <a:pt x="361818" y="223610"/>
                        <a:pt x="352102" y="229039"/>
                        <a:pt x="342006" y="229039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</a:endParaRPr>
                </a:p>
              </p:txBody>
            </p:sp>
          </p:grpSp>
        </p:grpSp>
        <p:grpSp>
          <p:nvGrpSpPr>
            <p:cNvPr id="46" name="Gruppieren 191">
              <a:extLst>
                <a:ext uri="{FF2B5EF4-FFF2-40B4-BE49-F238E27FC236}">
                  <a16:creationId xmlns:a16="http://schemas.microsoft.com/office/drawing/2014/main" id="{104672E5-5745-EAC4-683D-20A5C0ECDE9F}"/>
                </a:ext>
              </a:extLst>
            </p:cNvPr>
            <p:cNvGrpSpPr/>
            <p:nvPr/>
          </p:nvGrpSpPr>
          <p:grpSpPr>
            <a:xfrm>
              <a:off x="258739" y="2100658"/>
              <a:ext cx="545814" cy="351537"/>
              <a:chOff x="511486" y="2094361"/>
              <a:chExt cx="569595" cy="366853"/>
            </a:xfrm>
            <a:solidFill>
              <a:schemeClr val="bg2"/>
            </a:solidFill>
          </p:grpSpPr>
          <p:sp>
            <p:nvSpPr>
              <p:cNvPr id="47" name="Freihandform: Form 192">
                <a:extLst>
                  <a:ext uri="{FF2B5EF4-FFF2-40B4-BE49-F238E27FC236}">
                    <a16:creationId xmlns:a16="http://schemas.microsoft.com/office/drawing/2014/main" id="{168EF08C-BB04-204D-34DD-840AFF20B86B}"/>
                  </a:ext>
                </a:extLst>
              </p:cNvPr>
              <p:cNvSpPr/>
              <p:nvPr/>
            </p:nvSpPr>
            <p:spPr>
              <a:xfrm>
                <a:off x="757168" y="2094361"/>
                <a:ext cx="75666" cy="75666"/>
              </a:xfrm>
              <a:custGeom>
                <a:avLst/>
                <a:gdLst>
                  <a:gd name="connsiteX0" fmla="*/ 171450 w 342900"/>
                  <a:gd name="connsiteY0" fmla="*/ 342900 h 342900"/>
                  <a:gd name="connsiteX1" fmla="*/ 0 w 342900"/>
                  <a:gd name="connsiteY1" fmla="*/ 171450 h 342900"/>
                  <a:gd name="connsiteX2" fmla="*/ 171450 w 342900"/>
                  <a:gd name="connsiteY2" fmla="*/ 0 h 342900"/>
                  <a:gd name="connsiteX3" fmla="*/ 342900 w 342900"/>
                  <a:gd name="connsiteY3" fmla="*/ 171450 h 342900"/>
                  <a:gd name="connsiteX4" fmla="*/ 171450 w 342900"/>
                  <a:gd name="connsiteY4" fmla="*/ 342900 h 342900"/>
                  <a:gd name="connsiteX5" fmla="*/ 171450 w 342900"/>
                  <a:gd name="connsiteY5" fmla="*/ 57150 h 342900"/>
                  <a:gd name="connsiteX6" fmla="*/ 57150 w 342900"/>
                  <a:gd name="connsiteY6" fmla="*/ 171450 h 342900"/>
                  <a:gd name="connsiteX7" fmla="*/ 171450 w 342900"/>
                  <a:gd name="connsiteY7" fmla="*/ 285750 h 342900"/>
                  <a:gd name="connsiteX8" fmla="*/ 285750 w 342900"/>
                  <a:gd name="connsiteY8" fmla="*/ 171450 h 342900"/>
                  <a:gd name="connsiteX9" fmla="*/ 171450 w 342900"/>
                  <a:gd name="connsiteY9" fmla="*/ 57150 h 3429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342900" h="342900">
                    <a:moveTo>
                      <a:pt x="171450" y="342900"/>
                    </a:moveTo>
                    <a:cubicBezTo>
                      <a:pt x="76867" y="342900"/>
                      <a:pt x="0" y="266033"/>
                      <a:pt x="0" y="171450"/>
                    </a:cubicBezTo>
                    <a:cubicBezTo>
                      <a:pt x="0" y="76867"/>
                      <a:pt x="76867" y="0"/>
                      <a:pt x="171450" y="0"/>
                    </a:cubicBezTo>
                    <a:cubicBezTo>
                      <a:pt x="266033" y="0"/>
                      <a:pt x="342900" y="76867"/>
                      <a:pt x="342900" y="171450"/>
                    </a:cubicBezTo>
                    <a:cubicBezTo>
                      <a:pt x="342900" y="266033"/>
                      <a:pt x="266033" y="342900"/>
                      <a:pt x="171450" y="342900"/>
                    </a:cubicBezTo>
                    <a:close/>
                    <a:moveTo>
                      <a:pt x="171450" y="57150"/>
                    </a:moveTo>
                    <a:cubicBezTo>
                      <a:pt x="108395" y="57150"/>
                      <a:pt x="57150" y="108395"/>
                      <a:pt x="57150" y="171450"/>
                    </a:cubicBezTo>
                    <a:cubicBezTo>
                      <a:pt x="57150" y="234506"/>
                      <a:pt x="108395" y="285750"/>
                      <a:pt x="171450" y="285750"/>
                    </a:cubicBezTo>
                    <a:cubicBezTo>
                      <a:pt x="234505" y="285750"/>
                      <a:pt x="285750" y="234506"/>
                      <a:pt x="285750" y="171450"/>
                    </a:cubicBezTo>
                    <a:cubicBezTo>
                      <a:pt x="285750" y="108395"/>
                      <a:pt x="234505" y="57150"/>
                      <a:pt x="171450" y="5715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8" name="Freihandform: Form 193">
                <a:extLst>
                  <a:ext uri="{FF2B5EF4-FFF2-40B4-BE49-F238E27FC236}">
                    <a16:creationId xmlns:a16="http://schemas.microsoft.com/office/drawing/2014/main" id="{EE4FEDC6-AA50-E3FF-CB67-A09D460EBC93}"/>
                  </a:ext>
                </a:extLst>
              </p:cNvPr>
              <p:cNvSpPr/>
              <p:nvPr/>
            </p:nvSpPr>
            <p:spPr>
              <a:xfrm>
                <a:off x="898222" y="2124921"/>
                <a:ext cx="75666" cy="75666"/>
              </a:xfrm>
              <a:custGeom>
                <a:avLst/>
                <a:gdLst>
                  <a:gd name="connsiteX0" fmla="*/ 171450 w 342900"/>
                  <a:gd name="connsiteY0" fmla="*/ 342900 h 342900"/>
                  <a:gd name="connsiteX1" fmla="*/ 0 w 342900"/>
                  <a:gd name="connsiteY1" fmla="*/ 171450 h 342900"/>
                  <a:gd name="connsiteX2" fmla="*/ 171450 w 342900"/>
                  <a:gd name="connsiteY2" fmla="*/ 0 h 342900"/>
                  <a:gd name="connsiteX3" fmla="*/ 342900 w 342900"/>
                  <a:gd name="connsiteY3" fmla="*/ 171450 h 342900"/>
                  <a:gd name="connsiteX4" fmla="*/ 171450 w 342900"/>
                  <a:gd name="connsiteY4" fmla="*/ 342900 h 342900"/>
                  <a:gd name="connsiteX5" fmla="*/ 171450 w 342900"/>
                  <a:gd name="connsiteY5" fmla="*/ 57150 h 342900"/>
                  <a:gd name="connsiteX6" fmla="*/ 57150 w 342900"/>
                  <a:gd name="connsiteY6" fmla="*/ 171450 h 342900"/>
                  <a:gd name="connsiteX7" fmla="*/ 171450 w 342900"/>
                  <a:gd name="connsiteY7" fmla="*/ 285750 h 342900"/>
                  <a:gd name="connsiteX8" fmla="*/ 285750 w 342900"/>
                  <a:gd name="connsiteY8" fmla="*/ 171450 h 342900"/>
                  <a:gd name="connsiteX9" fmla="*/ 171450 w 342900"/>
                  <a:gd name="connsiteY9" fmla="*/ 57150 h 3429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342900" h="342900">
                    <a:moveTo>
                      <a:pt x="171450" y="342900"/>
                    </a:moveTo>
                    <a:cubicBezTo>
                      <a:pt x="76867" y="342900"/>
                      <a:pt x="0" y="266033"/>
                      <a:pt x="0" y="171450"/>
                    </a:cubicBezTo>
                    <a:cubicBezTo>
                      <a:pt x="0" y="76867"/>
                      <a:pt x="76867" y="0"/>
                      <a:pt x="171450" y="0"/>
                    </a:cubicBezTo>
                    <a:cubicBezTo>
                      <a:pt x="266033" y="0"/>
                      <a:pt x="342900" y="76867"/>
                      <a:pt x="342900" y="171450"/>
                    </a:cubicBezTo>
                    <a:cubicBezTo>
                      <a:pt x="342900" y="266033"/>
                      <a:pt x="266033" y="342900"/>
                      <a:pt x="171450" y="342900"/>
                    </a:cubicBezTo>
                    <a:close/>
                    <a:moveTo>
                      <a:pt x="171450" y="57150"/>
                    </a:moveTo>
                    <a:cubicBezTo>
                      <a:pt x="108395" y="57150"/>
                      <a:pt x="57150" y="108395"/>
                      <a:pt x="57150" y="171450"/>
                    </a:cubicBezTo>
                    <a:cubicBezTo>
                      <a:pt x="57150" y="234506"/>
                      <a:pt x="108395" y="285750"/>
                      <a:pt x="171450" y="285750"/>
                    </a:cubicBezTo>
                    <a:cubicBezTo>
                      <a:pt x="234505" y="285750"/>
                      <a:pt x="285750" y="234506"/>
                      <a:pt x="285750" y="171450"/>
                    </a:cubicBezTo>
                    <a:cubicBezTo>
                      <a:pt x="285750" y="108395"/>
                      <a:pt x="234505" y="57150"/>
                      <a:pt x="171450" y="5715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9" name="Freihandform: Form 194">
                <a:extLst>
                  <a:ext uri="{FF2B5EF4-FFF2-40B4-BE49-F238E27FC236}">
                    <a16:creationId xmlns:a16="http://schemas.microsoft.com/office/drawing/2014/main" id="{ABF3CCDE-FD64-7BCC-B504-8ED7C702614E}"/>
                  </a:ext>
                </a:extLst>
              </p:cNvPr>
              <p:cNvSpPr/>
              <p:nvPr/>
            </p:nvSpPr>
            <p:spPr>
              <a:xfrm>
                <a:off x="1003313" y="2213198"/>
                <a:ext cx="75666" cy="75666"/>
              </a:xfrm>
              <a:custGeom>
                <a:avLst/>
                <a:gdLst>
                  <a:gd name="connsiteX0" fmla="*/ 171450 w 342900"/>
                  <a:gd name="connsiteY0" fmla="*/ 342900 h 342900"/>
                  <a:gd name="connsiteX1" fmla="*/ 0 w 342900"/>
                  <a:gd name="connsiteY1" fmla="*/ 171450 h 342900"/>
                  <a:gd name="connsiteX2" fmla="*/ 171450 w 342900"/>
                  <a:gd name="connsiteY2" fmla="*/ 0 h 342900"/>
                  <a:gd name="connsiteX3" fmla="*/ 342900 w 342900"/>
                  <a:gd name="connsiteY3" fmla="*/ 171450 h 342900"/>
                  <a:gd name="connsiteX4" fmla="*/ 171450 w 342900"/>
                  <a:gd name="connsiteY4" fmla="*/ 342900 h 342900"/>
                  <a:gd name="connsiteX5" fmla="*/ 171450 w 342900"/>
                  <a:gd name="connsiteY5" fmla="*/ 57150 h 342900"/>
                  <a:gd name="connsiteX6" fmla="*/ 57150 w 342900"/>
                  <a:gd name="connsiteY6" fmla="*/ 171450 h 342900"/>
                  <a:gd name="connsiteX7" fmla="*/ 171450 w 342900"/>
                  <a:gd name="connsiteY7" fmla="*/ 285750 h 342900"/>
                  <a:gd name="connsiteX8" fmla="*/ 285750 w 342900"/>
                  <a:gd name="connsiteY8" fmla="*/ 171450 h 342900"/>
                  <a:gd name="connsiteX9" fmla="*/ 171450 w 342900"/>
                  <a:gd name="connsiteY9" fmla="*/ 57150 h 3429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342900" h="342900">
                    <a:moveTo>
                      <a:pt x="171450" y="342900"/>
                    </a:moveTo>
                    <a:cubicBezTo>
                      <a:pt x="76867" y="342900"/>
                      <a:pt x="0" y="266033"/>
                      <a:pt x="0" y="171450"/>
                    </a:cubicBezTo>
                    <a:cubicBezTo>
                      <a:pt x="0" y="76867"/>
                      <a:pt x="76867" y="0"/>
                      <a:pt x="171450" y="0"/>
                    </a:cubicBezTo>
                    <a:cubicBezTo>
                      <a:pt x="266033" y="0"/>
                      <a:pt x="342900" y="76867"/>
                      <a:pt x="342900" y="171450"/>
                    </a:cubicBezTo>
                    <a:cubicBezTo>
                      <a:pt x="342900" y="266033"/>
                      <a:pt x="266033" y="342900"/>
                      <a:pt x="171450" y="342900"/>
                    </a:cubicBezTo>
                    <a:close/>
                    <a:moveTo>
                      <a:pt x="171450" y="57150"/>
                    </a:moveTo>
                    <a:cubicBezTo>
                      <a:pt x="108395" y="57150"/>
                      <a:pt x="57150" y="108394"/>
                      <a:pt x="57150" y="171450"/>
                    </a:cubicBezTo>
                    <a:cubicBezTo>
                      <a:pt x="57150" y="234506"/>
                      <a:pt x="108395" y="285750"/>
                      <a:pt x="171450" y="285750"/>
                    </a:cubicBezTo>
                    <a:cubicBezTo>
                      <a:pt x="234505" y="285750"/>
                      <a:pt x="285750" y="234506"/>
                      <a:pt x="285750" y="171450"/>
                    </a:cubicBezTo>
                    <a:cubicBezTo>
                      <a:pt x="285750" y="108394"/>
                      <a:pt x="234505" y="57150"/>
                      <a:pt x="171450" y="5715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50" name="Freihandform: Form 195">
                <a:extLst>
                  <a:ext uri="{FF2B5EF4-FFF2-40B4-BE49-F238E27FC236}">
                    <a16:creationId xmlns:a16="http://schemas.microsoft.com/office/drawing/2014/main" id="{FA9B5861-D8B8-15AB-CC6E-43E54198BE4C}"/>
                  </a:ext>
                </a:extLst>
              </p:cNvPr>
              <p:cNvSpPr/>
              <p:nvPr/>
            </p:nvSpPr>
            <p:spPr>
              <a:xfrm>
                <a:off x="1005415" y="2385547"/>
                <a:ext cx="75666" cy="75666"/>
              </a:xfrm>
              <a:custGeom>
                <a:avLst/>
                <a:gdLst>
                  <a:gd name="connsiteX0" fmla="*/ 171450 w 342900"/>
                  <a:gd name="connsiteY0" fmla="*/ 342900 h 342900"/>
                  <a:gd name="connsiteX1" fmla="*/ 0 w 342900"/>
                  <a:gd name="connsiteY1" fmla="*/ 171450 h 342900"/>
                  <a:gd name="connsiteX2" fmla="*/ 171450 w 342900"/>
                  <a:gd name="connsiteY2" fmla="*/ 0 h 342900"/>
                  <a:gd name="connsiteX3" fmla="*/ 342900 w 342900"/>
                  <a:gd name="connsiteY3" fmla="*/ 171450 h 342900"/>
                  <a:gd name="connsiteX4" fmla="*/ 171450 w 342900"/>
                  <a:gd name="connsiteY4" fmla="*/ 342900 h 342900"/>
                  <a:gd name="connsiteX5" fmla="*/ 171450 w 342900"/>
                  <a:gd name="connsiteY5" fmla="*/ 57150 h 342900"/>
                  <a:gd name="connsiteX6" fmla="*/ 57150 w 342900"/>
                  <a:gd name="connsiteY6" fmla="*/ 171450 h 342900"/>
                  <a:gd name="connsiteX7" fmla="*/ 171450 w 342900"/>
                  <a:gd name="connsiteY7" fmla="*/ 285750 h 342900"/>
                  <a:gd name="connsiteX8" fmla="*/ 285750 w 342900"/>
                  <a:gd name="connsiteY8" fmla="*/ 171450 h 342900"/>
                  <a:gd name="connsiteX9" fmla="*/ 171450 w 342900"/>
                  <a:gd name="connsiteY9" fmla="*/ 57150 h 3429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342900" h="342900">
                    <a:moveTo>
                      <a:pt x="171450" y="342900"/>
                    </a:moveTo>
                    <a:cubicBezTo>
                      <a:pt x="76867" y="342900"/>
                      <a:pt x="0" y="266033"/>
                      <a:pt x="0" y="171450"/>
                    </a:cubicBezTo>
                    <a:cubicBezTo>
                      <a:pt x="0" y="76867"/>
                      <a:pt x="76867" y="0"/>
                      <a:pt x="171450" y="0"/>
                    </a:cubicBezTo>
                    <a:cubicBezTo>
                      <a:pt x="266033" y="0"/>
                      <a:pt x="342900" y="76867"/>
                      <a:pt x="342900" y="171450"/>
                    </a:cubicBezTo>
                    <a:cubicBezTo>
                      <a:pt x="342900" y="266033"/>
                      <a:pt x="266033" y="342900"/>
                      <a:pt x="171450" y="342900"/>
                    </a:cubicBezTo>
                    <a:close/>
                    <a:moveTo>
                      <a:pt x="171450" y="57150"/>
                    </a:moveTo>
                    <a:cubicBezTo>
                      <a:pt x="108395" y="57150"/>
                      <a:pt x="57150" y="108395"/>
                      <a:pt x="57150" y="171450"/>
                    </a:cubicBezTo>
                    <a:cubicBezTo>
                      <a:pt x="57150" y="234506"/>
                      <a:pt x="108395" y="285750"/>
                      <a:pt x="171450" y="285750"/>
                    </a:cubicBezTo>
                    <a:cubicBezTo>
                      <a:pt x="234505" y="285750"/>
                      <a:pt x="285750" y="234506"/>
                      <a:pt x="285750" y="171450"/>
                    </a:cubicBezTo>
                    <a:cubicBezTo>
                      <a:pt x="285750" y="108395"/>
                      <a:pt x="234505" y="57150"/>
                      <a:pt x="171450" y="5715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51" name="Freihandform: Form 196">
                <a:extLst>
                  <a:ext uri="{FF2B5EF4-FFF2-40B4-BE49-F238E27FC236}">
                    <a16:creationId xmlns:a16="http://schemas.microsoft.com/office/drawing/2014/main" id="{300B82E8-DAEB-46EB-BFD7-1A827D1B22D9}"/>
                  </a:ext>
                </a:extLst>
              </p:cNvPr>
              <p:cNvSpPr/>
              <p:nvPr/>
            </p:nvSpPr>
            <p:spPr>
              <a:xfrm>
                <a:off x="618679" y="2124921"/>
                <a:ext cx="75666" cy="75666"/>
              </a:xfrm>
              <a:custGeom>
                <a:avLst/>
                <a:gdLst>
                  <a:gd name="connsiteX0" fmla="*/ 171450 w 342900"/>
                  <a:gd name="connsiteY0" fmla="*/ 342900 h 342900"/>
                  <a:gd name="connsiteX1" fmla="*/ 0 w 342900"/>
                  <a:gd name="connsiteY1" fmla="*/ 171450 h 342900"/>
                  <a:gd name="connsiteX2" fmla="*/ 171450 w 342900"/>
                  <a:gd name="connsiteY2" fmla="*/ 0 h 342900"/>
                  <a:gd name="connsiteX3" fmla="*/ 342900 w 342900"/>
                  <a:gd name="connsiteY3" fmla="*/ 171450 h 342900"/>
                  <a:gd name="connsiteX4" fmla="*/ 171450 w 342900"/>
                  <a:gd name="connsiteY4" fmla="*/ 342900 h 342900"/>
                  <a:gd name="connsiteX5" fmla="*/ 171450 w 342900"/>
                  <a:gd name="connsiteY5" fmla="*/ 57150 h 342900"/>
                  <a:gd name="connsiteX6" fmla="*/ 57150 w 342900"/>
                  <a:gd name="connsiteY6" fmla="*/ 171450 h 342900"/>
                  <a:gd name="connsiteX7" fmla="*/ 171450 w 342900"/>
                  <a:gd name="connsiteY7" fmla="*/ 285750 h 342900"/>
                  <a:gd name="connsiteX8" fmla="*/ 285750 w 342900"/>
                  <a:gd name="connsiteY8" fmla="*/ 171450 h 342900"/>
                  <a:gd name="connsiteX9" fmla="*/ 171450 w 342900"/>
                  <a:gd name="connsiteY9" fmla="*/ 57150 h 3429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342900" h="342900">
                    <a:moveTo>
                      <a:pt x="171450" y="342900"/>
                    </a:moveTo>
                    <a:cubicBezTo>
                      <a:pt x="76867" y="342900"/>
                      <a:pt x="0" y="266033"/>
                      <a:pt x="0" y="171450"/>
                    </a:cubicBezTo>
                    <a:cubicBezTo>
                      <a:pt x="0" y="76867"/>
                      <a:pt x="76867" y="0"/>
                      <a:pt x="171450" y="0"/>
                    </a:cubicBezTo>
                    <a:cubicBezTo>
                      <a:pt x="266033" y="0"/>
                      <a:pt x="342900" y="76867"/>
                      <a:pt x="342900" y="171450"/>
                    </a:cubicBezTo>
                    <a:cubicBezTo>
                      <a:pt x="342900" y="266033"/>
                      <a:pt x="266033" y="342900"/>
                      <a:pt x="171450" y="342900"/>
                    </a:cubicBezTo>
                    <a:close/>
                    <a:moveTo>
                      <a:pt x="171450" y="57150"/>
                    </a:moveTo>
                    <a:cubicBezTo>
                      <a:pt x="108395" y="57150"/>
                      <a:pt x="57150" y="108395"/>
                      <a:pt x="57150" y="171450"/>
                    </a:cubicBezTo>
                    <a:cubicBezTo>
                      <a:pt x="57150" y="234506"/>
                      <a:pt x="108395" y="285750"/>
                      <a:pt x="171450" y="285750"/>
                    </a:cubicBezTo>
                    <a:cubicBezTo>
                      <a:pt x="234506" y="285750"/>
                      <a:pt x="285750" y="234506"/>
                      <a:pt x="285750" y="171450"/>
                    </a:cubicBezTo>
                    <a:cubicBezTo>
                      <a:pt x="285750" y="108395"/>
                      <a:pt x="234506" y="57150"/>
                      <a:pt x="171450" y="5715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52" name="Freihandform: Form 197">
                <a:extLst>
                  <a:ext uri="{FF2B5EF4-FFF2-40B4-BE49-F238E27FC236}">
                    <a16:creationId xmlns:a16="http://schemas.microsoft.com/office/drawing/2014/main" id="{B4408555-A464-C5C6-E7E8-7497239F5635}"/>
                  </a:ext>
                </a:extLst>
              </p:cNvPr>
              <p:cNvSpPr/>
              <p:nvPr/>
            </p:nvSpPr>
            <p:spPr>
              <a:xfrm>
                <a:off x="513588" y="2213198"/>
                <a:ext cx="75666" cy="75666"/>
              </a:xfrm>
              <a:custGeom>
                <a:avLst/>
                <a:gdLst>
                  <a:gd name="connsiteX0" fmla="*/ 171450 w 342900"/>
                  <a:gd name="connsiteY0" fmla="*/ 342900 h 342900"/>
                  <a:gd name="connsiteX1" fmla="*/ 0 w 342900"/>
                  <a:gd name="connsiteY1" fmla="*/ 171450 h 342900"/>
                  <a:gd name="connsiteX2" fmla="*/ 171450 w 342900"/>
                  <a:gd name="connsiteY2" fmla="*/ 0 h 342900"/>
                  <a:gd name="connsiteX3" fmla="*/ 342900 w 342900"/>
                  <a:gd name="connsiteY3" fmla="*/ 171450 h 342900"/>
                  <a:gd name="connsiteX4" fmla="*/ 171450 w 342900"/>
                  <a:gd name="connsiteY4" fmla="*/ 342900 h 342900"/>
                  <a:gd name="connsiteX5" fmla="*/ 171450 w 342900"/>
                  <a:gd name="connsiteY5" fmla="*/ 57150 h 342900"/>
                  <a:gd name="connsiteX6" fmla="*/ 57150 w 342900"/>
                  <a:gd name="connsiteY6" fmla="*/ 171450 h 342900"/>
                  <a:gd name="connsiteX7" fmla="*/ 171450 w 342900"/>
                  <a:gd name="connsiteY7" fmla="*/ 285750 h 342900"/>
                  <a:gd name="connsiteX8" fmla="*/ 285750 w 342900"/>
                  <a:gd name="connsiteY8" fmla="*/ 171450 h 342900"/>
                  <a:gd name="connsiteX9" fmla="*/ 171450 w 342900"/>
                  <a:gd name="connsiteY9" fmla="*/ 57150 h 3429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342900" h="342900">
                    <a:moveTo>
                      <a:pt x="171450" y="342900"/>
                    </a:moveTo>
                    <a:cubicBezTo>
                      <a:pt x="76867" y="342900"/>
                      <a:pt x="0" y="266033"/>
                      <a:pt x="0" y="171450"/>
                    </a:cubicBezTo>
                    <a:cubicBezTo>
                      <a:pt x="0" y="76867"/>
                      <a:pt x="76867" y="0"/>
                      <a:pt x="171450" y="0"/>
                    </a:cubicBezTo>
                    <a:cubicBezTo>
                      <a:pt x="266033" y="0"/>
                      <a:pt x="342900" y="76867"/>
                      <a:pt x="342900" y="171450"/>
                    </a:cubicBezTo>
                    <a:cubicBezTo>
                      <a:pt x="342900" y="266033"/>
                      <a:pt x="266033" y="342900"/>
                      <a:pt x="171450" y="342900"/>
                    </a:cubicBezTo>
                    <a:close/>
                    <a:moveTo>
                      <a:pt x="171450" y="57150"/>
                    </a:moveTo>
                    <a:cubicBezTo>
                      <a:pt x="108395" y="57150"/>
                      <a:pt x="57150" y="108394"/>
                      <a:pt x="57150" y="171450"/>
                    </a:cubicBezTo>
                    <a:cubicBezTo>
                      <a:pt x="57150" y="234506"/>
                      <a:pt x="108395" y="285750"/>
                      <a:pt x="171450" y="285750"/>
                    </a:cubicBezTo>
                    <a:cubicBezTo>
                      <a:pt x="234506" y="285750"/>
                      <a:pt x="285750" y="234506"/>
                      <a:pt x="285750" y="171450"/>
                    </a:cubicBezTo>
                    <a:cubicBezTo>
                      <a:pt x="285750" y="108394"/>
                      <a:pt x="234506" y="57150"/>
                      <a:pt x="171450" y="5715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53" name="Freihandform: Form 198">
                <a:extLst>
                  <a:ext uri="{FF2B5EF4-FFF2-40B4-BE49-F238E27FC236}">
                    <a16:creationId xmlns:a16="http://schemas.microsoft.com/office/drawing/2014/main" id="{912641E2-EFBE-9D5D-F1F3-BE0684453C24}"/>
                  </a:ext>
                </a:extLst>
              </p:cNvPr>
              <p:cNvSpPr/>
              <p:nvPr/>
            </p:nvSpPr>
            <p:spPr>
              <a:xfrm>
                <a:off x="511486" y="2385548"/>
                <a:ext cx="75666" cy="75666"/>
              </a:xfrm>
              <a:custGeom>
                <a:avLst/>
                <a:gdLst>
                  <a:gd name="connsiteX0" fmla="*/ 171450 w 342900"/>
                  <a:gd name="connsiteY0" fmla="*/ 342900 h 342900"/>
                  <a:gd name="connsiteX1" fmla="*/ 0 w 342900"/>
                  <a:gd name="connsiteY1" fmla="*/ 171450 h 342900"/>
                  <a:gd name="connsiteX2" fmla="*/ 171450 w 342900"/>
                  <a:gd name="connsiteY2" fmla="*/ 0 h 342900"/>
                  <a:gd name="connsiteX3" fmla="*/ 342900 w 342900"/>
                  <a:gd name="connsiteY3" fmla="*/ 171450 h 342900"/>
                  <a:gd name="connsiteX4" fmla="*/ 171450 w 342900"/>
                  <a:gd name="connsiteY4" fmla="*/ 342900 h 342900"/>
                  <a:gd name="connsiteX5" fmla="*/ 171450 w 342900"/>
                  <a:gd name="connsiteY5" fmla="*/ 57150 h 342900"/>
                  <a:gd name="connsiteX6" fmla="*/ 57150 w 342900"/>
                  <a:gd name="connsiteY6" fmla="*/ 171450 h 342900"/>
                  <a:gd name="connsiteX7" fmla="*/ 171450 w 342900"/>
                  <a:gd name="connsiteY7" fmla="*/ 285750 h 342900"/>
                  <a:gd name="connsiteX8" fmla="*/ 285750 w 342900"/>
                  <a:gd name="connsiteY8" fmla="*/ 171450 h 342900"/>
                  <a:gd name="connsiteX9" fmla="*/ 171450 w 342900"/>
                  <a:gd name="connsiteY9" fmla="*/ 57150 h 3429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342900" h="342900">
                    <a:moveTo>
                      <a:pt x="171450" y="342900"/>
                    </a:moveTo>
                    <a:cubicBezTo>
                      <a:pt x="76867" y="342900"/>
                      <a:pt x="0" y="266033"/>
                      <a:pt x="0" y="171450"/>
                    </a:cubicBezTo>
                    <a:cubicBezTo>
                      <a:pt x="0" y="76867"/>
                      <a:pt x="76867" y="0"/>
                      <a:pt x="171450" y="0"/>
                    </a:cubicBezTo>
                    <a:cubicBezTo>
                      <a:pt x="266033" y="0"/>
                      <a:pt x="342900" y="76867"/>
                      <a:pt x="342900" y="171450"/>
                    </a:cubicBezTo>
                    <a:cubicBezTo>
                      <a:pt x="342900" y="266033"/>
                      <a:pt x="266033" y="342900"/>
                      <a:pt x="171450" y="342900"/>
                    </a:cubicBezTo>
                    <a:close/>
                    <a:moveTo>
                      <a:pt x="171450" y="57150"/>
                    </a:moveTo>
                    <a:cubicBezTo>
                      <a:pt x="108395" y="57150"/>
                      <a:pt x="57150" y="108395"/>
                      <a:pt x="57150" y="171450"/>
                    </a:cubicBezTo>
                    <a:cubicBezTo>
                      <a:pt x="57150" y="234506"/>
                      <a:pt x="108395" y="285750"/>
                      <a:pt x="171450" y="285750"/>
                    </a:cubicBezTo>
                    <a:cubicBezTo>
                      <a:pt x="234506" y="285750"/>
                      <a:pt x="285750" y="234506"/>
                      <a:pt x="285750" y="171450"/>
                    </a:cubicBezTo>
                    <a:cubicBezTo>
                      <a:pt x="285750" y="108395"/>
                      <a:pt x="234506" y="57150"/>
                      <a:pt x="171450" y="5715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</a:endParaRPr>
              </a:p>
            </p:txBody>
          </p:sp>
        </p:grpSp>
      </p:grpSp>
      <p:sp>
        <p:nvSpPr>
          <p:cNvPr id="71" name="Textfeld 217">
            <a:extLst>
              <a:ext uri="{FF2B5EF4-FFF2-40B4-BE49-F238E27FC236}">
                <a16:creationId xmlns:a16="http://schemas.microsoft.com/office/drawing/2014/main" id="{D1DD139E-45AC-21CA-B8CA-871A97FCA33C}"/>
              </a:ext>
            </a:extLst>
          </p:cNvPr>
          <p:cNvSpPr txBox="1"/>
          <p:nvPr/>
        </p:nvSpPr>
        <p:spPr>
          <a:xfrm>
            <a:off x="279374" y="3906632"/>
            <a:ext cx="591509" cy="246221"/>
          </a:xfrm>
          <a:prstGeom prst="rect">
            <a:avLst/>
          </a:prstGeom>
          <a:noFill/>
          <a:effectLst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0" i="0" u="none" strike="noStrike" kern="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</a:rPr>
              <a:t>Shape</a:t>
            </a:r>
            <a:endParaRPr kumimoji="0" lang="en-GB" sz="1800" b="0" i="0" u="none" strike="noStrike" kern="0" cap="none" spc="0" normalizeH="0" baseline="0" noProof="0" dirty="0">
              <a:ln>
                <a:noFill/>
              </a:ln>
              <a:solidFill>
                <a:schemeClr val="bg2"/>
              </a:solidFill>
              <a:effectLst/>
              <a:uLnTx/>
              <a:uFillTx/>
            </a:endParaRP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EF7E6979-14A0-D3C1-6C62-8D8C121210AE}"/>
              </a:ext>
            </a:extLst>
          </p:cNvPr>
          <p:cNvGrpSpPr/>
          <p:nvPr/>
        </p:nvGrpSpPr>
        <p:grpSpPr>
          <a:xfrm>
            <a:off x="258739" y="3197765"/>
            <a:ext cx="626512" cy="608425"/>
            <a:chOff x="258739" y="3197765"/>
            <a:chExt cx="626512" cy="608425"/>
          </a:xfrm>
        </p:grpSpPr>
        <p:grpSp>
          <p:nvGrpSpPr>
            <p:cNvPr id="73" name="Gruppieren 219">
              <a:extLst>
                <a:ext uri="{FF2B5EF4-FFF2-40B4-BE49-F238E27FC236}">
                  <a16:creationId xmlns:a16="http://schemas.microsoft.com/office/drawing/2014/main" id="{BE7AEA70-D2CA-3E95-3F64-617B36302D05}"/>
                </a:ext>
              </a:extLst>
            </p:cNvPr>
            <p:cNvGrpSpPr/>
            <p:nvPr/>
          </p:nvGrpSpPr>
          <p:grpSpPr>
            <a:xfrm>
              <a:off x="465952" y="3197765"/>
              <a:ext cx="213442" cy="608425"/>
              <a:chOff x="701400" y="3239269"/>
              <a:chExt cx="222742" cy="634934"/>
            </a:xfrm>
            <a:solidFill>
              <a:schemeClr val="bg2"/>
            </a:solidFill>
          </p:grpSpPr>
          <p:sp>
            <p:nvSpPr>
              <p:cNvPr id="87" name="Freihandform: Form 233">
                <a:extLst>
                  <a:ext uri="{FF2B5EF4-FFF2-40B4-BE49-F238E27FC236}">
                    <a16:creationId xmlns:a16="http://schemas.microsoft.com/office/drawing/2014/main" id="{D4D16ECC-DCD7-D82A-5948-5E3CC591F305}"/>
                  </a:ext>
                </a:extLst>
              </p:cNvPr>
              <p:cNvSpPr/>
              <p:nvPr/>
            </p:nvSpPr>
            <p:spPr>
              <a:xfrm>
                <a:off x="701400" y="3239269"/>
                <a:ext cx="222742" cy="185547"/>
              </a:xfrm>
              <a:custGeom>
                <a:avLst/>
                <a:gdLst>
                  <a:gd name="connsiteX0" fmla="*/ 870434 w 898858"/>
                  <a:gd name="connsiteY0" fmla="*/ 748760 h 748760"/>
                  <a:gd name="connsiteX1" fmla="*/ 28615 w 898858"/>
                  <a:gd name="connsiteY1" fmla="*/ 748760 h 748760"/>
                  <a:gd name="connsiteX2" fmla="*/ 3659 w 898858"/>
                  <a:gd name="connsiteY2" fmla="*/ 734187 h 748760"/>
                  <a:gd name="connsiteX3" fmla="*/ 4136 w 898858"/>
                  <a:gd name="connsiteY3" fmla="*/ 705326 h 748760"/>
                  <a:gd name="connsiteX4" fmla="*/ 425045 w 898858"/>
                  <a:gd name="connsiteY4" fmla="*/ 13716 h 748760"/>
                  <a:gd name="connsiteX5" fmla="*/ 449429 w 898858"/>
                  <a:gd name="connsiteY5" fmla="*/ 0 h 748760"/>
                  <a:gd name="connsiteX6" fmla="*/ 473813 w 898858"/>
                  <a:gd name="connsiteY6" fmla="*/ 13716 h 748760"/>
                  <a:gd name="connsiteX7" fmla="*/ 894723 w 898858"/>
                  <a:gd name="connsiteY7" fmla="*/ 705326 h 748760"/>
                  <a:gd name="connsiteX8" fmla="*/ 895199 w 898858"/>
                  <a:gd name="connsiteY8" fmla="*/ 734187 h 748760"/>
                  <a:gd name="connsiteX9" fmla="*/ 870434 w 898858"/>
                  <a:gd name="connsiteY9" fmla="*/ 748760 h 748760"/>
                  <a:gd name="connsiteX10" fmla="*/ 79478 w 898858"/>
                  <a:gd name="connsiteY10" fmla="*/ 691610 h 748760"/>
                  <a:gd name="connsiteX11" fmla="*/ 819571 w 898858"/>
                  <a:gd name="connsiteY11" fmla="*/ 691610 h 748760"/>
                  <a:gd name="connsiteX12" fmla="*/ 449524 w 898858"/>
                  <a:gd name="connsiteY12" fmla="*/ 83534 h 748760"/>
                  <a:gd name="connsiteX13" fmla="*/ 79478 w 898858"/>
                  <a:gd name="connsiteY13" fmla="*/ 691610 h 7487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898858" h="748760">
                    <a:moveTo>
                      <a:pt x="870434" y="748760"/>
                    </a:moveTo>
                    <a:lnTo>
                      <a:pt x="28615" y="748760"/>
                    </a:lnTo>
                    <a:cubicBezTo>
                      <a:pt x="18328" y="748760"/>
                      <a:pt x="8803" y="743236"/>
                      <a:pt x="3659" y="734187"/>
                    </a:cubicBezTo>
                    <a:cubicBezTo>
                      <a:pt x="-1389" y="725234"/>
                      <a:pt x="-1199" y="714185"/>
                      <a:pt x="4136" y="705326"/>
                    </a:cubicBezTo>
                    <a:lnTo>
                      <a:pt x="425045" y="13716"/>
                    </a:lnTo>
                    <a:cubicBezTo>
                      <a:pt x="430189" y="5239"/>
                      <a:pt x="439523" y="0"/>
                      <a:pt x="449429" y="0"/>
                    </a:cubicBezTo>
                    <a:cubicBezTo>
                      <a:pt x="459335" y="0"/>
                      <a:pt x="468670" y="5239"/>
                      <a:pt x="473813" y="13716"/>
                    </a:cubicBezTo>
                    <a:lnTo>
                      <a:pt x="894723" y="705326"/>
                    </a:lnTo>
                    <a:cubicBezTo>
                      <a:pt x="900057" y="714185"/>
                      <a:pt x="900248" y="725138"/>
                      <a:pt x="895199" y="734187"/>
                    </a:cubicBezTo>
                    <a:cubicBezTo>
                      <a:pt x="890246" y="743140"/>
                      <a:pt x="880721" y="748760"/>
                      <a:pt x="870434" y="748760"/>
                    </a:cubicBezTo>
                    <a:close/>
                    <a:moveTo>
                      <a:pt x="79478" y="691610"/>
                    </a:moveTo>
                    <a:lnTo>
                      <a:pt x="819571" y="691610"/>
                    </a:lnTo>
                    <a:lnTo>
                      <a:pt x="449524" y="83534"/>
                    </a:lnTo>
                    <a:lnTo>
                      <a:pt x="79478" y="691610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88" name="Rechteck: abgerundete Ecken 234">
                <a:extLst>
                  <a:ext uri="{FF2B5EF4-FFF2-40B4-BE49-F238E27FC236}">
                    <a16:creationId xmlns:a16="http://schemas.microsoft.com/office/drawing/2014/main" id="{1C2FEB46-9A08-EE70-F1FF-51B954BA41A1}"/>
                  </a:ext>
                </a:extLst>
              </p:cNvPr>
              <p:cNvSpPr/>
              <p:nvPr/>
            </p:nvSpPr>
            <p:spPr>
              <a:xfrm>
                <a:off x="805857" y="3560129"/>
                <a:ext cx="13828" cy="95066"/>
              </a:xfrm>
              <a:prstGeom prst="roundRect">
                <a:avLst>
                  <a:gd name="adj" fmla="val 50000"/>
                </a:avLst>
              </a:pr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89" name="Rechteck: abgerundete Ecken 235">
                <a:extLst>
                  <a:ext uri="{FF2B5EF4-FFF2-40B4-BE49-F238E27FC236}">
                    <a16:creationId xmlns:a16="http://schemas.microsoft.com/office/drawing/2014/main" id="{85F57CEC-78DA-6570-5654-213DE44C64F9}"/>
                  </a:ext>
                </a:extLst>
              </p:cNvPr>
              <p:cNvSpPr/>
              <p:nvPr/>
            </p:nvSpPr>
            <p:spPr>
              <a:xfrm>
                <a:off x="805857" y="3414658"/>
                <a:ext cx="13828" cy="120994"/>
              </a:xfrm>
              <a:prstGeom prst="roundRect">
                <a:avLst>
                  <a:gd name="adj" fmla="val 50000"/>
                </a:avLst>
              </a:pr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90" name="Rechteck: abgerundete Ecken 236">
                <a:extLst>
                  <a:ext uri="{FF2B5EF4-FFF2-40B4-BE49-F238E27FC236}">
                    <a16:creationId xmlns:a16="http://schemas.microsoft.com/office/drawing/2014/main" id="{47D4603C-005F-C274-676E-B331027C07C4}"/>
                  </a:ext>
                </a:extLst>
              </p:cNvPr>
              <p:cNvSpPr/>
              <p:nvPr/>
            </p:nvSpPr>
            <p:spPr>
              <a:xfrm>
                <a:off x="805857" y="3679672"/>
                <a:ext cx="13828" cy="69139"/>
              </a:xfrm>
              <a:prstGeom prst="roundRect">
                <a:avLst>
                  <a:gd name="adj" fmla="val 50000"/>
                </a:avLst>
              </a:pr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91" name="Rechteck: abgerundete Ecken 237">
                <a:extLst>
                  <a:ext uri="{FF2B5EF4-FFF2-40B4-BE49-F238E27FC236}">
                    <a16:creationId xmlns:a16="http://schemas.microsoft.com/office/drawing/2014/main" id="{7363896A-D048-2CAC-7EAC-DA6F4A839709}"/>
                  </a:ext>
                </a:extLst>
              </p:cNvPr>
              <p:cNvSpPr/>
              <p:nvPr/>
            </p:nvSpPr>
            <p:spPr>
              <a:xfrm>
                <a:off x="805857" y="3822348"/>
                <a:ext cx="13828" cy="51854"/>
              </a:xfrm>
              <a:prstGeom prst="roundRect">
                <a:avLst>
                  <a:gd name="adj" fmla="val 50000"/>
                </a:avLst>
              </a:pr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92" name="Rechteck: abgerundete Ecken 238">
                <a:extLst>
                  <a:ext uri="{FF2B5EF4-FFF2-40B4-BE49-F238E27FC236}">
                    <a16:creationId xmlns:a16="http://schemas.microsoft.com/office/drawing/2014/main" id="{82EE6445-C9D2-DD9F-C42C-183BDE598F6A}"/>
                  </a:ext>
                </a:extLst>
              </p:cNvPr>
              <p:cNvSpPr/>
              <p:nvPr/>
            </p:nvSpPr>
            <p:spPr>
              <a:xfrm rot="5400000">
                <a:off x="806292" y="3820413"/>
                <a:ext cx="13828" cy="93752"/>
              </a:xfrm>
              <a:prstGeom prst="roundRect">
                <a:avLst>
                  <a:gd name="adj" fmla="val 50000"/>
                </a:avLst>
              </a:pr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93" name="Rechteck: abgerundete Ecken 239">
                <a:extLst>
                  <a:ext uri="{FF2B5EF4-FFF2-40B4-BE49-F238E27FC236}">
                    <a16:creationId xmlns:a16="http://schemas.microsoft.com/office/drawing/2014/main" id="{1CDCD5E1-01FB-081D-15F5-0C5B525FBA72}"/>
                  </a:ext>
                </a:extLst>
              </p:cNvPr>
              <p:cNvSpPr/>
              <p:nvPr/>
            </p:nvSpPr>
            <p:spPr>
              <a:xfrm rot="10800000">
                <a:off x="805857" y="3773288"/>
                <a:ext cx="13828" cy="24582"/>
              </a:xfrm>
              <a:prstGeom prst="roundRect">
                <a:avLst>
                  <a:gd name="adj" fmla="val 50000"/>
                </a:avLst>
              </a:prstGeom>
              <a:grpFill/>
              <a:ln w="9525" cap="flat">
                <a:noFill/>
                <a:prstDash val="solid"/>
                <a:miter/>
              </a:ln>
            </p:spPr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</a:endParaRPr>
              </a:p>
            </p:txBody>
          </p:sp>
        </p:grpSp>
        <p:grpSp>
          <p:nvGrpSpPr>
            <p:cNvPr id="74" name="Gruppieren 220">
              <a:extLst>
                <a:ext uri="{FF2B5EF4-FFF2-40B4-BE49-F238E27FC236}">
                  <a16:creationId xmlns:a16="http://schemas.microsoft.com/office/drawing/2014/main" id="{42531E24-A927-C0D5-8F74-E2E26002782C}"/>
                </a:ext>
              </a:extLst>
            </p:cNvPr>
            <p:cNvGrpSpPr/>
            <p:nvPr/>
          </p:nvGrpSpPr>
          <p:grpSpPr>
            <a:xfrm>
              <a:off x="258739" y="3410375"/>
              <a:ext cx="626512" cy="395815"/>
              <a:chOff x="485159" y="3461142"/>
              <a:chExt cx="653809" cy="413061"/>
            </a:xfrm>
            <a:solidFill>
              <a:schemeClr val="bg2">
                <a:lumMod val="50000"/>
              </a:schemeClr>
            </a:solidFill>
          </p:grpSpPr>
          <p:sp>
            <p:nvSpPr>
              <p:cNvPr id="75" name="Freihandform: Form 221">
                <a:extLst>
                  <a:ext uri="{FF2B5EF4-FFF2-40B4-BE49-F238E27FC236}">
                    <a16:creationId xmlns:a16="http://schemas.microsoft.com/office/drawing/2014/main" id="{A3BDB818-E89C-1BE1-0D86-968A0FD1ECFE}"/>
                  </a:ext>
                </a:extLst>
              </p:cNvPr>
              <p:cNvSpPr/>
              <p:nvPr/>
            </p:nvSpPr>
            <p:spPr>
              <a:xfrm>
                <a:off x="596105" y="3461142"/>
                <a:ext cx="177012" cy="188828"/>
              </a:xfrm>
              <a:custGeom>
                <a:avLst/>
                <a:gdLst>
                  <a:gd name="connsiteX0" fmla="*/ 685745 w 714319"/>
                  <a:gd name="connsiteY0" fmla="*/ 762000 h 762000"/>
                  <a:gd name="connsiteX1" fmla="*/ 28519 w 714319"/>
                  <a:gd name="connsiteY1" fmla="*/ 762000 h 762000"/>
                  <a:gd name="connsiteX2" fmla="*/ 3659 w 714319"/>
                  <a:gd name="connsiteY2" fmla="*/ 747427 h 762000"/>
                  <a:gd name="connsiteX3" fmla="*/ 4135 w 714319"/>
                  <a:gd name="connsiteY3" fmla="*/ 718566 h 762000"/>
                  <a:gd name="connsiteX4" fmla="*/ 432761 w 714319"/>
                  <a:gd name="connsiteY4" fmla="*/ 13716 h 762000"/>
                  <a:gd name="connsiteX5" fmla="*/ 457144 w 714319"/>
                  <a:gd name="connsiteY5" fmla="*/ 0 h 762000"/>
                  <a:gd name="connsiteX6" fmla="*/ 647645 w 714319"/>
                  <a:gd name="connsiteY6" fmla="*/ 0 h 762000"/>
                  <a:gd name="connsiteX7" fmla="*/ 676220 w 714319"/>
                  <a:gd name="connsiteY7" fmla="*/ 28575 h 762000"/>
                  <a:gd name="connsiteX8" fmla="*/ 647645 w 714319"/>
                  <a:gd name="connsiteY8" fmla="*/ 57150 h 762000"/>
                  <a:gd name="connsiteX9" fmla="*/ 473242 w 714319"/>
                  <a:gd name="connsiteY9" fmla="*/ 57150 h 762000"/>
                  <a:gd name="connsiteX10" fmla="*/ 79383 w 714319"/>
                  <a:gd name="connsiteY10" fmla="*/ 704850 h 762000"/>
                  <a:gd name="connsiteX11" fmla="*/ 685745 w 714319"/>
                  <a:gd name="connsiteY11" fmla="*/ 704850 h 762000"/>
                  <a:gd name="connsiteX12" fmla="*/ 714320 w 714319"/>
                  <a:gd name="connsiteY12" fmla="*/ 733425 h 762000"/>
                  <a:gd name="connsiteX13" fmla="*/ 685745 w 714319"/>
                  <a:gd name="connsiteY13" fmla="*/ 762000 h 762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714319" h="762000">
                    <a:moveTo>
                      <a:pt x="685745" y="762000"/>
                    </a:moveTo>
                    <a:lnTo>
                      <a:pt x="28519" y="762000"/>
                    </a:lnTo>
                    <a:cubicBezTo>
                      <a:pt x="18232" y="762000"/>
                      <a:pt x="8707" y="756476"/>
                      <a:pt x="3659" y="747427"/>
                    </a:cubicBezTo>
                    <a:cubicBezTo>
                      <a:pt x="-1389" y="738378"/>
                      <a:pt x="-1199" y="727424"/>
                      <a:pt x="4135" y="718566"/>
                    </a:cubicBezTo>
                    <a:lnTo>
                      <a:pt x="432761" y="13716"/>
                    </a:lnTo>
                    <a:cubicBezTo>
                      <a:pt x="437904" y="5239"/>
                      <a:pt x="447143" y="0"/>
                      <a:pt x="457144" y="0"/>
                    </a:cubicBezTo>
                    <a:lnTo>
                      <a:pt x="647645" y="0"/>
                    </a:lnTo>
                    <a:cubicBezTo>
                      <a:pt x="663456" y="0"/>
                      <a:pt x="676220" y="12763"/>
                      <a:pt x="676220" y="28575"/>
                    </a:cubicBezTo>
                    <a:cubicBezTo>
                      <a:pt x="676220" y="44387"/>
                      <a:pt x="663456" y="57150"/>
                      <a:pt x="647645" y="57150"/>
                    </a:cubicBezTo>
                    <a:lnTo>
                      <a:pt x="473242" y="57150"/>
                    </a:lnTo>
                    <a:lnTo>
                      <a:pt x="79383" y="704850"/>
                    </a:lnTo>
                    <a:lnTo>
                      <a:pt x="685745" y="704850"/>
                    </a:lnTo>
                    <a:cubicBezTo>
                      <a:pt x="701556" y="704850"/>
                      <a:pt x="714320" y="717613"/>
                      <a:pt x="714320" y="733425"/>
                    </a:cubicBezTo>
                    <a:cubicBezTo>
                      <a:pt x="714320" y="749237"/>
                      <a:pt x="701556" y="762000"/>
                      <a:pt x="685745" y="76200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6" name="Freihandform: Form 222">
                <a:extLst>
                  <a:ext uri="{FF2B5EF4-FFF2-40B4-BE49-F238E27FC236}">
                    <a16:creationId xmlns:a16="http://schemas.microsoft.com/office/drawing/2014/main" id="{E1C74FEC-4273-249A-7434-A25C4B7B95A8}"/>
                  </a:ext>
                </a:extLst>
              </p:cNvPr>
              <p:cNvSpPr/>
              <p:nvPr/>
            </p:nvSpPr>
            <p:spPr>
              <a:xfrm>
                <a:off x="851009" y="3461142"/>
                <a:ext cx="177012" cy="188828"/>
              </a:xfrm>
              <a:custGeom>
                <a:avLst/>
                <a:gdLst>
                  <a:gd name="connsiteX0" fmla="*/ 685800 w 714319"/>
                  <a:gd name="connsiteY0" fmla="*/ 762000 h 762000"/>
                  <a:gd name="connsiteX1" fmla="*/ 28575 w 714319"/>
                  <a:gd name="connsiteY1" fmla="*/ 762000 h 762000"/>
                  <a:gd name="connsiteX2" fmla="*/ 0 w 714319"/>
                  <a:gd name="connsiteY2" fmla="*/ 733425 h 762000"/>
                  <a:gd name="connsiteX3" fmla="*/ 28575 w 714319"/>
                  <a:gd name="connsiteY3" fmla="*/ 704850 h 762000"/>
                  <a:gd name="connsiteX4" fmla="*/ 634937 w 714319"/>
                  <a:gd name="connsiteY4" fmla="*/ 704850 h 762000"/>
                  <a:gd name="connsiteX5" fmla="*/ 241078 w 714319"/>
                  <a:gd name="connsiteY5" fmla="*/ 57150 h 762000"/>
                  <a:gd name="connsiteX6" fmla="*/ 66675 w 714319"/>
                  <a:gd name="connsiteY6" fmla="*/ 57150 h 762000"/>
                  <a:gd name="connsiteX7" fmla="*/ 38100 w 714319"/>
                  <a:gd name="connsiteY7" fmla="*/ 28575 h 762000"/>
                  <a:gd name="connsiteX8" fmla="*/ 66675 w 714319"/>
                  <a:gd name="connsiteY8" fmla="*/ 0 h 762000"/>
                  <a:gd name="connsiteX9" fmla="*/ 257175 w 714319"/>
                  <a:gd name="connsiteY9" fmla="*/ 0 h 762000"/>
                  <a:gd name="connsiteX10" fmla="*/ 281559 w 714319"/>
                  <a:gd name="connsiteY10" fmla="*/ 13716 h 762000"/>
                  <a:gd name="connsiteX11" fmla="*/ 710184 w 714319"/>
                  <a:gd name="connsiteY11" fmla="*/ 718566 h 762000"/>
                  <a:gd name="connsiteX12" fmla="*/ 710660 w 714319"/>
                  <a:gd name="connsiteY12" fmla="*/ 747427 h 762000"/>
                  <a:gd name="connsiteX13" fmla="*/ 685800 w 714319"/>
                  <a:gd name="connsiteY13" fmla="*/ 762000 h 762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714319" h="762000">
                    <a:moveTo>
                      <a:pt x="685800" y="762000"/>
                    </a:moveTo>
                    <a:lnTo>
                      <a:pt x="28575" y="762000"/>
                    </a:lnTo>
                    <a:cubicBezTo>
                      <a:pt x="12763" y="762000"/>
                      <a:pt x="0" y="749237"/>
                      <a:pt x="0" y="733425"/>
                    </a:cubicBezTo>
                    <a:cubicBezTo>
                      <a:pt x="0" y="717613"/>
                      <a:pt x="12763" y="704850"/>
                      <a:pt x="28575" y="704850"/>
                    </a:cubicBezTo>
                    <a:lnTo>
                      <a:pt x="634937" y="704850"/>
                    </a:lnTo>
                    <a:lnTo>
                      <a:pt x="241078" y="57150"/>
                    </a:lnTo>
                    <a:lnTo>
                      <a:pt x="66675" y="57150"/>
                    </a:lnTo>
                    <a:cubicBezTo>
                      <a:pt x="50863" y="57150"/>
                      <a:pt x="38100" y="44387"/>
                      <a:pt x="38100" y="28575"/>
                    </a:cubicBezTo>
                    <a:cubicBezTo>
                      <a:pt x="38100" y="12763"/>
                      <a:pt x="50863" y="0"/>
                      <a:pt x="66675" y="0"/>
                    </a:cubicBezTo>
                    <a:lnTo>
                      <a:pt x="257175" y="0"/>
                    </a:lnTo>
                    <a:cubicBezTo>
                      <a:pt x="267176" y="0"/>
                      <a:pt x="276416" y="5239"/>
                      <a:pt x="281559" y="13716"/>
                    </a:cubicBezTo>
                    <a:lnTo>
                      <a:pt x="710184" y="718566"/>
                    </a:lnTo>
                    <a:cubicBezTo>
                      <a:pt x="715518" y="727424"/>
                      <a:pt x="715709" y="738378"/>
                      <a:pt x="710660" y="747427"/>
                    </a:cubicBezTo>
                    <a:cubicBezTo>
                      <a:pt x="705612" y="756476"/>
                      <a:pt x="696087" y="762000"/>
                      <a:pt x="685800" y="76200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7" name="Freihandform: Form 223">
                <a:extLst>
                  <a:ext uri="{FF2B5EF4-FFF2-40B4-BE49-F238E27FC236}">
                    <a16:creationId xmlns:a16="http://schemas.microsoft.com/office/drawing/2014/main" id="{475D47E2-115F-9EFC-44C8-684C2CD13DDE}"/>
                  </a:ext>
                </a:extLst>
              </p:cNvPr>
              <p:cNvSpPr/>
              <p:nvPr/>
            </p:nvSpPr>
            <p:spPr>
              <a:xfrm>
                <a:off x="485159" y="3680654"/>
                <a:ext cx="287959" cy="193549"/>
              </a:xfrm>
              <a:custGeom>
                <a:avLst/>
                <a:gdLst>
                  <a:gd name="connsiteX0" fmla="*/ 491586 w 1199493"/>
                  <a:gd name="connsiteY0" fmla="*/ 0 h 806228"/>
                  <a:gd name="connsiteX1" fmla="*/ 1169997 w 1199493"/>
                  <a:gd name="connsiteY1" fmla="*/ 0 h 806228"/>
                  <a:gd name="connsiteX2" fmla="*/ 1199493 w 1199493"/>
                  <a:gd name="connsiteY2" fmla="*/ 29496 h 806228"/>
                  <a:gd name="connsiteX3" fmla="*/ 1169997 w 1199493"/>
                  <a:gd name="connsiteY3" fmla="*/ 58992 h 806228"/>
                  <a:gd name="connsiteX4" fmla="*/ 508006 w 1199493"/>
                  <a:gd name="connsiteY4" fmla="*/ 58992 h 806228"/>
                  <a:gd name="connsiteX5" fmla="*/ 82377 w 1199493"/>
                  <a:gd name="connsiteY5" fmla="*/ 747236 h 806228"/>
                  <a:gd name="connsiteX6" fmla="*/ 107666 w 1199493"/>
                  <a:gd name="connsiteY6" fmla="*/ 747236 h 806228"/>
                  <a:gd name="connsiteX7" fmla="*/ 107666 w 1199493"/>
                  <a:gd name="connsiteY7" fmla="*/ 806228 h 806228"/>
                  <a:gd name="connsiteX8" fmla="*/ 29480 w 1199493"/>
                  <a:gd name="connsiteY8" fmla="*/ 806228 h 806228"/>
                  <a:gd name="connsiteX9" fmla="*/ 3720 w 1199493"/>
                  <a:gd name="connsiteY9" fmla="*/ 791086 h 806228"/>
                  <a:gd name="connsiteX10" fmla="*/ 4409 w 1199493"/>
                  <a:gd name="connsiteY10" fmla="*/ 761198 h 806228"/>
                  <a:gd name="connsiteX11" fmla="*/ 466515 w 1199493"/>
                  <a:gd name="connsiteY11" fmla="*/ 13961 h 806228"/>
                  <a:gd name="connsiteX12" fmla="*/ 491586 w 1199493"/>
                  <a:gd name="connsiteY12" fmla="*/ 0 h 8062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199493" h="806228">
                    <a:moveTo>
                      <a:pt x="491586" y="0"/>
                    </a:moveTo>
                    <a:lnTo>
                      <a:pt x="1169997" y="0"/>
                    </a:lnTo>
                    <a:cubicBezTo>
                      <a:pt x="1186319" y="0"/>
                      <a:pt x="1199493" y="13175"/>
                      <a:pt x="1199493" y="29496"/>
                    </a:cubicBezTo>
                    <a:cubicBezTo>
                      <a:pt x="1199493" y="45818"/>
                      <a:pt x="1186319" y="58992"/>
                      <a:pt x="1169997" y="58992"/>
                    </a:cubicBezTo>
                    <a:lnTo>
                      <a:pt x="508006" y="58992"/>
                    </a:lnTo>
                    <a:lnTo>
                      <a:pt x="82377" y="747236"/>
                    </a:lnTo>
                    <a:lnTo>
                      <a:pt x="107666" y="747236"/>
                    </a:lnTo>
                    <a:lnTo>
                      <a:pt x="107666" y="806228"/>
                    </a:lnTo>
                    <a:lnTo>
                      <a:pt x="29480" y="806228"/>
                    </a:lnTo>
                    <a:cubicBezTo>
                      <a:pt x="18763" y="806228"/>
                      <a:pt x="8931" y="800427"/>
                      <a:pt x="3720" y="791086"/>
                    </a:cubicBezTo>
                    <a:cubicBezTo>
                      <a:pt x="-1491" y="781747"/>
                      <a:pt x="-1197" y="770341"/>
                      <a:pt x="4409" y="761198"/>
                    </a:cubicBezTo>
                    <a:lnTo>
                      <a:pt x="466515" y="13961"/>
                    </a:lnTo>
                    <a:cubicBezTo>
                      <a:pt x="471922" y="5309"/>
                      <a:pt x="481361" y="0"/>
                      <a:pt x="491586" y="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8" name="Freihandform: Form 224">
                <a:extLst>
                  <a:ext uri="{FF2B5EF4-FFF2-40B4-BE49-F238E27FC236}">
                    <a16:creationId xmlns:a16="http://schemas.microsoft.com/office/drawing/2014/main" id="{1EF33AC1-7BBA-00F0-ABF2-7C2AB9E5F9F1}"/>
                  </a:ext>
                </a:extLst>
              </p:cNvPr>
              <p:cNvSpPr/>
              <p:nvPr/>
            </p:nvSpPr>
            <p:spPr>
              <a:xfrm>
                <a:off x="851009" y="3680654"/>
                <a:ext cx="287959" cy="193549"/>
              </a:xfrm>
              <a:custGeom>
                <a:avLst/>
                <a:gdLst>
                  <a:gd name="connsiteX0" fmla="*/ 29496 w 1199493"/>
                  <a:gd name="connsiteY0" fmla="*/ 0 h 806228"/>
                  <a:gd name="connsiteX1" fmla="*/ 707907 w 1199493"/>
                  <a:gd name="connsiteY1" fmla="*/ 0 h 806228"/>
                  <a:gd name="connsiteX2" fmla="*/ 732979 w 1199493"/>
                  <a:gd name="connsiteY2" fmla="*/ 13961 h 806228"/>
                  <a:gd name="connsiteX3" fmla="*/ 1195086 w 1199493"/>
                  <a:gd name="connsiteY3" fmla="*/ 761198 h 806228"/>
                  <a:gd name="connsiteX4" fmla="*/ 1195774 w 1199493"/>
                  <a:gd name="connsiteY4" fmla="*/ 791086 h 806228"/>
                  <a:gd name="connsiteX5" fmla="*/ 1170014 w 1199493"/>
                  <a:gd name="connsiteY5" fmla="*/ 806228 h 806228"/>
                  <a:gd name="connsiteX6" fmla="*/ 1086408 w 1199493"/>
                  <a:gd name="connsiteY6" fmla="*/ 806228 h 806228"/>
                  <a:gd name="connsiteX7" fmla="*/ 1086408 w 1199493"/>
                  <a:gd name="connsiteY7" fmla="*/ 747236 h 806228"/>
                  <a:gd name="connsiteX8" fmla="*/ 1117118 w 1199493"/>
                  <a:gd name="connsiteY8" fmla="*/ 747236 h 806228"/>
                  <a:gd name="connsiteX9" fmla="*/ 691488 w 1199493"/>
                  <a:gd name="connsiteY9" fmla="*/ 58992 h 806228"/>
                  <a:gd name="connsiteX10" fmla="*/ 29496 w 1199493"/>
                  <a:gd name="connsiteY10" fmla="*/ 58992 h 806228"/>
                  <a:gd name="connsiteX11" fmla="*/ 0 w 1199493"/>
                  <a:gd name="connsiteY11" fmla="*/ 29496 h 806228"/>
                  <a:gd name="connsiteX12" fmla="*/ 29496 w 1199493"/>
                  <a:gd name="connsiteY12" fmla="*/ 0 h 8062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199493" h="806228">
                    <a:moveTo>
                      <a:pt x="29496" y="0"/>
                    </a:moveTo>
                    <a:lnTo>
                      <a:pt x="707907" y="0"/>
                    </a:lnTo>
                    <a:cubicBezTo>
                      <a:pt x="718133" y="0"/>
                      <a:pt x="727572" y="5309"/>
                      <a:pt x="732979" y="13961"/>
                    </a:cubicBezTo>
                    <a:lnTo>
                      <a:pt x="1195086" y="761198"/>
                    </a:lnTo>
                    <a:cubicBezTo>
                      <a:pt x="1200690" y="770341"/>
                      <a:pt x="1200985" y="781747"/>
                      <a:pt x="1195774" y="791086"/>
                    </a:cubicBezTo>
                    <a:cubicBezTo>
                      <a:pt x="1190562" y="800427"/>
                      <a:pt x="1180730" y="806228"/>
                      <a:pt x="1170014" y="806228"/>
                    </a:cubicBezTo>
                    <a:lnTo>
                      <a:pt x="1086408" y="806228"/>
                    </a:lnTo>
                    <a:lnTo>
                      <a:pt x="1086408" y="747236"/>
                    </a:lnTo>
                    <a:lnTo>
                      <a:pt x="1117118" y="747236"/>
                    </a:lnTo>
                    <a:lnTo>
                      <a:pt x="691488" y="58992"/>
                    </a:lnTo>
                    <a:lnTo>
                      <a:pt x="29496" y="58992"/>
                    </a:lnTo>
                    <a:cubicBezTo>
                      <a:pt x="13175" y="58992"/>
                      <a:pt x="0" y="45818"/>
                      <a:pt x="0" y="29496"/>
                    </a:cubicBezTo>
                    <a:cubicBezTo>
                      <a:pt x="0" y="13175"/>
                      <a:pt x="13175" y="0"/>
                      <a:pt x="29496" y="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</a:endParaRPr>
              </a:p>
            </p:txBody>
          </p:sp>
          <p:grpSp>
            <p:nvGrpSpPr>
              <p:cNvPr id="79" name="Gruppieren 225">
                <a:extLst>
                  <a:ext uri="{FF2B5EF4-FFF2-40B4-BE49-F238E27FC236}">
                    <a16:creationId xmlns:a16="http://schemas.microsoft.com/office/drawing/2014/main" id="{989C97E9-3278-2E38-28FA-F75F1DAD2E48}"/>
                  </a:ext>
                </a:extLst>
              </p:cNvPr>
              <p:cNvGrpSpPr/>
              <p:nvPr/>
            </p:nvGrpSpPr>
            <p:grpSpPr>
              <a:xfrm>
                <a:off x="500540" y="3860375"/>
                <a:ext cx="238474" cy="13828"/>
                <a:chOff x="500540" y="3860375"/>
                <a:chExt cx="238474" cy="13828"/>
              </a:xfrm>
              <a:grpFill/>
            </p:grpSpPr>
            <p:sp>
              <p:nvSpPr>
                <p:cNvPr id="84" name="Rechteck: abgerundete Ecken 230">
                  <a:extLst>
                    <a:ext uri="{FF2B5EF4-FFF2-40B4-BE49-F238E27FC236}">
                      <a16:creationId xmlns:a16="http://schemas.microsoft.com/office/drawing/2014/main" id="{50A939CD-405B-C8FC-1417-BCF333AC2331}"/>
                    </a:ext>
                  </a:extLst>
                </p:cNvPr>
                <p:cNvSpPr/>
                <p:nvPr/>
              </p:nvSpPr>
              <p:spPr>
                <a:xfrm rot="5400000">
                  <a:off x="715639" y="3850828"/>
                  <a:ext cx="13828" cy="32922"/>
                </a:xfrm>
                <a:prstGeom prst="roundRect">
                  <a:avLst>
                    <a:gd name="adj" fmla="val 50000"/>
                  </a:avLst>
                </a:pr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wrap="square" rtlCol="0" anchor="ctr"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85" name="Rechteck: abgerundete Ecken 231">
                  <a:extLst>
                    <a:ext uri="{FF2B5EF4-FFF2-40B4-BE49-F238E27FC236}">
                      <a16:creationId xmlns:a16="http://schemas.microsoft.com/office/drawing/2014/main" id="{CE078888-8B71-8105-6FAA-1E1E8D5DB8EE}"/>
                    </a:ext>
                  </a:extLst>
                </p:cNvPr>
                <p:cNvSpPr/>
                <p:nvPr/>
              </p:nvSpPr>
              <p:spPr>
                <a:xfrm rot="5400000">
                  <a:off x="643278" y="3838706"/>
                  <a:ext cx="13828" cy="57166"/>
                </a:xfrm>
                <a:prstGeom prst="roundRect">
                  <a:avLst>
                    <a:gd name="adj" fmla="val 50000"/>
                  </a:avLst>
                </a:pr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wrap="square" rtlCol="0" anchor="ctr"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86" name="Rechteck: abgerundete Ecken 232">
                  <a:extLst>
                    <a:ext uri="{FF2B5EF4-FFF2-40B4-BE49-F238E27FC236}">
                      <a16:creationId xmlns:a16="http://schemas.microsoft.com/office/drawing/2014/main" id="{32BAB942-D154-3EB4-D37F-7C54A0311BA5}"/>
                    </a:ext>
                  </a:extLst>
                </p:cNvPr>
                <p:cNvSpPr/>
                <p:nvPr/>
              </p:nvSpPr>
              <p:spPr>
                <a:xfrm rot="5400000">
                  <a:off x="540502" y="3820413"/>
                  <a:ext cx="13828" cy="93752"/>
                </a:xfrm>
                <a:prstGeom prst="roundRect">
                  <a:avLst>
                    <a:gd name="adj" fmla="val 50000"/>
                  </a:avLst>
                </a:pr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wrap="square" rtlCol="0" anchor="ctr"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</a:endParaRPr>
                </a:p>
              </p:txBody>
            </p:sp>
          </p:grpSp>
          <p:grpSp>
            <p:nvGrpSpPr>
              <p:cNvPr id="80" name="Gruppieren 226">
                <a:extLst>
                  <a:ext uri="{FF2B5EF4-FFF2-40B4-BE49-F238E27FC236}">
                    <a16:creationId xmlns:a16="http://schemas.microsoft.com/office/drawing/2014/main" id="{6A887E53-2D60-1606-9438-08EE6AB7C8A2}"/>
                  </a:ext>
                </a:extLst>
              </p:cNvPr>
              <p:cNvGrpSpPr/>
              <p:nvPr/>
            </p:nvGrpSpPr>
            <p:grpSpPr>
              <a:xfrm flipH="1">
                <a:off x="885734" y="3860375"/>
                <a:ext cx="238474" cy="13828"/>
                <a:chOff x="500540" y="3860375"/>
                <a:chExt cx="238474" cy="13828"/>
              </a:xfrm>
              <a:grpFill/>
            </p:grpSpPr>
            <p:sp>
              <p:nvSpPr>
                <p:cNvPr id="81" name="Rechteck: abgerundete Ecken 227">
                  <a:extLst>
                    <a:ext uri="{FF2B5EF4-FFF2-40B4-BE49-F238E27FC236}">
                      <a16:creationId xmlns:a16="http://schemas.microsoft.com/office/drawing/2014/main" id="{A766389D-190F-8AA1-D03C-B91CA0D22E32}"/>
                    </a:ext>
                  </a:extLst>
                </p:cNvPr>
                <p:cNvSpPr/>
                <p:nvPr/>
              </p:nvSpPr>
              <p:spPr>
                <a:xfrm rot="5400000">
                  <a:off x="715639" y="3850828"/>
                  <a:ext cx="13828" cy="32922"/>
                </a:xfrm>
                <a:prstGeom prst="roundRect">
                  <a:avLst>
                    <a:gd name="adj" fmla="val 50000"/>
                  </a:avLst>
                </a:pr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wrap="square" rtlCol="0" anchor="ctr"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82" name="Rechteck: abgerundete Ecken 228">
                  <a:extLst>
                    <a:ext uri="{FF2B5EF4-FFF2-40B4-BE49-F238E27FC236}">
                      <a16:creationId xmlns:a16="http://schemas.microsoft.com/office/drawing/2014/main" id="{36BBAA60-F9E1-D283-69E1-36306AC28A94}"/>
                    </a:ext>
                  </a:extLst>
                </p:cNvPr>
                <p:cNvSpPr/>
                <p:nvPr/>
              </p:nvSpPr>
              <p:spPr>
                <a:xfrm rot="5400000">
                  <a:off x="643278" y="3838706"/>
                  <a:ext cx="13828" cy="57166"/>
                </a:xfrm>
                <a:prstGeom prst="roundRect">
                  <a:avLst>
                    <a:gd name="adj" fmla="val 50000"/>
                  </a:avLst>
                </a:pr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wrap="square" rtlCol="0" anchor="ctr"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83" name="Rechteck: abgerundete Ecken 229">
                  <a:extLst>
                    <a:ext uri="{FF2B5EF4-FFF2-40B4-BE49-F238E27FC236}">
                      <a16:creationId xmlns:a16="http://schemas.microsoft.com/office/drawing/2014/main" id="{56873E9C-8C2E-93A0-E4AD-F1DEAD55F192}"/>
                    </a:ext>
                  </a:extLst>
                </p:cNvPr>
                <p:cNvSpPr/>
                <p:nvPr/>
              </p:nvSpPr>
              <p:spPr>
                <a:xfrm rot="5400000">
                  <a:off x="540502" y="3820413"/>
                  <a:ext cx="13828" cy="93752"/>
                </a:xfrm>
                <a:prstGeom prst="roundRect">
                  <a:avLst>
                    <a:gd name="adj" fmla="val 50000"/>
                  </a:avLst>
                </a:pr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wrap="square" rtlCol="0" anchor="ctr"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</a:endParaRPr>
                </a:p>
              </p:txBody>
            </p:sp>
          </p:grpSp>
        </p:grpSp>
      </p:grpSp>
    </p:spTree>
    <p:extLst>
      <p:ext uri="{BB962C8B-B14F-4D97-AF65-F5344CB8AC3E}">
        <p14:creationId xmlns:p14="http://schemas.microsoft.com/office/powerpoint/2010/main" val="31550665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MR _Template 16 to 9_MR_ÈN_GB">
  <a:themeElements>
    <a:clrScheme name="Munich Re">
      <a:dk1>
        <a:sysClr val="windowText" lastClr="000000"/>
      </a:dk1>
      <a:lt1>
        <a:sysClr val="window" lastClr="FFFFFF"/>
      </a:lt1>
      <a:dk2>
        <a:srgbClr val="0F1E32"/>
      </a:dk2>
      <a:lt2>
        <a:srgbClr val="008080"/>
      </a:lt2>
      <a:accent1>
        <a:srgbClr val="3350B8"/>
      </a:accent1>
      <a:accent2>
        <a:srgbClr val="4AD386"/>
      </a:accent2>
      <a:accent3>
        <a:srgbClr val="E1551E"/>
      </a:accent3>
      <a:accent4>
        <a:srgbClr val="1DB1D9"/>
      </a:accent4>
      <a:accent5>
        <a:srgbClr val="5DB1C3"/>
      </a:accent5>
      <a:accent6>
        <a:srgbClr val="914BFF"/>
      </a:accent6>
      <a:hlink>
        <a:srgbClr val="914BFF"/>
      </a:hlink>
      <a:folHlink>
        <a:srgbClr val="899AD4"/>
      </a:folHlink>
    </a:clrScheme>
    <a:fontScheme name="Munich Re">
      <a:majorFont>
        <a:latin typeface="Arial"/>
        <a:ea typeface="Arial Unicode MS"/>
        <a:cs typeface="Arial"/>
      </a:majorFont>
      <a:minorFont>
        <a:latin typeface="Arial"/>
        <a:ea typeface="Arial Unicode MS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1"/>
          </a:solidFill>
        </a:ln>
      </a:spPr>
      <a:bodyPr rtlCol="0" anchor="ctr" anchorCtr="0"/>
      <a:lstStyle>
        <a:defPPr algn="ctr">
          <a:defRPr sz="1400" dirty="0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effectLst/>
      </a:spPr>
      <a:bodyPr wrap="square" lIns="0" tIns="0" rIns="0" bIns="0" rtlCol="0">
        <a:spAutoFit/>
      </a:bodyPr>
      <a:lstStyle>
        <a:defPPr marL="269875" indent="-269875">
          <a:lnSpc>
            <a:spcPct val="110000"/>
          </a:lnSpc>
          <a:buFont typeface="Wingdings" panose="05000000000000000000" pitchFamily="2" charset="2"/>
          <a:buChar char="§"/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custClrLst>
    <a:custClr name="ERGO">
      <a:srgbClr val="BF1528"/>
    </a:custClr>
    <a:custClr name="ERGO L&amp;H Germany">
      <a:srgbClr val="009284"/>
    </a:custClr>
    <a:custClr name="ERGO P-C Germany">
      <a:srgbClr val="EEB500"/>
    </a:custClr>
    <a:custClr name="ERGO International">
      <a:srgbClr val="E87A16"/>
    </a:custClr>
    <a:custClr name="L&amp;H reinsurance">
      <a:srgbClr val="004DBF"/>
    </a:custClr>
    <a:custClr name="P-C reinsurance">
      <a:srgbClr val="00337F"/>
    </a:custClr>
    <a:custClr name="Risk Solution">
      <a:srgbClr val="00DCFA"/>
    </a:custClr>
    <a:custClr name="MEAG">
      <a:srgbClr val="9CB40D"/>
    </a:custClr>
  </a:custClrLst>
  <a:extLst>
    <a:ext uri="{05A4C25C-085E-4340-85A3-A5531E510DB2}">
      <thm15:themeFamily xmlns:thm15="http://schemas.microsoft.com/office/thememl/2012/main" name="MR Template_16 to 9_MR_EN_UK_V12_fertig.potx" id="{FD48BD75-0129-4CA4-A643-48740B486DAE}" vid="{AB62C7DE-7030-4B4B-9399-EB97A62A81EC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53A6E24D0F0C234194AEB256C1169AAF" ma:contentTypeVersion="9" ma:contentTypeDescription="Ein neues Dokument erstellen." ma:contentTypeScope="" ma:versionID="1e93dcf721016bd8f5d35f96371e0287">
  <xsd:schema xmlns:xsd="http://www.w3.org/2001/XMLSchema" xmlns:xs="http://www.w3.org/2001/XMLSchema" xmlns:p="http://schemas.microsoft.com/office/2006/metadata/properties" xmlns:ns3="a3cd2c41-21b7-4d96-bb68-4887529d9897" xmlns:ns4="484b5660-ca2c-4b43-af5b-c923d3d73eef" targetNamespace="http://schemas.microsoft.com/office/2006/metadata/properties" ma:root="true" ma:fieldsID="745a0fe27f531272248ea9f85eb8acd1" ns3:_="" ns4:_="">
    <xsd:import namespace="a3cd2c41-21b7-4d96-bb68-4887529d9897"/>
    <xsd:import namespace="484b5660-ca2c-4b43-af5b-c923d3d73eef"/>
    <xsd:element name="properties">
      <xsd:complexType>
        <xsd:sequence>
          <xsd:element name="documentManagement">
            <xsd:complexType>
              <xsd:all>
                <xsd:element ref="ns3:SharedWithUsers" minOccurs="0"/>
                <xsd:element ref="ns3:SharedWithDetails" minOccurs="0"/>
                <xsd:element ref="ns3:SharingHintHash" minOccurs="0"/>
                <xsd:element ref="ns4:MediaServiceMetadata" minOccurs="0"/>
                <xsd:element ref="ns4:MediaServiceFastMetadata" minOccurs="0"/>
                <xsd:element ref="ns4:MediaServiceAutoTags" minOccurs="0"/>
                <xsd:element ref="ns4:MediaServiceGenerationTime" minOccurs="0"/>
                <xsd:element ref="ns4:MediaServiceEventHashCode" minOccurs="0"/>
                <xsd:element ref="ns4:MediaServiceDateTake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3cd2c41-21b7-4d96-bb68-4887529d9897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0" nillable="true" ma:displayName="Freigabehinweishash" ma:hidden="true" ma:internalName="SharingHintHash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84b5660-ca2c-4b43-af5b-c923d3d73eef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1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2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3" nillable="true" ma:displayName="Tags" ma:internalName="MediaServiceAutoTags" ma:readOnly="true">
      <xsd:simpleType>
        <xsd:restriction base="dms:Text"/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6" nillable="true" ma:displayName="MediaServiceDateTaken" ma:hidden="true" ma:internalName="MediaServiceDateTaken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C2E38633-E431-4F0E-BE79-A651AE9D1F95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a3cd2c41-21b7-4d96-bb68-4887529d9897"/>
    <ds:schemaRef ds:uri="484b5660-ca2c-4b43-af5b-c923d3d73eef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99FB1B69-E252-4E8C-8507-7B9BF9A338E3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B3B0866A-0F31-4700-B53A-E9D30CFA61ED}">
  <ds:schemaRefs>
    <ds:schemaRef ds:uri="http://schemas.openxmlformats.org/package/2006/metadata/core-properties"/>
    <ds:schemaRef ds:uri="http://schemas.microsoft.com/office/2006/documentManagement/types"/>
    <ds:schemaRef ds:uri="http://www.w3.org/XML/1998/namespace"/>
    <ds:schemaRef ds:uri="http://purl.org/dc/terms/"/>
    <ds:schemaRef ds:uri="http://purl.org/dc/elements/1.1/"/>
    <ds:schemaRef ds:uri="http://purl.org/dc/dcmitype/"/>
    <ds:schemaRef ds:uri="http://schemas.microsoft.com/office/2006/metadata/properties"/>
    <ds:schemaRef ds:uri="http://schemas.microsoft.com/office/infopath/2007/PartnerControls"/>
    <ds:schemaRef ds:uri="484b5660-ca2c-4b43-af5b-c923d3d73eef"/>
    <ds:schemaRef ds:uri="a3cd2c41-21b7-4d96-bb68-4887529d9897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MR Template_16 to 9_MR_EN_GB_V13_fertig</Template>
  <TotalTime>0</TotalTime>
  <Words>1858</Words>
  <Application>Microsoft Office PowerPoint</Application>
  <PresentationFormat>Bildschirmpräsentation (16:9)</PresentationFormat>
  <Paragraphs>271</Paragraphs>
  <Slides>16</Slides>
  <Notes>16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3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6</vt:i4>
      </vt:variant>
    </vt:vector>
  </HeadingPairs>
  <TitlesOfParts>
    <vt:vector size="21" baseType="lpstr">
      <vt:lpstr>Arial</vt:lpstr>
      <vt:lpstr>Calibri</vt:lpstr>
      <vt:lpstr>Wingdings</vt:lpstr>
      <vt:lpstr>MR _Template 16 to 9_MR_ÈN_GB</vt:lpstr>
      <vt:lpstr>think-cell Folie</vt:lpstr>
      <vt:lpstr>Transforming risk into trust Munich Re Group   Company Presentation</vt:lpstr>
      <vt:lpstr>Munich Re Group  Creating value through its diversified business model and innovative strength</vt:lpstr>
      <vt:lpstr>Munich Re Group Strong business fields under one roof</vt:lpstr>
      <vt:lpstr>Munich Re Group Convincing through strong financials and stable partnership</vt:lpstr>
      <vt:lpstr>Munich Re Group  Powerful financials inspire trust of customers and investors</vt:lpstr>
      <vt:lpstr>Munich Re Group  A strong commitment towards sustainability – International co-operations</vt:lpstr>
      <vt:lpstr>Munich Re Group  Holistically integrating ESG across the organisation</vt:lpstr>
      <vt:lpstr>Munich Re Group Spotlight on Climate – Munich Re’s role as investor, underwriter and public voice</vt:lpstr>
      <vt:lpstr>Munich Re Group Ambition 2025 Scale. Shape. Succeed.</vt:lpstr>
      <vt:lpstr>Munich Re Reinsurance Group  Pioneering concepts that make tomorrow’s world insurable </vt:lpstr>
      <vt:lpstr>Munich Re Group Ambition 2025 – Reinsurance  Leading the evolution of the reinsurance industry as a strong multifaceted player</vt:lpstr>
      <vt:lpstr>ERGO Group AG One of the leading insurance providers in Germany on course for growth</vt:lpstr>
      <vt:lpstr>Munich Re Group Ambition 2025 - ERGO The new strategic phase applies to all parts of ERGO Group</vt:lpstr>
      <vt:lpstr>MEAG Munich ERGO Asset Management GmbH One of the most important players in the international asset management</vt:lpstr>
      <vt:lpstr>Outlook Key investment challenges</vt:lpstr>
      <vt:lpstr>Thank you for  your interest!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>Munich Re - MR - Munich-MR - EN-GB - Din A4</dc:subject>
  <dc:creator>Kyle Booysen</dc:creator>
  <cp:keywords>Munich-MR;</cp:keywords>
  <cp:lastModifiedBy>Griesbeck Silke - Munich-MR</cp:lastModifiedBy>
  <cp:revision>27</cp:revision>
  <cp:lastPrinted>2019-12-02T15:43:49Z</cp:lastPrinted>
  <dcterms:created xsi:type="dcterms:W3CDTF">2022-08-01T14:33:23Z</dcterms:created>
  <dcterms:modified xsi:type="dcterms:W3CDTF">2024-03-14T11:09:14Z</dcterms:modified>
  <cp:category>Din A4</cp:category>
  <cp:contentStatus>MR</cp:contentStatus>
  <dc:language>EN-GB</dc:language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53A6E24D0F0C234194AEB256C1169AAF</vt:lpwstr>
  </property>
  <property fmtid="{D5CDD505-2E9C-101B-9397-08002B2CF9AE}" pid="3" name="MSIP_Label_c6dace53-bb26-49c1-b263-21baa9bbd689_Enabled">
    <vt:lpwstr>true</vt:lpwstr>
  </property>
  <property fmtid="{D5CDD505-2E9C-101B-9397-08002B2CF9AE}" pid="4" name="MSIP_Label_c6dace53-bb26-49c1-b263-21baa9bbd689_SetDate">
    <vt:lpwstr>2022-08-03T07:26:53Z</vt:lpwstr>
  </property>
  <property fmtid="{D5CDD505-2E9C-101B-9397-08002B2CF9AE}" pid="5" name="MSIP_Label_c6dace53-bb26-49c1-b263-21baa9bbd689_Method">
    <vt:lpwstr>Privileged</vt:lpwstr>
  </property>
  <property fmtid="{D5CDD505-2E9C-101B-9397-08002B2CF9AE}" pid="6" name="MSIP_Label_c6dace53-bb26-49c1-b263-21baa9bbd689_Name">
    <vt:lpwstr>c6dace53-bb26-49c1-b263-21baa9bbd689</vt:lpwstr>
  </property>
  <property fmtid="{D5CDD505-2E9C-101B-9397-08002B2CF9AE}" pid="7" name="MSIP_Label_c6dace53-bb26-49c1-b263-21baa9bbd689_SiteId">
    <vt:lpwstr>582259a1-dcaa-4cca-b1cf-e60d3f045ecd</vt:lpwstr>
  </property>
  <property fmtid="{D5CDD505-2E9C-101B-9397-08002B2CF9AE}" pid="8" name="MSIP_Label_c6dace53-bb26-49c1-b263-21baa9bbd689_ActionId">
    <vt:lpwstr>a7b37f8d-3853-464d-9e33-9233dccc8cf8</vt:lpwstr>
  </property>
  <property fmtid="{D5CDD505-2E9C-101B-9397-08002B2CF9AE}" pid="9" name="MSIP_Label_c6dace53-bb26-49c1-b263-21baa9bbd689_ContentBits">
    <vt:lpwstr>0</vt:lpwstr>
  </property>
</Properties>
</file>